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0.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1.xml" ContentType="application/vnd.openxmlformats-officedocument.presentationml.notesSlide+xml"/>
  <Override PartName="/ppt/charts/chart1.xml" ContentType="application/vnd.openxmlformats-officedocument.drawingml.chart+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6.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26"/>
  </p:notesMasterIdLst>
  <p:sldIdLst>
    <p:sldId id="257" r:id="rId2"/>
    <p:sldId id="258" r:id="rId3"/>
    <p:sldId id="281" r:id="rId4"/>
    <p:sldId id="260" r:id="rId5"/>
    <p:sldId id="261" r:id="rId6"/>
    <p:sldId id="262" r:id="rId7"/>
    <p:sldId id="263" r:id="rId8"/>
    <p:sldId id="282" r:id="rId9"/>
    <p:sldId id="265" r:id="rId10"/>
    <p:sldId id="267" r:id="rId11"/>
    <p:sldId id="266" r:id="rId12"/>
    <p:sldId id="268" r:id="rId13"/>
    <p:sldId id="269" r:id="rId14"/>
    <p:sldId id="283" r:id="rId15"/>
    <p:sldId id="271" r:id="rId16"/>
    <p:sldId id="272" r:id="rId17"/>
    <p:sldId id="273" r:id="rId18"/>
    <p:sldId id="274" r:id="rId19"/>
    <p:sldId id="280" r:id="rId20"/>
    <p:sldId id="275" r:id="rId21"/>
    <p:sldId id="276" r:id="rId22"/>
    <p:sldId id="284" r:id="rId23"/>
    <p:sldId id="278" r:id="rId24"/>
    <p:sldId id="279" r:id="rId25"/>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ng,Laureen (HP ComSales) BII-CN-S" initials="W(CB" lastIdx="28" clrIdx="0">
    <p:extLst>
      <p:ext uri="{19B8F6BF-5375-455C-9EA6-DF929625EA0E}">
        <p15:presenceInfo xmlns:p15="http://schemas.microsoft.com/office/powerpoint/2012/main" userId="S-1-5-21-606747145-789336058-1417001333-157322" providerId="AD"/>
      </p:ext>
    </p:extLst>
  </p:cmAuthor>
  <p:cmAuthor id="2" name="Xue,Nick (HP Med Affairs) BII-CN-S" initials="X(MAB" lastIdx="25" clrIdx="1">
    <p:extLst>
      <p:ext uri="{19B8F6BF-5375-455C-9EA6-DF929625EA0E}">
        <p15:presenceInfo xmlns:p15="http://schemas.microsoft.com/office/powerpoint/2012/main" userId="S-1-5-21-606747145-789336058-1417001333-14042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EAB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8837" autoAdjust="0"/>
    <p:restoredTop sz="84743" autoAdjust="0"/>
  </p:normalViewPr>
  <p:slideViewPr>
    <p:cSldViewPr snapToGrid="0">
      <p:cViewPr varScale="1">
        <p:scale>
          <a:sx n="97" d="100"/>
          <a:sy n="97" d="100"/>
        </p:scale>
        <p:origin x="2394"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53386624293991"/>
          <c:y val="5.5177304964539008E-2"/>
          <c:w val="0.77015484001572487"/>
          <c:h val="0.6986642095270007"/>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a:scene3d>
              <a:camera prst="orthographicFront"/>
              <a:lightRig rig="threePt" dir="t"/>
            </a:scene3d>
            <a:sp3d>
              <a:bevelT/>
            </a:sp3d>
          </c:spPr>
          <c:invertIfNegative val="0"/>
          <c:dPt>
            <c:idx val="0"/>
            <c:invertIfNegative val="0"/>
            <c:bubble3D val="0"/>
            <c:spPr>
              <a:solidFill>
                <a:schemeClr val="accent1"/>
              </a:solidFill>
              <a:ln>
                <a:noFill/>
              </a:ln>
              <a:effectLst/>
              <a:scene3d>
                <a:camera prst="orthographicFront"/>
                <a:lightRig rig="threePt" dir="t"/>
              </a:scene3d>
              <a:sp3d/>
            </c:spPr>
            <c:extLst>
              <c:ext xmlns:c16="http://schemas.microsoft.com/office/drawing/2014/chart" uri="{C3380CC4-5D6E-409C-BE32-E72D297353CC}">
                <c16:uniqueId val="{00000002-7A20-47CA-9066-7FB4A830A3EE}"/>
              </c:ext>
            </c:extLst>
          </c:dPt>
          <c:dPt>
            <c:idx val="1"/>
            <c:invertIfNegative val="0"/>
            <c:bubble3D val="0"/>
            <c:spPr>
              <a:solidFill>
                <a:schemeClr val="bg1">
                  <a:lumMod val="50000"/>
                </a:schemeClr>
              </a:solidFill>
              <a:ln>
                <a:noFill/>
              </a:ln>
              <a:effectLst/>
              <a:scene3d>
                <a:camera prst="orthographicFront"/>
                <a:lightRig rig="threePt" dir="t"/>
              </a:scene3d>
              <a:sp3d/>
            </c:spPr>
            <c:extLst>
              <c:ext xmlns:c16="http://schemas.microsoft.com/office/drawing/2014/chart" uri="{C3380CC4-5D6E-409C-BE32-E72D297353CC}">
                <c16:uniqueId val="{00000001-4879-4946-B736-FDAEC0B5730C}"/>
              </c:ext>
            </c:extLst>
          </c:dPt>
          <c:cat>
            <c:strRef>
              <c:f>Sheet1!$A$2:$A$3</c:f>
              <c:strCache>
                <c:ptCount val="2"/>
                <c:pt idx="0">
                  <c:v>吉泰瑞®
112/160</c:v>
                </c:pt>
                <c:pt idx="1">
                  <c:v>吉非替尼
89/159</c:v>
                </c:pt>
              </c:strCache>
            </c:strRef>
          </c:cat>
          <c:val>
            <c:numRef>
              <c:f>Sheet1!$B$2:$B$3</c:f>
              <c:numCache>
                <c:formatCode>0%</c:formatCode>
                <c:ptCount val="2"/>
                <c:pt idx="0">
                  <c:v>0.7</c:v>
                </c:pt>
                <c:pt idx="1">
                  <c:v>0.56000000000000005</c:v>
                </c:pt>
              </c:numCache>
            </c:numRef>
          </c:val>
          <c:extLst>
            <c:ext xmlns:c16="http://schemas.microsoft.com/office/drawing/2014/chart" uri="{C3380CC4-5D6E-409C-BE32-E72D297353CC}">
              <c16:uniqueId val="{00000002-4879-4946-B736-FDAEC0B5730C}"/>
            </c:ext>
          </c:extLst>
        </c:ser>
        <c:dLbls>
          <c:showLegendKey val="0"/>
          <c:showVal val="0"/>
          <c:showCatName val="0"/>
          <c:showSerName val="0"/>
          <c:showPercent val="0"/>
          <c:showBubbleSize val="0"/>
        </c:dLbls>
        <c:gapWidth val="150"/>
        <c:axId val="391795456"/>
        <c:axId val="391796992"/>
      </c:barChart>
      <c:catAx>
        <c:axId val="391795456"/>
        <c:scaling>
          <c:orientation val="minMax"/>
        </c:scaling>
        <c:delete val="0"/>
        <c:axPos val="b"/>
        <c:numFmt formatCode="General" sourceLinked="0"/>
        <c:majorTickMark val="out"/>
        <c:minorTickMark val="none"/>
        <c:tickLblPos val="nextTo"/>
        <c:spPr>
          <a:noFill/>
          <a:ln>
            <a:solidFill>
              <a:schemeClr val="tx1">
                <a:lumMod val="50000"/>
                <a:lumOff val="50000"/>
              </a:schemeClr>
            </a:solidFill>
          </a:ln>
          <a:effectLst/>
        </c:spPr>
        <c:txPr>
          <a:bodyPr rot="-60000000" spcFirstLastPara="0" vertOverflow="ellipsis" horzOverflow="overflow" vert="horz" wrap="square" anchor="ctr" anchorCtr="1"/>
          <a:lstStyle/>
          <a:p>
            <a:pPr>
              <a:defRPr sz="1400" b="0" i="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en-US"/>
          </a:p>
        </c:txPr>
        <c:crossAx val="391796992"/>
        <c:crosses val="autoZero"/>
        <c:auto val="1"/>
        <c:lblAlgn val="ctr"/>
        <c:lblOffset val="100"/>
        <c:tickMarkSkip val="1"/>
        <c:noMultiLvlLbl val="0"/>
      </c:catAx>
      <c:valAx>
        <c:axId val="391796992"/>
        <c:scaling>
          <c:orientation val="minMax"/>
          <c:min val="0"/>
        </c:scaling>
        <c:delete val="0"/>
        <c:axPos val="l"/>
        <c:title>
          <c:tx>
            <c:rich>
              <a:bodyPr rot="-5400000" vertOverflow="ellipsis" vert="horz" anchor="ctr" anchorCtr="1"/>
              <a:lstStyle/>
              <a:p>
                <a:pPr algn="ctr">
                  <a:defRPr sz="1600" b="1">
                    <a:solidFill>
                      <a:schemeClr val="tx1">
                        <a:lumMod val="65000"/>
                        <a:lumOff val="35000"/>
                      </a:schemeClr>
                    </a:solidFill>
                    <a:latin typeface="+mn-lt"/>
                    <a:ea typeface="+mn-ea"/>
                    <a:cs typeface="+mn-cs"/>
                  </a:defRPr>
                </a:pPr>
                <a:r>
                  <a:rPr lang="en-GB" b="0" dirty="0">
                    <a:latin typeface="微软雅黑" panose="020B0503020204020204" pitchFamily="34" charset="-122"/>
                    <a:ea typeface="微软雅黑" panose="020B0503020204020204" pitchFamily="34" charset="-122"/>
                  </a:rPr>
                  <a:t>ORR</a:t>
                </a:r>
                <a:r>
                  <a:rPr lang="zh-CN" altLang="en-US" b="0" dirty="0">
                    <a:latin typeface="微软雅黑" panose="020B0503020204020204" pitchFamily="34" charset="-122"/>
                    <a:ea typeface="微软雅黑" panose="020B0503020204020204" pitchFamily="34" charset="-122"/>
                  </a:rPr>
                  <a:t>（客观缓解率）</a:t>
                </a:r>
                <a:endParaRPr lang="en-GB" b="0" dirty="0">
                  <a:latin typeface="微软雅黑" panose="020B0503020204020204" pitchFamily="34" charset="-122"/>
                  <a:ea typeface="微软雅黑" panose="020B0503020204020204" pitchFamily="34" charset="-122"/>
                </a:endParaRPr>
              </a:p>
            </c:rich>
          </c:tx>
          <c:overlay val="0"/>
          <c:spPr>
            <a:noFill/>
            <a:ln>
              <a:noFill/>
            </a:ln>
            <a:effectLst/>
          </c:spPr>
        </c:title>
        <c:numFmt formatCode="0%" sourceLinked="1"/>
        <c:majorTickMark val="out"/>
        <c:minorTickMark val="none"/>
        <c:tickLblPos val="nextTo"/>
        <c:spPr>
          <a:noFill/>
          <a:ln>
            <a:solidFill>
              <a:schemeClr val="tx1">
                <a:lumMod val="50000"/>
                <a:lumOff val="50000"/>
              </a:schemeClr>
            </a:solidFill>
          </a:ln>
          <a:effectLst/>
        </c:spPr>
        <c:txPr>
          <a:bodyPr rot="-60000000" spcFirstLastPara="0" vertOverflow="ellipsis" horzOverflow="overflow" vert="horz" wrap="square" anchor="ctr" anchorCtr="1"/>
          <a:lstStyle/>
          <a:p>
            <a:pPr>
              <a:defRPr sz="1600" b="0" i="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en-US"/>
          </a:p>
        </c:txPr>
        <c:crossAx val="391795456"/>
        <c:crosses val="autoZero"/>
        <c:crossBetween val="between"/>
        <c:majorUnit val="0.2"/>
      </c:valAx>
      <c:spPr>
        <a:noFill/>
        <a:ln w="25400">
          <a:noFill/>
        </a:ln>
        <a:effectLst/>
      </c:spPr>
    </c:plotArea>
    <c:plotVisOnly val="1"/>
    <c:dispBlanksAs val="gap"/>
    <c:showDLblsOverMax val="0"/>
  </c:chart>
  <c:spPr>
    <a:noFill/>
    <a:ln>
      <a:noFill/>
    </a:ln>
    <a:effectLst/>
  </c:spPr>
  <c:txPr>
    <a:bodyPr rot="0" spcFirstLastPara="0" vertOverflow="ellipsis" horzOverflow="overflow" vert="horz" wrap="square" anchor="ctr" anchorCtr="1"/>
    <a:lstStyle/>
    <a:p>
      <a:pPr>
        <a:defRPr lang="zh-CN" sz="1600" b="1">
          <a:solidFill>
            <a:schemeClr val="tx1">
              <a:lumMod val="65000"/>
              <a:lumOff val="35000"/>
            </a:schemeClr>
          </a:solidFil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rgbClr val="080808"/>
                </a:solidFill>
                <a:latin typeface="微软雅黑" panose="020B0503020204020204" pitchFamily="34" charset="-122"/>
                <a:ea typeface="微软雅黑" panose="020B0503020204020204" pitchFamily="34" charset="-122"/>
                <a:cs typeface="+mn-cs"/>
              </a:defRPr>
            </a:pPr>
            <a:r>
              <a:rPr lang="zh-CN" altLang="en-US" sz="1200" dirty="0">
                <a:solidFill>
                  <a:srgbClr val="080808"/>
                </a:solidFill>
                <a:latin typeface="微软雅黑" panose="020B0503020204020204" pitchFamily="34" charset="-122"/>
                <a:ea typeface="微软雅黑" panose="020B0503020204020204" pitchFamily="34" charset="-122"/>
              </a:rPr>
              <a:t>基线突变类型</a:t>
            </a:r>
          </a:p>
        </c:rich>
      </c:tx>
      <c:layout>
        <c:manualLayout>
          <c:xMode val="edge"/>
          <c:yMode val="edge"/>
          <c:x val="0.34885357261674826"/>
          <c:y val="3.5816151341653535E-3"/>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rgbClr val="080808"/>
              </a:solidFill>
              <a:latin typeface="微软雅黑" panose="020B0503020204020204" pitchFamily="34" charset="-122"/>
              <a:ea typeface="微软雅黑" panose="020B0503020204020204" pitchFamily="34" charset="-122"/>
              <a:cs typeface="+mn-cs"/>
            </a:defRPr>
          </a:pPr>
          <a:endParaRPr lang="en-US"/>
        </a:p>
      </c:txPr>
    </c:title>
    <c:autoTitleDeleted val="0"/>
    <c:plotArea>
      <c:layout/>
      <c:pieChart>
        <c:varyColors val="1"/>
        <c:ser>
          <c:idx val="0"/>
          <c:order val="0"/>
          <c:tx>
            <c:strRef>
              <c:f>Sheet1!$B$1</c:f>
              <c:strCache>
                <c:ptCount val="1"/>
                <c:pt idx="0">
                  <c:v>销售额</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16F-430E-AB41-1A49B09F1EF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16F-430E-AB41-1A49B09F1EF6}"/>
              </c:ext>
            </c:extLst>
          </c:dPt>
          <c:dLbls>
            <c:dLbl>
              <c:idx val="1"/>
              <c:tx>
                <c:rich>
                  <a:bodyPr/>
                  <a:lstStyle/>
                  <a:p>
                    <a:fld id="{EA536E35-C359-4601-AC3E-9C7982BCCF2D}" type="VALUE">
                      <a:rPr lang="en-US" altLang="zh-CN">
                        <a:solidFill>
                          <a:schemeClr val="tx1"/>
                        </a:solidFill>
                      </a:rPr>
                      <a:pPr/>
                      <a:t>[VALUE]</a:t>
                    </a:fld>
                    <a:endParaRPr lang="en-US"/>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16F-430E-AB41-1A49B09F1EF6}"/>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常见</c:v>
                </c:pt>
                <c:pt idx="1">
                  <c:v>非经典</c:v>
                </c:pt>
              </c:strCache>
            </c:strRef>
          </c:cat>
          <c:val>
            <c:numRef>
              <c:f>Sheet1!$B$2:$B$3</c:f>
              <c:numCache>
                <c:formatCode>0.00%</c:formatCode>
                <c:ptCount val="2"/>
                <c:pt idx="0">
                  <c:v>0.79500000000000004</c:v>
                </c:pt>
                <c:pt idx="1">
                  <c:v>0.20499999999999999</c:v>
                </c:pt>
              </c:numCache>
            </c:numRef>
          </c:val>
          <c:extLst>
            <c:ext xmlns:c16="http://schemas.microsoft.com/office/drawing/2014/chart" uri="{C3380CC4-5D6E-409C-BE32-E72D297353CC}">
              <c16:uniqueId val="{00000004-216F-430E-AB41-1A49B09F1EF6}"/>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30497195143130357"/>
          <c:y val="0.84897208702982718"/>
          <c:w val="0.42991597983767194"/>
          <c:h val="6.719411183066011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cap="none" spc="50" normalizeH="0" baseline="0">
                <a:solidFill>
                  <a:schemeClr val="tx1">
                    <a:lumMod val="50000"/>
                  </a:schemeClr>
                </a:solidFill>
                <a:latin typeface="微软雅黑" panose="020B0503020204020204" pitchFamily="34" charset="-122"/>
                <a:ea typeface="微软雅黑" panose="020B0503020204020204" pitchFamily="34" charset="-122"/>
                <a:cs typeface="+mj-cs"/>
              </a:defRPr>
            </a:pPr>
            <a:r>
              <a:rPr lang="zh-CN" altLang="en-US" sz="1200" dirty="0">
                <a:solidFill>
                  <a:schemeClr val="tx1">
                    <a:lumMod val="50000"/>
                  </a:schemeClr>
                </a:solidFill>
                <a:latin typeface="微软雅黑" panose="020B0503020204020204" pitchFamily="34" charset="-122"/>
                <a:ea typeface="微软雅黑" panose="020B0503020204020204" pitchFamily="34" charset="-122"/>
              </a:rPr>
              <a:t>相关观察指标百分比</a:t>
            </a:r>
            <a:endParaRPr lang="en-US" altLang="zh-CN" sz="1200" dirty="0">
              <a:solidFill>
                <a:schemeClr val="tx1">
                  <a:lumMod val="50000"/>
                </a:schemeClr>
              </a:solidFill>
              <a:latin typeface="微软雅黑" panose="020B0503020204020204" pitchFamily="34" charset="-122"/>
              <a:ea typeface="微软雅黑" panose="020B0503020204020204" pitchFamily="34" charset="-122"/>
            </a:endParaRPr>
          </a:p>
        </c:rich>
      </c:tx>
      <c:layout>
        <c:manualLayout>
          <c:xMode val="edge"/>
          <c:yMode val="edge"/>
          <c:x val="0.16699466355874742"/>
          <c:y val="2.9335075472373635E-2"/>
        </c:manualLayout>
      </c:layout>
      <c:overlay val="0"/>
      <c:spPr>
        <a:noFill/>
        <a:ln>
          <a:noFill/>
        </a:ln>
        <a:effectLst/>
      </c:spPr>
      <c:txPr>
        <a:bodyPr rot="0" spcFirstLastPara="1" vertOverflow="ellipsis" vert="horz" wrap="square" anchor="ctr" anchorCtr="1"/>
        <a:lstStyle/>
        <a:p>
          <a:pPr>
            <a:defRPr sz="1200" b="0" i="0" u="none" strike="noStrike" kern="1200" cap="none" spc="50" normalizeH="0" baseline="0">
              <a:solidFill>
                <a:schemeClr val="tx1">
                  <a:lumMod val="50000"/>
                </a:schemeClr>
              </a:solidFill>
              <a:latin typeface="微软雅黑" panose="020B0503020204020204" pitchFamily="34" charset="-122"/>
              <a:ea typeface="微软雅黑" panose="020B0503020204020204" pitchFamily="34" charset="-122"/>
              <a:cs typeface="+mj-cs"/>
            </a:defRPr>
          </a:pPr>
          <a:endParaRPr lang="en-US"/>
        </a:p>
      </c:txPr>
    </c:title>
    <c:autoTitleDeleted val="0"/>
    <c:plotArea>
      <c:layout/>
      <c:barChart>
        <c:barDir val="col"/>
        <c:grouping val="clustered"/>
        <c:varyColors val="0"/>
        <c:ser>
          <c:idx val="0"/>
          <c:order val="0"/>
          <c:tx>
            <c:strRef>
              <c:f>Sheet1!$B$1</c:f>
              <c:strCache>
                <c:ptCount val="1"/>
                <c:pt idx="0">
                  <c:v>系列 1</c:v>
                </c:pt>
              </c:strCache>
            </c:strRef>
          </c:tx>
          <c:spPr>
            <a:solidFill>
              <a:schemeClr val="accent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4D9C-44DC-9226-D13D9F2DAA4D}"/>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4D9C-44DC-9226-D13D9F2DAA4D}"/>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5-4D9C-44DC-9226-D13D9F2DAA4D}"/>
              </c:ext>
            </c:extLst>
          </c:dPt>
          <c:dLbls>
            <c:dLbl>
              <c:idx val="1"/>
              <c:layout>
                <c:manualLayout>
                  <c:x val="5.5270595259958432E-3"/>
                  <c:y val="2.4445896226978039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783427177291532"/>
                      <c:h val="0.1496577767015595"/>
                    </c:manualLayout>
                  </c15:layout>
                </c:ext>
                <c:ext xmlns:c16="http://schemas.microsoft.com/office/drawing/2014/chart" uri="{C3380CC4-5D6E-409C-BE32-E72D297353CC}">
                  <c16:uniqueId val="{00000003-4D9C-44DC-9226-D13D9F2DAA4D}"/>
                </c:ext>
              </c:extLst>
            </c:dLbl>
            <c:dLbl>
              <c:idx val="2"/>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0000"/>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4D9C-44DC-9226-D13D9F2DAA4D}"/>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4</c:f>
              <c:strCache>
                <c:ptCount val="3"/>
                <c:pt idx="0">
                  <c:v>ORR</c:v>
                </c:pt>
                <c:pt idx="1">
                  <c:v>DCR</c:v>
                </c:pt>
                <c:pt idx="2">
                  <c:v>出现T790M</c:v>
                </c:pt>
              </c:strCache>
            </c:strRef>
          </c:cat>
          <c:val>
            <c:numRef>
              <c:f>Sheet1!$B$2:$B$4</c:f>
              <c:numCache>
                <c:formatCode>0.00%</c:formatCode>
                <c:ptCount val="3"/>
                <c:pt idx="0">
                  <c:v>0.54500000000000004</c:v>
                </c:pt>
                <c:pt idx="1">
                  <c:v>0.92</c:v>
                </c:pt>
                <c:pt idx="2">
                  <c:v>0.65400000000000003</c:v>
                </c:pt>
              </c:numCache>
            </c:numRef>
          </c:val>
          <c:extLst>
            <c:ext xmlns:c16="http://schemas.microsoft.com/office/drawing/2014/chart" uri="{C3380CC4-5D6E-409C-BE32-E72D297353CC}">
              <c16:uniqueId val="{00000008-4D9C-44DC-9226-D13D9F2DAA4D}"/>
            </c:ext>
          </c:extLst>
        </c:ser>
        <c:dLbls>
          <c:dLblPos val="inEnd"/>
          <c:showLegendKey val="0"/>
          <c:showVal val="1"/>
          <c:showCatName val="0"/>
          <c:showSerName val="0"/>
          <c:showPercent val="0"/>
          <c:showBubbleSize val="0"/>
        </c:dLbls>
        <c:gapWidth val="80"/>
        <c:overlap val="25"/>
        <c:axId val="737738344"/>
        <c:axId val="737737688"/>
      </c:barChart>
      <c:catAx>
        <c:axId val="737738344"/>
        <c:scaling>
          <c:orientation val="minMax"/>
        </c:scaling>
        <c:delete val="0"/>
        <c:axPos val="b"/>
        <c:numFmt formatCode="General" sourceLinked="1"/>
        <c:majorTickMark val="none"/>
        <c:minorTickMark val="none"/>
        <c:tickLblPos val="nextTo"/>
        <c:spPr>
          <a:noFill/>
          <a:ln w="15875" cap="flat" cmpd="sng" algn="ctr">
            <a:solidFill>
              <a:schemeClr val="tx1">
                <a:lumMod val="25000"/>
                <a:lumOff val="75000"/>
              </a:schemeClr>
            </a:solidFill>
            <a:round/>
          </a:ln>
          <a:effectLst/>
        </c:spPr>
        <c:txPr>
          <a:bodyPr rot="-60000000" spcFirstLastPara="1" vertOverflow="ellipsis" vert="horz" wrap="square" anchor="ctr" anchorCtr="1"/>
          <a:lstStyle/>
          <a:p>
            <a:pPr>
              <a:defRPr sz="1200" b="1" i="0" u="none" strike="noStrike" kern="1200" cap="none" spc="20" normalizeH="0" baseline="0">
                <a:solidFill>
                  <a:schemeClr val="tx1">
                    <a:lumMod val="50000"/>
                  </a:schemeClr>
                </a:solidFill>
                <a:latin typeface="+mn-lt"/>
                <a:ea typeface="+mn-ea"/>
                <a:cs typeface="+mn-cs"/>
              </a:defRPr>
            </a:pPr>
            <a:endParaRPr lang="en-US"/>
          </a:p>
        </c:txPr>
        <c:crossAx val="737737688"/>
        <c:crosses val="autoZero"/>
        <c:auto val="1"/>
        <c:lblAlgn val="ctr"/>
        <c:lblOffset val="100"/>
        <c:noMultiLvlLbl val="0"/>
      </c:catAx>
      <c:valAx>
        <c:axId val="737737688"/>
        <c:scaling>
          <c:orientation val="minMax"/>
        </c:scaling>
        <c:delete val="0"/>
        <c:axPos val="l"/>
        <c:numFmt formatCode="0%" sourceLinked="0"/>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spc="20" baseline="0">
                <a:solidFill>
                  <a:schemeClr val="tx1">
                    <a:lumMod val="65000"/>
                    <a:lumOff val="35000"/>
                  </a:schemeClr>
                </a:solidFill>
                <a:latin typeface="+mn-lt"/>
                <a:ea typeface="+mn-ea"/>
                <a:cs typeface="+mn-cs"/>
              </a:defRPr>
            </a:pPr>
            <a:endParaRPr lang="en-US"/>
          </a:p>
        </c:txPr>
        <c:crossAx val="737738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004111762486451E-2"/>
          <c:y val="3.6942279341279756E-2"/>
          <c:w val="0.88823036088021756"/>
          <c:h val="0.87206759088475039"/>
        </c:manualLayout>
      </c:layout>
      <c:barChart>
        <c:barDir val="bar"/>
        <c:grouping val="clustered"/>
        <c:varyColors val="0"/>
        <c:ser>
          <c:idx val="0"/>
          <c:order val="0"/>
          <c:tx>
            <c:strRef>
              <c:f>Sheet1!$B$1</c:f>
              <c:strCache>
                <c:ptCount val="1"/>
                <c:pt idx="0">
                  <c:v>系列 1</c:v>
                </c:pt>
              </c:strCache>
            </c:strRef>
          </c:tx>
          <c:spPr>
            <a:solidFill>
              <a:schemeClr val="accent1"/>
            </a:solidFill>
            <a:ln>
              <a:noFill/>
            </a:ln>
            <a:effectLst/>
          </c:spPr>
          <c:invertIfNegative val="0"/>
          <c:dPt>
            <c:idx val="0"/>
            <c:invertIfNegative val="0"/>
            <c:bubble3D val="0"/>
            <c:spPr>
              <a:solidFill>
                <a:srgbClr val="AEAB33"/>
              </a:solidFill>
              <a:ln>
                <a:noFill/>
              </a:ln>
              <a:effectLst/>
            </c:spPr>
            <c:extLst>
              <c:ext xmlns:c16="http://schemas.microsoft.com/office/drawing/2014/chart" uri="{C3380CC4-5D6E-409C-BE32-E72D297353CC}">
                <c16:uniqueId val="{00000004-1AAB-4A0D-A32C-764009FFA0A1}"/>
              </c:ext>
            </c:extLst>
          </c:dPt>
          <c:dPt>
            <c:idx val="1"/>
            <c:invertIfNegative val="0"/>
            <c:bubble3D val="0"/>
            <c:spPr>
              <a:solidFill>
                <a:srgbClr val="AEAB33"/>
              </a:solidFill>
              <a:ln>
                <a:noFill/>
              </a:ln>
              <a:effectLst/>
            </c:spPr>
            <c:extLst>
              <c:ext xmlns:c16="http://schemas.microsoft.com/office/drawing/2014/chart" uri="{C3380CC4-5D6E-409C-BE32-E72D297353CC}">
                <c16:uniqueId val="{00000003-1AAB-4A0D-A32C-764009FFA0A1}"/>
              </c:ext>
            </c:extLst>
          </c:dPt>
          <c:cat>
            <c:numRef>
              <c:f>Sheet1!$A$2:$A$6</c:f>
              <c:numCache>
                <c:formatCode>General</c:formatCode>
                <c:ptCount val="5"/>
              </c:numCache>
            </c:numRef>
          </c:cat>
          <c:val>
            <c:numRef>
              <c:f>Sheet1!$B$2:$B$6</c:f>
              <c:numCache>
                <c:formatCode>General</c:formatCode>
                <c:ptCount val="5"/>
                <c:pt idx="0">
                  <c:v>15.5</c:v>
                </c:pt>
                <c:pt idx="1">
                  <c:v>20.7</c:v>
                </c:pt>
                <c:pt idx="2">
                  <c:v>19.600000000000001</c:v>
                </c:pt>
                <c:pt idx="3">
                  <c:v>15.6</c:v>
                </c:pt>
                <c:pt idx="4">
                  <c:v>20.2</c:v>
                </c:pt>
              </c:numCache>
            </c:numRef>
          </c:val>
          <c:extLst>
            <c:ext xmlns:c16="http://schemas.microsoft.com/office/drawing/2014/chart" uri="{C3380CC4-5D6E-409C-BE32-E72D297353CC}">
              <c16:uniqueId val="{00000000-1AAB-4A0D-A32C-764009FFA0A1}"/>
            </c:ext>
          </c:extLst>
        </c:ser>
        <c:dLbls>
          <c:showLegendKey val="0"/>
          <c:showVal val="0"/>
          <c:showCatName val="0"/>
          <c:showSerName val="0"/>
          <c:showPercent val="0"/>
          <c:showBubbleSize val="0"/>
        </c:dLbls>
        <c:gapWidth val="70"/>
        <c:axId val="45920103"/>
        <c:axId val="45920431"/>
      </c:barChart>
      <c:catAx>
        <c:axId val="4592010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5920431"/>
        <c:crosses val="autoZero"/>
        <c:auto val="1"/>
        <c:lblAlgn val="ctr"/>
        <c:lblOffset val="100"/>
        <c:noMultiLvlLbl val="0"/>
      </c:catAx>
      <c:valAx>
        <c:axId val="45920431"/>
        <c:scaling>
          <c:orientation val="minMax"/>
          <c:max val="21"/>
          <c:min val="0"/>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592010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1" i="0" u="none" strike="noStrike" kern="1200" spc="0" baseline="0">
                <a:solidFill>
                  <a:schemeClr val="tx1">
                    <a:lumMod val="65000"/>
                    <a:lumOff val="35000"/>
                  </a:schemeClr>
                </a:solidFill>
                <a:latin typeface="Microsoft YaHei" panose="020B0503020204020204" pitchFamily="34" charset="-122"/>
                <a:ea typeface="Microsoft YaHei" panose="020B0503020204020204" pitchFamily="34" charset="-122"/>
                <a:cs typeface="+mn-cs"/>
              </a:defRPr>
            </a:pPr>
            <a:r>
              <a:rPr lang="en-US" altLang="zh-CN" dirty="0"/>
              <a:t>FLAURA </a:t>
            </a:r>
            <a:r>
              <a:rPr lang="zh-CN" altLang="en-US" dirty="0"/>
              <a:t>研究中位</a:t>
            </a:r>
            <a:r>
              <a:rPr lang="en-US" altLang="zh-CN" dirty="0"/>
              <a:t>PFS</a:t>
            </a:r>
            <a:endParaRPr lang="en-US" dirty="0"/>
          </a:p>
        </c:rich>
      </c:tx>
      <c:overlay val="0"/>
      <c:spPr>
        <a:noFill/>
        <a:ln>
          <a:noFill/>
        </a:ln>
        <a:effectLst/>
      </c:spPr>
      <c:txPr>
        <a:bodyPr rot="0" spcFirstLastPara="1" vertOverflow="ellipsis" vert="horz" wrap="square" anchor="ctr" anchorCtr="1"/>
        <a:lstStyle/>
        <a:p>
          <a:pPr>
            <a:defRPr sz="1920" b="1" i="0" u="none" strike="noStrike" kern="1200" spc="0" baseline="0">
              <a:solidFill>
                <a:schemeClr val="tx1">
                  <a:lumMod val="65000"/>
                  <a:lumOff val="35000"/>
                </a:schemeClr>
              </a:solidFill>
              <a:latin typeface="Microsoft YaHei" panose="020B0503020204020204" pitchFamily="34" charset="-122"/>
              <a:ea typeface="Microsoft YaHei" panose="020B0503020204020204" pitchFamily="34" charset="-122"/>
              <a:cs typeface="+mn-cs"/>
            </a:defRPr>
          </a:pPr>
          <a:endParaRPr lang="en-US"/>
        </a:p>
      </c:txPr>
    </c:title>
    <c:autoTitleDeleted val="0"/>
    <c:plotArea>
      <c:layout/>
      <c:barChart>
        <c:barDir val="bar"/>
        <c:grouping val="stacked"/>
        <c:varyColors val="0"/>
        <c:ser>
          <c:idx val="0"/>
          <c:order val="0"/>
          <c:tx>
            <c:strRef>
              <c:f>Sheet1!$B$1</c:f>
              <c:strCache>
                <c:ptCount val="1"/>
                <c:pt idx="0">
                  <c:v>中位PFS</c:v>
                </c:pt>
              </c:strCache>
            </c:strRef>
          </c:tx>
          <c:spPr>
            <a:solidFill>
              <a:schemeClr val="accent1"/>
            </a:solidFill>
            <a:ln>
              <a:noFill/>
            </a:ln>
            <a:effectLst/>
          </c:spPr>
          <c:invertIfNegative val="0"/>
          <c:cat>
            <c:strRef>
              <c:f>Sheet1!$A$2:$A$4</c:f>
              <c:strCache>
                <c:ptCount val="3"/>
                <c:pt idx="0">
                  <c:v>亚裔亚组</c:v>
                </c:pt>
                <c:pt idx="1">
                  <c:v>中国扩展研究</c:v>
                </c:pt>
                <c:pt idx="2">
                  <c:v>全组数据</c:v>
                </c:pt>
              </c:strCache>
            </c:strRef>
          </c:cat>
          <c:val>
            <c:numRef>
              <c:f>Sheet1!$B$2:$B$4</c:f>
              <c:numCache>
                <c:formatCode>General</c:formatCode>
                <c:ptCount val="3"/>
                <c:pt idx="0">
                  <c:v>16.5</c:v>
                </c:pt>
                <c:pt idx="1">
                  <c:v>17.8</c:v>
                </c:pt>
                <c:pt idx="2">
                  <c:v>18.899999999999999</c:v>
                </c:pt>
              </c:numCache>
            </c:numRef>
          </c:val>
          <c:extLst>
            <c:ext xmlns:c16="http://schemas.microsoft.com/office/drawing/2014/chart" uri="{C3380CC4-5D6E-409C-BE32-E72D297353CC}">
              <c16:uniqueId val="{00000000-D733-4FE4-9D31-7F44622ABA9A}"/>
            </c:ext>
          </c:extLst>
        </c:ser>
        <c:dLbls>
          <c:showLegendKey val="0"/>
          <c:showVal val="0"/>
          <c:showCatName val="0"/>
          <c:showSerName val="0"/>
          <c:showPercent val="0"/>
          <c:showBubbleSize val="0"/>
        </c:dLbls>
        <c:gapWidth val="101"/>
        <c:overlap val="100"/>
        <c:axId val="840913136"/>
        <c:axId val="840914120"/>
      </c:barChart>
      <c:catAx>
        <c:axId val="8409131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icrosoft YaHei" panose="020B0503020204020204" pitchFamily="34" charset="-122"/>
                <a:ea typeface="Microsoft YaHei" panose="020B0503020204020204" pitchFamily="34" charset="-122"/>
                <a:cs typeface="+mn-cs"/>
              </a:defRPr>
            </a:pPr>
            <a:endParaRPr lang="en-US"/>
          </a:p>
        </c:txPr>
        <c:crossAx val="840914120"/>
        <c:crosses val="autoZero"/>
        <c:auto val="1"/>
        <c:lblAlgn val="ctr"/>
        <c:lblOffset val="100"/>
        <c:noMultiLvlLbl val="0"/>
      </c:catAx>
      <c:valAx>
        <c:axId val="840914120"/>
        <c:scaling>
          <c:orientation val="minMax"/>
          <c:max val="19"/>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icrosoft YaHei" panose="020B0503020204020204" pitchFamily="34" charset="-122"/>
                <a:cs typeface="Arial" panose="020B0604020202020204" pitchFamily="34" charset="0"/>
              </a:defRPr>
            </a:pPr>
            <a:endParaRPr lang="en-US"/>
          </a:p>
        </c:txPr>
        <c:crossAx val="840913136"/>
        <c:crosses val="autoZero"/>
        <c:crossBetween val="between"/>
      </c:valAx>
      <c:spPr>
        <a:noFill/>
        <a:ln>
          <a:noFill/>
        </a:ln>
        <a:effectLst/>
      </c:spPr>
    </c:plotArea>
    <c:plotVisOnly val="1"/>
    <c:dispBlanksAs val="gap"/>
    <c:showDLblsOverMax val="0"/>
  </c:chart>
  <c:spPr>
    <a:noFill/>
    <a:ln>
      <a:noFill/>
    </a:ln>
    <a:effectLst/>
  </c:spPr>
  <c:txPr>
    <a:bodyPr/>
    <a:lstStyle/>
    <a:p>
      <a:pPr>
        <a:defRPr sz="1600" b="1">
          <a:latin typeface="Microsoft YaHei" panose="020B0503020204020204" pitchFamily="34" charset="-122"/>
          <a:ea typeface="Microsoft YaHei" panose="020B0503020204020204" pitchFamily="34" charset="-122"/>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5">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15875" cap="flat" cmpd="sng" algn="ctr">
        <a:solidFill>
          <a:schemeClr val="tx1">
            <a:lumMod val="25000"/>
            <a:lumOff val="75000"/>
          </a:schemeClr>
        </a:solidFill>
        <a:round/>
      </a:ln>
    </cs:spPr>
    <cs:defRPr sz="1197" kern="1200" cap="none" spc="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70000"/>
        </a:schemeClr>
      </a:solidFill>
    </cs:spPr>
  </cs:dataPoint>
  <cs:dataPoint3D>
    <cs:lnRef idx="0"/>
    <cs:fillRef idx="0">
      <cs:styleClr val="auto"/>
    </cs:fillRef>
    <cs:effectRef idx="0"/>
    <cs:fontRef idx="minor">
      <a:schemeClr val="dk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alpha val="70000"/>
          </a:schemeClr>
        </a:solidFill>
        <a:round/>
      </a:ln>
    </cs:spPr>
  </cs:dataPointLine>
  <cs:dataPointMarker>
    <cs:lnRef idx="0"/>
    <cs:fillRef idx="0">
      <cs:styleClr val="auto"/>
    </cs:fillRef>
    <cs:effectRef idx="0"/>
    <cs:fontRef idx="minor">
      <a:schemeClr val="dk1"/>
    </cs:fontRef>
    <cs:spPr>
      <a:solidFill>
        <a:schemeClr val="phClr">
          <a:alpha val="70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5000"/>
            <a:lumOff val="9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baseline="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128" b="0" i="0" kern="1200" cap="none" spc="50" normalizeH="0" baseline="0"/>
  </cs:title>
  <cs:trendline>
    <cs:lnRef idx="0">
      <cs:styleClr val="auto"/>
    </cs:lnRef>
    <cs:fillRef idx="0"/>
    <cs:effectRef idx="0"/>
    <cs:fontRef idx="minor">
      <a:schemeClr val="dk1"/>
    </cs:fontRef>
    <cs:spPr>
      <a:ln w="1587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spc="20" baseline="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drawing1.xml><?xml version="1.0" encoding="utf-8"?>
<c:userShapes xmlns:c="http://schemas.openxmlformats.org/drawingml/2006/chart">
  <cdr:relSizeAnchor xmlns:cdr="http://schemas.openxmlformats.org/drawingml/2006/chartDrawing">
    <cdr:from>
      <cdr:x>0.72746</cdr:x>
      <cdr:y>0.07785</cdr:y>
    </cdr:from>
    <cdr:to>
      <cdr:x>0.929</cdr:x>
      <cdr:y>0.16238</cdr:y>
    </cdr:to>
    <cdr:sp macro="" textlink="">
      <cdr:nvSpPr>
        <cdr:cNvPr id="2" name="文本框 1"/>
        <cdr:cNvSpPr txBox="1"/>
      </cdr:nvSpPr>
      <cdr:spPr>
        <a:xfrm xmlns:a="http://schemas.openxmlformats.org/drawingml/2006/main">
          <a:off x="2847737" y="294413"/>
          <a:ext cx="788940" cy="31964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altLang="zh-CN" sz="1800" b="1" dirty="0">
              <a:solidFill>
                <a:schemeClr val="bg1"/>
              </a:solidFill>
            </a:rPr>
            <a:t>20.2</a:t>
          </a:r>
          <a:endParaRPr lang="zh-CN" altLang="en-US" sz="1800" b="1" dirty="0">
            <a:solidFill>
              <a:schemeClr val="bg1"/>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6B84CA-A707-4D85-9D48-EF47B6F313FF}" type="datetimeFigureOut">
              <a:rPr lang="en-US" smtClean="0"/>
              <a:t>5/12/2020</a:t>
            </a:fld>
            <a:endParaRPr lang="en-US"/>
          </a:p>
        </p:txBody>
      </p:sp>
      <p:sp>
        <p:nvSpPr>
          <p:cNvPr id="4" name="幻灯片图像占位符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CD9A83-F384-4C13-ADBB-31AF6A6057C2}" type="slidenum">
              <a:rPr lang="en-US" smtClean="0"/>
              <a:t>‹#›</a:t>
            </a:fld>
            <a:endParaRPr lang="en-US"/>
          </a:p>
        </p:txBody>
      </p:sp>
    </p:spTree>
    <p:extLst>
      <p:ext uri="{BB962C8B-B14F-4D97-AF65-F5344CB8AC3E}">
        <p14:creationId xmlns:p14="http://schemas.microsoft.com/office/powerpoint/2010/main" val="1171715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各位老师早上好，我是来自勃林格殷格翰公司负责吉泰瑞产品的代表</a:t>
            </a:r>
            <a:r>
              <a:rPr lang="en-US" altLang="zh-CN" dirty="0"/>
              <a:t>XXX</a:t>
            </a:r>
            <a:r>
              <a:rPr lang="zh-CN" altLang="en-US" dirty="0"/>
              <a:t>。吉泰瑞作为刚刚登陆中国不足三年一款</a:t>
            </a:r>
            <a:r>
              <a:rPr lang="en-US" altLang="zh-CN" dirty="0"/>
              <a:t>EGFR-TKI</a:t>
            </a:r>
            <a:r>
              <a:rPr lang="zh-CN" altLang="en-US" dirty="0"/>
              <a:t>抑制剂，很多老师还是再尝试和了解的过程中，今天小</a:t>
            </a:r>
            <a:r>
              <a:rPr lang="en-US" altLang="zh-CN" dirty="0"/>
              <a:t>X</a:t>
            </a:r>
            <a:r>
              <a:rPr lang="zh-CN" altLang="en-US" dirty="0"/>
              <a:t>很有幸花</a:t>
            </a:r>
            <a:r>
              <a:rPr lang="en-US" altLang="zh-CN" dirty="0"/>
              <a:t>20</a:t>
            </a:r>
            <a:r>
              <a:rPr lang="zh-CN" altLang="en-US" dirty="0"/>
              <a:t>分钟时间，给各位老师就吉泰瑞如何优化</a:t>
            </a:r>
            <a:r>
              <a:rPr lang="en-US" altLang="zh-CN" dirty="0"/>
              <a:t>EGFR</a:t>
            </a:r>
            <a:r>
              <a:rPr lang="zh-CN" altLang="en-US" dirty="0"/>
              <a:t>突变患者的生存获益这个话题，与各位老师做一个介绍。欢迎各位老师批评指正，后续我还将就吉泰瑞其他方面的数据和话题和大家一一分享。</a:t>
            </a:r>
            <a:endParaRPr lang="en-US" dirty="0"/>
          </a:p>
        </p:txBody>
      </p:sp>
      <p:sp>
        <p:nvSpPr>
          <p:cNvPr id="4" name="灯片编号占位符 3"/>
          <p:cNvSpPr>
            <a:spLocks noGrp="1"/>
          </p:cNvSpPr>
          <p:nvPr>
            <p:ph type="sldNum" sz="quarter" idx="10"/>
          </p:nvPr>
        </p:nvSpPr>
        <p:spPr/>
        <p:txBody>
          <a:bodyPr/>
          <a:lstStyle/>
          <a:p>
            <a:fld id="{2BCD9A83-F384-4C13-ADBB-31AF6A6057C2}" type="slidenum">
              <a:rPr lang="en-US" smtClean="0"/>
              <a:t>1</a:t>
            </a:fld>
            <a:endParaRPr lang="en-US"/>
          </a:p>
        </p:txBody>
      </p:sp>
    </p:spTree>
    <p:extLst>
      <p:ext uri="{BB962C8B-B14F-4D97-AF65-F5344CB8AC3E}">
        <p14:creationId xmlns:p14="http://schemas.microsoft.com/office/powerpoint/2010/main" val="4524517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fontAlgn="auto" latinLnBrk="0" hangingPunct="1">
              <a:spcBef>
                <a:spcPts val="0"/>
              </a:spcBef>
              <a:spcAft>
                <a:spcPts val="0"/>
              </a:spcAft>
              <a:defRPr/>
            </a:pPr>
            <a:r>
              <a:rPr lang="zh-CN" altLang="en-US" sz="1200" b="0" kern="1200" dirty="0">
                <a:solidFill>
                  <a:schemeClr val="tx1"/>
                </a:solidFill>
                <a:latin typeface="微软雅黑" panose="020B0503020204020204" pitchFamily="34" charset="-122"/>
                <a:ea typeface="微软雅黑" panose="020B0503020204020204" pitchFamily="34" charset="-122"/>
                <a:cs typeface="+mn-cs"/>
              </a:rPr>
              <a:t>研究结果显示，与一代</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TKI</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相比，吉泰瑞一线治疗</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EGFR</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突变患者的</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PFS</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为</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11</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个月，可以显著降低疾病进展风险</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27%</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且具有统计学差异。</a:t>
            </a:r>
            <a:endParaRPr lang="en-US" altLang="zh-CN" sz="1200" b="0" kern="1200" dirty="0">
              <a:solidFill>
                <a:schemeClr val="tx1"/>
              </a:solidFill>
              <a:latin typeface="微软雅黑" panose="020B0503020204020204" pitchFamily="34" charset="-122"/>
              <a:ea typeface="微软雅黑" panose="020B0503020204020204" pitchFamily="34" charset="-122"/>
              <a:cs typeface="+mn-cs"/>
            </a:endParaRPr>
          </a:p>
          <a:p>
            <a:pPr marL="0" algn="l" defTabSz="914400" rtl="0" eaLnBrk="1" fontAlgn="auto" latinLnBrk="0" hangingPunct="1">
              <a:spcBef>
                <a:spcPts val="0"/>
              </a:spcBef>
              <a:spcAft>
                <a:spcPts val="0"/>
              </a:spcAft>
              <a:defRPr/>
            </a:pPr>
            <a:r>
              <a:rPr lang="zh-CN" altLang="en-US" sz="1200" b="0" kern="1200" dirty="0">
                <a:solidFill>
                  <a:schemeClr val="tx1"/>
                </a:solidFill>
                <a:latin typeface="微软雅黑" panose="020B0503020204020204" pitchFamily="34" charset="-122"/>
                <a:ea typeface="微软雅黑" panose="020B0503020204020204" pitchFamily="34" charset="-122"/>
                <a:cs typeface="+mn-cs"/>
              </a:rPr>
              <a:t>在</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12</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个月后，吉泰瑞组与吉非替尼组的差距开始拉大。在</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2</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年时，吉泰瑞的无疾病进展率为</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18%</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吉非替尼约为</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8%</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两年</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PFS</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率提高了一倍。</a:t>
            </a:r>
            <a:r>
              <a:rPr lang="zh-CN" altLang="en-US" sz="1200" b="0" u="sng" kern="1200" dirty="0">
                <a:solidFill>
                  <a:schemeClr val="tx1"/>
                </a:solidFill>
                <a:latin typeface="微软雅黑" panose="020B0503020204020204" pitchFamily="34" charset="-122"/>
                <a:ea typeface="微软雅黑" panose="020B0503020204020204" pitchFamily="34" charset="-122"/>
                <a:cs typeface="+mn-cs"/>
              </a:rPr>
              <a:t>也就是说，一线吉泰瑞治疗可以延缓耐药，让患者享受更长的</a:t>
            </a:r>
            <a:r>
              <a:rPr lang="en-US" altLang="zh-CN" sz="1200" b="0" u="sng" kern="1200" dirty="0">
                <a:solidFill>
                  <a:schemeClr val="tx1"/>
                </a:solidFill>
                <a:latin typeface="微软雅黑" panose="020B0503020204020204" pitchFamily="34" charset="-122"/>
                <a:ea typeface="微软雅黑" panose="020B0503020204020204" pitchFamily="34" charset="-122"/>
                <a:cs typeface="+mn-cs"/>
              </a:rPr>
              <a:t>TKI Holiday</a:t>
            </a:r>
            <a:r>
              <a:rPr lang="zh-CN" altLang="en-US" sz="1200" b="0" u="sng" kern="1200" dirty="0">
                <a:solidFill>
                  <a:schemeClr val="tx1"/>
                </a:solidFill>
                <a:latin typeface="微软雅黑" panose="020B0503020204020204" pitchFamily="34" charset="-122"/>
                <a:ea typeface="微软雅黑" panose="020B0503020204020204" pitchFamily="34" charset="-122"/>
                <a:cs typeface="+mn-cs"/>
              </a:rPr>
              <a:t>。</a:t>
            </a:r>
            <a:endParaRPr lang="de-DE" b="0" u="sng"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96028D-2DFE-4D3D-BC1F-A55273C4EDFF}"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1902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400" rtl="0" eaLnBrk="1" fontAlgn="auto" latinLnBrk="0" hangingPunct="1">
              <a:spcBef>
                <a:spcPts val="0"/>
              </a:spcBef>
              <a:spcAft>
                <a:spcPts val="0"/>
              </a:spcAft>
              <a:defRPr/>
            </a:pPr>
            <a:r>
              <a:rPr lang="zh-CN" altLang="en-US" sz="1200" b="0" kern="1200" dirty="0">
                <a:solidFill>
                  <a:schemeClr val="tx1"/>
                </a:solidFill>
                <a:latin typeface="微软雅黑" panose="020B0503020204020204" pitchFamily="34" charset="-122"/>
                <a:ea typeface="微软雅黑" panose="020B0503020204020204" pitchFamily="34" charset="-122"/>
                <a:cs typeface="+mn-cs"/>
              </a:rPr>
              <a:t>其次，吉泰瑞组客观缓解率为</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70%</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而吉非替尼组为</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56%</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吉泰瑞一线治疗</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EGFR</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常见突变患者更容易出现肿瘤缓解。从客观缓解持续时间来看，吉泰瑞组达</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10.1</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个月，吉非替尼组为</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8.4</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个月。说明接受吉泰瑞治疗的患者，一旦出现缓解，缓解时间持续更久。</a:t>
            </a:r>
            <a:endParaRPr lang="en-GB" sz="1200" b="0" kern="1200" dirty="0">
              <a:solidFill>
                <a:schemeClr val="tx1"/>
              </a:solidFill>
              <a:latin typeface="微软雅黑" panose="020B0503020204020204" pitchFamily="34" charset="-122"/>
              <a:ea typeface="微软雅黑" panose="020B0503020204020204" pitchFamily="34" charset="-122"/>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96028D-2DFE-4D3D-BC1F-A55273C4EDFF}"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79931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讲到这个时候，大家可能都会好奇，为什么吉泰瑞到底有什么奥秘可以比第一代</a:t>
            </a:r>
            <a:r>
              <a:rPr lang="en-US" altLang="zh-CN" dirty="0"/>
              <a:t>EGFR-TKI</a:t>
            </a:r>
            <a:r>
              <a:rPr lang="zh-CN" altLang="en-US" dirty="0"/>
              <a:t>获得更久的</a:t>
            </a:r>
            <a:r>
              <a:rPr lang="en-US" altLang="zh-CN" dirty="0"/>
              <a:t>PFS</a:t>
            </a:r>
            <a:r>
              <a:rPr lang="zh-CN" altLang="en-US" dirty="0"/>
              <a:t>和显著的</a:t>
            </a:r>
            <a:r>
              <a:rPr lang="en-US" altLang="zh-CN" dirty="0"/>
              <a:t>OS</a:t>
            </a:r>
            <a:r>
              <a:rPr lang="zh-CN" altLang="en-US" dirty="0"/>
              <a:t>获益？</a:t>
            </a:r>
            <a:endParaRPr lang="en-US" dirty="0"/>
          </a:p>
        </p:txBody>
      </p:sp>
      <p:sp>
        <p:nvSpPr>
          <p:cNvPr id="4" name="灯片编号占位符 3"/>
          <p:cNvSpPr>
            <a:spLocks noGrp="1"/>
          </p:cNvSpPr>
          <p:nvPr>
            <p:ph type="sldNum" sz="quarter" idx="10"/>
          </p:nvPr>
        </p:nvSpPr>
        <p:spPr/>
        <p:txBody>
          <a:bodyPr/>
          <a:lstStyle/>
          <a:p>
            <a:fld id="{2BCD9A83-F384-4C13-ADBB-31AF6A6057C2}" type="slidenum">
              <a:rPr lang="en-US" smtClean="0"/>
              <a:t>12</a:t>
            </a:fld>
            <a:endParaRPr lang="en-US"/>
          </a:p>
        </p:txBody>
      </p:sp>
    </p:spTree>
    <p:extLst>
      <p:ext uri="{BB962C8B-B14F-4D97-AF65-F5344CB8AC3E}">
        <p14:creationId xmlns:p14="http://schemas.microsoft.com/office/powerpoint/2010/main" val="18652159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那就要从吉泰瑞的作用机制说起。吉泰瑞是全球首个上市的不可逆的泛</a:t>
            </a:r>
            <a:r>
              <a:rPr lang="en-US" altLang="zh-CN" dirty="0" err="1"/>
              <a:t>ErBb</a:t>
            </a:r>
            <a:r>
              <a:rPr lang="zh-CN" altLang="en-US" dirty="0"/>
              <a:t>家族抑制剂</a:t>
            </a:r>
            <a:endParaRPr lang="en-US" altLang="zh-CN" dirty="0"/>
          </a:p>
          <a:p>
            <a:r>
              <a:rPr lang="zh-CN" altLang="en-US" dirty="0"/>
              <a:t>首先，不可逆，让吉泰瑞较第一代可逆的</a:t>
            </a:r>
            <a:r>
              <a:rPr lang="en-US" altLang="zh-CN" dirty="0"/>
              <a:t>EGFR-TKI</a:t>
            </a:r>
            <a:r>
              <a:rPr lang="zh-CN" altLang="en-US" dirty="0"/>
              <a:t>有更彻底的信号阻断能力</a:t>
            </a:r>
            <a:endParaRPr lang="en-US" altLang="zh-CN" dirty="0"/>
          </a:p>
          <a:p>
            <a:r>
              <a:rPr lang="zh-CN" altLang="en-US" dirty="0"/>
              <a:t>其次，我们都知道除了</a:t>
            </a:r>
            <a:r>
              <a:rPr lang="en-US" altLang="zh-CN" dirty="0"/>
              <a:t>EGFR</a:t>
            </a:r>
            <a:r>
              <a:rPr lang="zh-CN" altLang="en-US" dirty="0"/>
              <a:t>，</a:t>
            </a:r>
            <a:r>
              <a:rPr lang="en-US" altLang="zh-CN" dirty="0" err="1"/>
              <a:t>ErBb</a:t>
            </a:r>
            <a:r>
              <a:rPr lang="zh-CN" altLang="en-US" dirty="0"/>
              <a:t>家族其他受体的同源或者异源二聚体都会触发下游信号，导致肿瘤生长。吉泰瑞对于泛</a:t>
            </a:r>
            <a:r>
              <a:rPr lang="en-US" altLang="zh-CN" dirty="0" err="1"/>
              <a:t>ErBb</a:t>
            </a:r>
            <a:r>
              <a:rPr lang="zh-CN" altLang="en-US" dirty="0"/>
              <a:t>家族的全面抑制，比第一代单纯抑制</a:t>
            </a:r>
            <a:r>
              <a:rPr lang="en-US" altLang="zh-CN" dirty="0"/>
              <a:t>EGFR</a:t>
            </a:r>
            <a:r>
              <a:rPr lang="zh-CN" altLang="en-US" dirty="0"/>
              <a:t>，更好的防止了旁路激活。</a:t>
            </a:r>
            <a:endParaRPr lang="en-US" altLang="zh-CN" dirty="0"/>
          </a:p>
          <a:p>
            <a:endParaRPr lang="en-US" dirty="0"/>
          </a:p>
          <a:p>
            <a:r>
              <a:rPr lang="zh-CN" altLang="en-US" dirty="0"/>
              <a:t>不可逆，泛</a:t>
            </a:r>
            <a:r>
              <a:rPr lang="en-US" altLang="zh-CN" dirty="0" err="1"/>
              <a:t>ErBb</a:t>
            </a:r>
            <a:r>
              <a:rPr lang="zh-CN" altLang="en-US" dirty="0"/>
              <a:t>家族抑制这两点让吉泰瑞与其他</a:t>
            </a:r>
            <a:r>
              <a:rPr lang="en-US" altLang="zh-CN" dirty="0"/>
              <a:t>TKI</a:t>
            </a:r>
            <a:r>
              <a:rPr lang="zh-CN" altLang="en-US" dirty="0"/>
              <a:t>不同，可以对肿瘤生长的信号更彻底长久的抑制。</a:t>
            </a:r>
            <a:endParaRPr lang="en-US" dirty="0"/>
          </a:p>
        </p:txBody>
      </p:sp>
      <p:sp>
        <p:nvSpPr>
          <p:cNvPr id="4" name="灯片编号占位符 3"/>
          <p:cNvSpPr>
            <a:spLocks noGrp="1"/>
          </p:cNvSpPr>
          <p:nvPr>
            <p:ph type="sldNum" sz="quarter" idx="10"/>
          </p:nvPr>
        </p:nvSpPr>
        <p:spPr/>
        <p:txBody>
          <a:bodyPr/>
          <a:lstStyle/>
          <a:p>
            <a:fld id="{2BCD9A83-F384-4C13-ADBB-31AF6A6057C2}" type="slidenum">
              <a:rPr lang="en-US" smtClean="0"/>
              <a:t>13</a:t>
            </a:fld>
            <a:endParaRPr lang="en-US"/>
          </a:p>
        </p:txBody>
      </p:sp>
    </p:spTree>
    <p:extLst>
      <p:ext uri="{BB962C8B-B14F-4D97-AF65-F5344CB8AC3E}">
        <p14:creationId xmlns:p14="http://schemas.microsoft.com/office/powerpoint/2010/main" val="23776833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自</a:t>
            </a:r>
            <a:r>
              <a:rPr lang="en-US" altLang="zh-CN" dirty="0"/>
              <a:t>2009</a:t>
            </a:r>
            <a:r>
              <a:rPr lang="zh-CN" altLang="en-US" dirty="0"/>
              <a:t>年</a:t>
            </a:r>
            <a:r>
              <a:rPr lang="en-US" altLang="zh-CN" dirty="0"/>
              <a:t>IPASS</a:t>
            </a:r>
            <a:r>
              <a:rPr lang="zh-CN" altLang="en-US" dirty="0"/>
              <a:t>研究之后，证实了</a:t>
            </a:r>
            <a:r>
              <a:rPr lang="en-US" altLang="zh-CN" dirty="0"/>
              <a:t>EGFR-TKI</a:t>
            </a:r>
            <a:r>
              <a:rPr lang="zh-CN" altLang="en-US" dirty="0"/>
              <a:t>类的药物治疗晚期非小细胞肺癌的原理，就是患者是否有相应的</a:t>
            </a:r>
            <a:r>
              <a:rPr lang="en-US" altLang="zh-CN" dirty="0"/>
              <a:t>EGFR</a:t>
            </a:r>
            <a:r>
              <a:rPr lang="zh-CN" altLang="en-US" dirty="0"/>
              <a:t>基因突变。同时，我们也发现</a:t>
            </a:r>
            <a:r>
              <a:rPr lang="en-US" altLang="zh-CN" dirty="0"/>
              <a:t>EGFR-TKI</a:t>
            </a:r>
            <a:r>
              <a:rPr lang="zh-CN" altLang="en-US" dirty="0"/>
              <a:t>是送给亚洲非小细胞肺癌患者的礼物，两倍于高加索人群的</a:t>
            </a:r>
            <a:r>
              <a:rPr lang="en-US" altLang="zh-CN" dirty="0"/>
              <a:t>EGFR</a:t>
            </a:r>
            <a:r>
              <a:rPr lang="zh-CN" altLang="en-US" dirty="0"/>
              <a:t>突变率，让广大的亚洲晚期肺癌患者的总生存期从</a:t>
            </a:r>
            <a:r>
              <a:rPr lang="en-US" altLang="zh-CN" dirty="0"/>
              <a:t>8-9</a:t>
            </a:r>
            <a:r>
              <a:rPr lang="zh-CN" altLang="en-US" dirty="0"/>
              <a:t>个月，延长到了</a:t>
            </a:r>
            <a:r>
              <a:rPr lang="en-US" altLang="zh-CN" dirty="0"/>
              <a:t>30</a:t>
            </a:r>
            <a:r>
              <a:rPr lang="zh-CN" altLang="en-US" dirty="0"/>
              <a:t>多个月。陆续多款的不同特性的</a:t>
            </a:r>
            <a:r>
              <a:rPr lang="en-US" altLang="zh-CN" dirty="0"/>
              <a:t>EGFR-TKI</a:t>
            </a:r>
            <a:r>
              <a:rPr lang="zh-CN" altLang="en-US" dirty="0"/>
              <a:t>的问世，让患者有了多次选择</a:t>
            </a:r>
            <a:r>
              <a:rPr lang="en-US" altLang="zh-CN" dirty="0"/>
              <a:t>TKI</a:t>
            </a:r>
            <a:r>
              <a:rPr lang="zh-CN" altLang="en-US" dirty="0"/>
              <a:t>药物的可能，总生存近一步延长。如何帮助患者做好排兵布阵，获得最大的生存获益成了临床老师的新问题。那么今天小</a:t>
            </a:r>
            <a:r>
              <a:rPr lang="en-US" altLang="zh-CN" dirty="0"/>
              <a:t>X</a:t>
            </a:r>
            <a:r>
              <a:rPr lang="zh-CN" altLang="en-US" dirty="0"/>
              <a:t>就从以下几个方面向给位老师做一个介绍：</a:t>
            </a:r>
            <a:endParaRPr lang="en-US" altLang="zh-CN" dirty="0"/>
          </a:p>
          <a:p>
            <a:endParaRPr lang="en-US" dirty="0"/>
          </a:p>
          <a:p>
            <a:r>
              <a:rPr lang="zh-CN" altLang="en-US" dirty="0"/>
              <a:t>首先，吉泰瑞在上市之初我们就观察到了其在</a:t>
            </a:r>
            <a:r>
              <a:rPr lang="en-US" altLang="zh-CN" dirty="0"/>
              <a:t>EGFR</a:t>
            </a:r>
            <a:r>
              <a:rPr lang="zh-CN" altLang="en-US" dirty="0"/>
              <a:t>常见突变患者总生存上的获益</a:t>
            </a:r>
            <a:endParaRPr lang="en-US" altLang="zh-CN" dirty="0"/>
          </a:p>
          <a:p>
            <a:r>
              <a:rPr lang="zh-CN" altLang="en-US" dirty="0"/>
              <a:t>接着在于第一代</a:t>
            </a:r>
            <a:r>
              <a:rPr lang="en-US" altLang="zh-CN" dirty="0"/>
              <a:t>EGFR-TKI</a:t>
            </a:r>
            <a:r>
              <a:rPr lang="zh-CN" altLang="en-US" dirty="0"/>
              <a:t>的头对头临床研究中也证实了其的获益。</a:t>
            </a:r>
            <a:endParaRPr lang="en-US" altLang="zh-CN" dirty="0"/>
          </a:p>
          <a:p>
            <a:r>
              <a:rPr lang="zh-CN" altLang="en-US" dirty="0"/>
              <a:t>根据最新的一些研究结果显示，无论是临床研究结果，还是转化型研究对于临床研究结果的阐释，都显示</a:t>
            </a:r>
            <a:r>
              <a:rPr lang="en-US" altLang="zh-CN" dirty="0"/>
              <a:t>EGFR</a:t>
            </a:r>
            <a:r>
              <a:rPr lang="zh-CN" altLang="en-US" dirty="0"/>
              <a:t>突变的患者一线选择吉泰瑞，尤其是亚裔患者，可以最大化生存获益。</a:t>
            </a:r>
            <a:endParaRPr lang="en-US" altLang="zh-CN" dirty="0"/>
          </a:p>
          <a:p>
            <a:r>
              <a:rPr lang="zh-CN" altLang="en-US" dirty="0"/>
              <a:t>最后我也会和老师们算一算经济账，在中国目前的医保环境下也证实吉泰瑞用在一线是疗效和价格的双重选择。</a:t>
            </a:r>
            <a:endParaRPr lang="en-US" dirty="0"/>
          </a:p>
        </p:txBody>
      </p:sp>
      <p:sp>
        <p:nvSpPr>
          <p:cNvPr id="4" name="灯片编号占位符 3"/>
          <p:cNvSpPr>
            <a:spLocks noGrp="1"/>
          </p:cNvSpPr>
          <p:nvPr>
            <p:ph type="sldNum" sz="quarter" idx="10"/>
          </p:nvPr>
        </p:nvSpPr>
        <p:spPr/>
        <p:txBody>
          <a:bodyPr/>
          <a:lstStyle/>
          <a:p>
            <a:fld id="{2BCD9A83-F384-4C13-ADBB-31AF6A6057C2}" type="slidenum">
              <a:rPr lang="en-US" smtClean="0"/>
              <a:t>14</a:t>
            </a:fld>
            <a:endParaRPr lang="en-US"/>
          </a:p>
        </p:txBody>
      </p:sp>
    </p:spTree>
    <p:extLst>
      <p:ext uri="{BB962C8B-B14F-4D97-AF65-F5344CB8AC3E}">
        <p14:creationId xmlns:p14="http://schemas.microsoft.com/office/powerpoint/2010/main" val="12600306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三代</a:t>
            </a:r>
            <a:r>
              <a:rPr lang="en-US" altLang="zh-CN" dirty="0"/>
              <a:t>TKI</a:t>
            </a:r>
            <a:r>
              <a:rPr lang="zh-CN" altLang="en-US" dirty="0"/>
              <a:t>研发之初就是为了</a:t>
            </a:r>
            <a:r>
              <a:rPr lang="zh-CN" altLang="en-US" baseline="0" dirty="0"/>
              <a:t> 针对之前的</a:t>
            </a:r>
            <a:r>
              <a:rPr lang="en-US" altLang="zh-CN" baseline="0" dirty="0"/>
              <a:t>TKI</a:t>
            </a:r>
            <a:r>
              <a:rPr lang="zh-CN" altLang="en-US" baseline="0" dirty="0"/>
              <a:t>在耐药后大量出现的</a:t>
            </a:r>
            <a:r>
              <a:rPr lang="en-US" altLang="zh-CN" baseline="0" dirty="0"/>
              <a:t>T790M</a:t>
            </a:r>
            <a:r>
              <a:rPr lang="zh-CN" altLang="en-US" baseline="0" dirty="0"/>
              <a:t>这个特定的耐药位点。在早期的奥斯替尼的</a:t>
            </a:r>
            <a:r>
              <a:rPr lang="en-US" altLang="zh-CN" baseline="0" dirty="0"/>
              <a:t>AURA</a:t>
            </a:r>
            <a:r>
              <a:rPr lang="zh-CN" altLang="en-US" baseline="0" dirty="0"/>
              <a:t>研究中，发现无论患者一线接受了吉泰瑞、厄罗替尼或者吉非替尼，他们出现</a:t>
            </a:r>
            <a:r>
              <a:rPr lang="en-US" altLang="zh-CN" baseline="0" dirty="0"/>
              <a:t>T790M</a:t>
            </a:r>
            <a:r>
              <a:rPr lang="zh-CN" altLang="en-US" baseline="0" dirty="0"/>
              <a:t>耐药的概率都相当，大约在</a:t>
            </a:r>
            <a:r>
              <a:rPr lang="en-US" altLang="zh-CN" baseline="0" dirty="0"/>
              <a:t>68%</a:t>
            </a:r>
            <a:r>
              <a:rPr lang="zh-CN" altLang="en-US" baseline="0" dirty="0"/>
              <a:t>左右。今年</a:t>
            </a:r>
            <a:r>
              <a:rPr lang="en-US" altLang="zh-CN" baseline="0" dirty="0"/>
              <a:t>ASCO</a:t>
            </a:r>
            <a:r>
              <a:rPr lang="zh-CN" altLang="en-US" baseline="0" dirty="0"/>
              <a:t>上中国学者发布了中国人群的真实世界研究，也证实了吉泰瑞一线治疗后有</a:t>
            </a:r>
            <a:r>
              <a:rPr lang="en-US" altLang="zh-CN" baseline="0" dirty="0"/>
              <a:t>56%</a:t>
            </a:r>
            <a:r>
              <a:rPr lang="zh-CN" altLang="en-US" baseline="0" dirty="0"/>
              <a:t>的患者出现</a:t>
            </a:r>
            <a:r>
              <a:rPr lang="en-US" altLang="zh-CN" baseline="0" dirty="0"/>
              <a:t>T790M</a:t>
            </a:r>
            <a:r>
              <a:rPr lang="zh-CN" altLang="en-US" baseline="0" dirty="0"/>
              <a:t>突变，与其他多项研究的结果相符。</a:t>
            </a:r>
            <a:endParaRPr lang="en-US" altLang="zh-CN" baseline="0" dirty="0"/>
          </a:p>
          <a:p>
            <a:r>
              <a:rPr lang="zh-CN" altLang="en-US" baseline="0" dirty="0"/>
              <a:t>所以一线接受吉泰瑞治疗的患者，有三分之二后续会出现</a:t>
            </a:r>
            <a:r>
              <a:rPr lang="en-US" altLang="zh-CN" baseline="0" dirty="0"/>
              <a:t>T790M </a:t>
            </a:r>
            <a:r>
              <a:rPr lang="zh-CN" altLang="en-US" baseline="0" dirty="0"/>
              <a:t>突变，有机会接受二线的奥希替尼治疗。</a:t>
            </a:r>
            <a:endParaRPr lang="en-US" altLang="zh-CN" baseline="0" dirty="0"/>
          </a:p>
        </p:txBody>
      </p:sp>
      <p:sp>
        <p:nvSpPr>
          <p:cNvPr id="4" name="灯片编号占位符 3"/>
          <p:cNvSpPr>
            <a:spLocks noGrp="1"/>
          </p:cNvSpPr>
          <p:nvPr>
            <p:ph type="sldNum" sz="quarter" idx="10"/>
          </p:nvPr>
        </p:nvSpPr>
        <p:spPr/>
        <p:txBody>
          <a:bodyPr/>
          <a:lstStyle/>
          <a:p>
            <a:fld id="{2BCD9A83-F384-4C13-ADBB-31AF6A6057C2}" type="slidenum">
              <a:rPr lang="en-US" smtClean="0"/>
              <a:t>15</a:t>
            </a:fld>
            <a:endParaRPr lang="en-US"/>
          </a:p>
        </p:txBody>
      </p:sp>
    </p:spTree>
    <p:extLst>
      <p:ext uri="{BB962C8B-B14F-4D97-AF65-F5344CB8AC3E}">
        <p14:creationId xmlns:p14="http://schemas.microsoft.com/office/powerpoint/2010/main" val="15477754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那有老师会问，吉泰瑞之后使用奥希替尼会影响奥希替尼治疗的时间吗？</a:t>
            </a:r>
            <a:endParaRPr lang="en-US" altLang="zh-CN" dirty="0"/>
          </a:p>
          <a:p>
            <a:r>
              <a:rPr lang="zh-CN" altLang="en-US" dirty="0"/>
              <a:t>吉泰瑞</a:t>
            </a:r>
            <a:r>
              <a:rPr lang="en-US" altLang="zh-CN" dirty="0"/>
              <a:t>Lux Lung 3&amp;6</a:t>
            </a:r>
            <a:r>
              <a:rPr lang="zh-CN" altLang="en-US" dirty="0"/>
              <a:t>后续研究中，</a:t>
            </a:r>
            <a:r>
              <a:rPr lang="zh-CN" altLang="en-US" sz="1200" dirty="0">
                <a:solidFill>
                  <a:sysClr val="windowText" lastClr="000000"/>
                </a:solidFill>
                <a:latin typeface="微软雅黑" panose="020B0503020204020204" pitchFamily="34" charset="-122"/>
                <a:ea typeface="微软雅黑" panose="020B0503020204020204" pitchFamily="34" charset="-122"/>
              </a:rPr>
              <a:t>二线接受奥希替尼的中位治疗时间为</a:t>
            </a:r>
            <a:r>
              <a:rPr lang="en-US" altLang="zh-CN" sz="1200" dirty="0">
                <a:solidFill>
                  <a:sysClr val="windowText" lastClr="000000"/>
                </a:solidFill>
                <a:latin typeface="微软雅黑" panose="020B0503020204020204" pitchFamily="34" charset="-122"/>
                <a:ea typeface="微软雅黑" panose="020B0503020204020204" pitchFamily="34" charset="-122"/>
              </a:rPr>
              <a:t>20.2</a:t>
            </a:r>
            <a:r>
              <a:rPr lang="zh-CN" altLang="en-US" sz="1200" dirty="0">
                <a:solidFill>
                  <a:sysClr val="windowText" lastClr="000000"/>
                </a:solidFill>
                <a:latin typeface="微软雅黑" panose="020B0503020204020204" pitchFamily="34" charset="-122"/>
                <a:ea typeface="微软雅黑" panose="020B0503020204020204" pitchFamily="34" charset="-122"/>
              </a:rPr>
              <a:t>个月；</a:t>
            </a:r>
            <a:endParaRPr lang="en-US" altLang="zh-CN" dirty="0"/>
          </a:p>
          <a:p>
            <a:r>
              <a:rPr lang="zh-CN" altLang="en-US" dirty="0"/>
              <a:t>在吉泰瑞全球多中心的真实世界研究中，二线使用奥希替尼的亚洲患者，中位奥希替尼治疗失败时间为</a:t>
            </a:r>
            <a:r>
              <a:rPr lang="en-US" altLang="zh-CN" dirty="0"/>
              <a:t>19.6</a:t>
            </a:r>
            <a:r>
              <a:rPr lang="zh-CN" altLang="en-US" dirty="0"/>
              <a:t>个月。</a:t>
            </a:r>
            <a:endParaRPr lang="en-US" altLang="zh-CN" dirty="0"/>
          </a:p>
          <a:p>
            <a:r>
              <a:rPr lang="zh-CN" altLang="en-US" dirty="0"/>
              <a:t>而在奥希替尼的一线研究中，初治晚期一线患者使用奥希替尼的中位治疗暴露时间为</a:t>
            </a:r>
            <a:r>
              <a:rPr lang="en-US" altLang="zh-CN" dirty="0"/>
              <a:t>20.7</a:t>
            </a:r>
            <a:r>
              <a:rPr lang="zh-CN" altLang="en-US" dirty="0"/>
              <a:t>个月。与吉泰瑞后使用奥希替尼的时间差不多。</a:t>
            </a:r>
            <a:endParaRPr lang="en-US" altLang="zh-CN" dirty="0"/>
          </a:p>
          <a:p>
            <a:endParaRPr lang="en-US" dirty="0"/>
          </a:p>
        </p:txBody>
      </p:sp>
      <p:sp>
        <p:nvSpPr>
          <p:cNvPr id="4" name="灯片编号占位符 3"/>
          <p:cNvSpPr>
            <a:spLocks noGrp="1"/>
          </p:cNvSpPr>
          <p:nvPr>
            <p:ph type="sldNum" sz="quarter" idx="10"/>
          </p:nvPr>
        </p:nvSpPr>
        <p:spPr/>
        <p:txBody>
          <a:bodyPr/>
          <a:lstStyle/>
          <a:p>
            <a:fld id="{2BCD9A83-F384-4C13-ADBB-31AF6A6057C2}" type="slidenum">
              <a:rPr lang="en-US" smtClean="0"/>
              <a:t>16</a:t>
            </a:fld>
            <a:endParaRPr lang="en-US"/>
          </a:p>
        </p:txBody>
      </p:sp>
    </p:spTree>
    <p:extLst>
      <p:ext uri="{BB962C8B-B14F-4D97-AF65-F5344CB8AC3E}">
        <p14:creationId xmlns:p14="http://schemas.microsoft.com/office/powerpoint/2010/main" val="31645062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那么奥希替尼到底是该一线使用还是二线使用，在其上市之初就有很多争议。</a:t>
            </a:r>
            <a:r>
              <a:rPr lang="en-US" altLang="zh-CN" dirty="0"/>
              <a:t>2019</a:t>
            </a:r>
            <a:r>
              <a:rPr lang="zh-CN" altLang="en-US" dirty="0"/>
              <a:t>年</a:t>
            </a:r>
            <a:r>
              <a:rPr lang="en-US" altLang="zh-CN" dirty="0"/>
              <a:t>ESMO</a:t>
            </a:r>
            <a:r>
              <a:rPr lang="zh-CN" altLang="en-US" dirty="0"/>
              <a:t>万众瞩目的</a:t>
            </a:r>
            <a:r>
              <a:rPr lang="en-US" altLang="zh-CN" dirty="0"/>
              <a:t>FLAURA</a:t>
            </a:r>
            <a:r>
              <a:rPr lang="zh-CN" altLang="en-US" dirty="0"/>
              <a:t>研究的</a:t>
            </a:r>
            <a:r>
              <a:rPr lang="en-US" altLang="zh-CN" dirty="0"/>
              <a:t>OS</a:t>
            </a:r>
            <a:r>
              <a:rPr lang="zh-CN" altLang="en-US" dirty="0"/>
              <a:t>数据揭晓了。虽然全组人群有</a:t>
            </a:r>
            <a:r>
              <a:rPr lang="en-US" altLang="zh-CN" dirty="0"/>
              <a:t>OS</a:t>
            </a:r>
            <a:r>
              <a:rPr lang="zh-CN" altLang="en-US" dirty="0"/>
              <a:t>获益，但是占试验</a:t>
            </a:r>
            <a:r>
              <a:rPr lang="en-US" altLang="zh-CN" dirty="0"/>
              <a:t>68%</a:t>
            </a:r>
            <a:r>
              <a:rPr lang="zh-CN" altLang="en-US" dirty="0"/>
              <a:t>的亚裔人群</a:t>
            </a:r>
            <a:r>
              <a:rPr lang="en-US" altLang="zh-CN" dirty="0"/>
              <a:t>OS</a:t>
            </a:r>
            <a:r>
              <a:rPr lang="zh-CN" altLang="en-US" dirty="0"/>
              <a:t>无差异，中位</a:t>
            </a:r>
            <a:r>
              <a:rPr lang="en-US" altLang="zh-CN" dirty="0"/>
              <a:t>OS37.1</a:t>
            </a:r>
            <a:r>
              <a:rPr lang="zh-CN" altLang="en-US" dirty="0"/>
              <a:t>个月，</a:t>
            </a:r>
            <a:r>
              <a:rPr lang="en-US" altLang="zh-CN" dirty="0"/>
              <a:t>HR=0.995</a:t>
            </a:r>
            <a:r>
              <a:rPr lang="zh-CN" altLang="en-US" dirty="0"/>
              <a:t>。且生存曲线和非亚裔人群很不一样，从始至终都没有显著分开。</a:t>
            </a:r>
            <a:endParaRPr lang="en-US" dirty="0"/>
          </a:p>
        </p:txBody>
      </p:sp>
      <p:sp>
        <p:nvSpPr>
          <p:cNvPr id="4" name="灯片编号占位符 3"/>
          <p:cNvSpPr>
            <a:spLocks noGrp="1"/>
          </p:cNvSpPr>
          <p:nvPr>
            <p:ph type="sldNum" sz="quarter" idx="10"/>
          </p:nvPr>
        </p:nvSpPr>
        <p:spPr/>
        <p:txBody>
          <a:bodyPr/>
          <a:lstStyle/>
          <a:p>
            <a:fld id="{2BCD9A83-F384-4C13-ADBB-31AF6A6057C2}" type="slidenum">
              <a:rPr lang="en-US" smtClean="0"/>
              <a:t>17</a:t>
            </a:fld>
            <a:endParaRPr lang="en-US"/>
          </a:p>
        </p:txBody>
      </p:sp>
    </p:spTree>
    <p:extLst>
      <p:ext uri="{BB962C8B-B14F-4D97-AF65-F5344CB8AC3E}">
        <p14:creationId xmlns:p14="http://schemas.microsoft.com/office/powerpoint/2010/main" val="22166312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为什么</a:t>
            </a:r>
            <a:r>
              <a:rPr lang="en-US" altLang="zh-CN" dirty="0"/>
              <a:t>FLAURA</a:t>
            </a:r>
            <a:r>
              <a:rPr lang="zh-CN" altLang="en-US" dirty="0"/>
              <a:t>的</a:t>
            </a:r>
            <a:r>
              <a:rPr lang="en-US" altLang="zh-CN" dirty="0"/>
              <a:t>OS</a:t>
            </a:r>
            <a:r>
              <a:rPr lang="zh-CN" altLang="en-US" dirty="0"/>
              <a:t>研究结果亚裔数据和非亚裔数据有这么大的差别？</a:t>
            </a:r>
            <a:endParaRPr lang="en-US" altLang="zh-CN" dirty="0"/>
          </a:p>
          <a:p>
            <a:r>
              <a:rPr lang="zh-CN" altLang="en-US" dirty="0"/>
              <a:t>其实在早期报道的</a:t>
            </a:r>
            <a:r>
              <a:rPr lang="en-US" altLang="zh-CN" dirty="0"/>
              <a:t>PFS</a:t>
            </a:r>
            <a:r>
              <a:rPr lang="zh-CN" altLang="en-US" dirty="0"/>
              <a:t>数据中，我们就观察到，亚州亚组及中国扩展研究的</a:t>
            </a:r>
            <a:r>
              <a:rPr lang="en-US" altLang="zh-CN" dirty="0"/>
              <a:t>PFS</a:t>
            </a:r>
            <a:r>
              <a:rPr lang="zh-CN" altLang="en-US" dirty="0"/>
              <a:t>和</a:t>
            </a:r>
            <a:r>
              <a:rPr lang="en-US" altLang="zh-CN" dirty="0"/>
              <a:t>HR</a:t>
            </a:r>
            <a:r>
              <a:rPr lang="zh-CN" altLang="en-US" dirty="0"/>
              <a:t>都在数值上裂于全球数据。</a:t>
            </a:r>
            <a:endParaRPr lang="en-US" altLang="zh-CN" dirty="0"/>
          </a:p>
          <a:p>
            <a:r>
              <a:rPr lang="zh-CN" altLang="en-US" dirty="0"/>
              <a:t>可能奥希替尼有更适合西方人群的特点。</a:t>
            </a:r>
            <a:endParaRPr lang="en-US" dirty="0"/>
          </a:p>
        </p:txBody>
      </p:sp>
      <p:sp>
        <p:nvSpPr>
          <p:cNvPr id="4" name="灯片编号占位符 3"/>
          <p:cNvSpPr>
            <a:spLocks noGrp="1"/>
          </p:cNvSpPr>
          <p:nvPr>
            <p:ph type="sldNum" sz="quarter" idx="10"/>
          </p:nvPr>
        </p:nvSpPr>
        <p:spPr/>
        <p:txBody>
          <a:bodyPr/>
          <a:lstStyle/>
          <a:p>
            <a:fld id="{2BCD9A83-F384-4C13-ADBB-31AF6A6057C2}" type="slidenum">
              <a:rPr lang="en-US" smtClean="0"/>
              <a:t>18</a:t>
            </a:fld>
            <a:endParaRPr lang="en-US"/>
          </a:p>
        </p:txBody>
      </p:sp>
    </p:spTree>
    <p:extLst>
      <p:ext uri="{BB962C8B-B14F-4D97-AF65-F5344CB8AC3E}">
        <p14:creationId xmlns:p14="http://schemas.microsoft.com/office/powerpoint/2010/main" val="32857535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在</a:t>
            </a:r>
            <a:r>
              <a:rPr lang="en-US" altLang="zh-CN" dirty="0"/>
              <a:t>2019</a:t>
            </a:r>
            <a:r>
              <a:rPr lang="zh-CN" altLang="en-US" dirty="0"/>
              <a:t>年</a:t>
            </a:r>
            <a:r>
              <a:rPr lang="en-US" altLang="zh-CN" dirty="0"/>
              <a:t>12</a:t>
            </a:r>
            <a:r>
              <a:rPr lang="zh-CN" altLang="en-US" dirty="0"/>
              <a:t>月日本肺癌年会上，报道了</a:t>
            </a:r>
            <a:r>
              <a:rPr lang="en-US" altLang="zh-CN" dirty="0"/>
              <a:t>FLAURA</a:t>
            </a:r>
            <a:r>
              <a:rPr lang="zh-CN" altLang="en-US" dirty="0"/>
              <a:t>亚洲数据的细节。首先日本患者由于</a:t>
            </a:r>
            <a:r>
              <a:rPr lang="en-US" altLang="zh-CN" dirty="0"/>
              <a:t>1</a:t>
            </a:r>
            <a:r>
              <a:rPr lang="zh-CN" altLang="en-US" dirty="0"/>
              <a:t>线接受吉非替尼组的患者更多的接受了多种后续治疗，结果对照组的中位</a:t>
            </a:r>
            <a:r>
              <a:rPr lang="en-US" altLang="zh-CN" dirty="0"/>
              <a:t>OS</a:t>
            </a:r>
            <a:r>
              <a:rPr lang="zh-CN" altLang="en-US" dirty="0"/>
              <a:t>优于试验的奥希替尼组，且</a:t>
            </a:r>
            <a:r>
              <a:rPr lang="en-US" altLang="zh-CN" dirty="0"/>
              <a:t>HR</a:t>
            </a:r>
            <a:r>
              <a:rPr lang="zh-CN" altLang="en-US" dirty="0"/>
              <a:t>为</a:t>
            </a:r>
            <a:r>
              <a:rPr lang="en-US" altLang="zh-CN" dirty="0"/>
              <a:t>1.399. </a:t>
            </a:r>
            <a:r>
              <a:rPr lang="zh-CN" altLang="en-US" dirty="0"/>
              <a:t>就是说奥希替尼组死亡风险是一线吉非替尼组的</a:t>
            </a:r>
            <a:r>
              <a:rPr lang="en-US" altLang="zh-CN" dirty="0"/>
              <a:t>140%</a:t>
            </a:r>
            <a:r>
              <a:rPr lang="zh-CN" altLang="en-US" dirty="0"/>
              <a:t>。 而排除了日本患者的数据，其他的亚洲数据虽然中位</a:t>
            </a:r>
            <a:r>
              <a:rPr lang="en-US" altLang="zh-CN" dirty="0"/>
              <a:t>OS</a:t>
            </a:r>
            <a:r>
              <a:rPr lang="zh-CN" altLang="en-US" dirty="0"/>
              <a:t>值上略优于</a:t>
            </a:r>
            <a:r>
              <a:rPr lang="en-US" altLang="zh-CN" dirty="0"/>
              <a:t>1</a:t>
            </a:r>
            <a:r>
              <a:rPr lang="zh-CN" altLang="en-US" dirty="0"/>
              <a:t>线吉非替尼组，但是</a:t>
            </a:r>
            <a:r>
              <a:rPr lang="en-US" altLang="zh-CN" dirty="0"/>
              <a:t>HR</a:t>
            </a:r>
            <a:r>
              <a:rPr lang="zh-CN" altLang="en-US" dirty="0"/>
              <a:t>只有</a:t>
            </a:r>
            <a:r>
              <a:rPr lang="en-US" altLang="zh-CN" dirty="0"/>
              <a:t>0.89.</a:t>
            </a:r>
            <a:r>
              <a:rPr lang="zh-CN" altLang="en-US" dirty="0"/>
              <a:t>基本没有临床获益。这更加说明了奥希替尼的一线治疗</a:t>
            </a:r>
            <a:r>
              <a:rPr lang="en-US" altLang="zh-CN" dirty="0"/>
              <a:t>PFS</a:t>
            </a:r>
            <a:r>
              <a:rPr lang="zh-CN" altLang="en-US" dirty="0"/>
              <a:t>固然有获益，但是由于更少的后续治疗机会，导致亚洲患者</a:t>
            </a:r>
            <a:r>
              <a:rPr lang="en-US" altLang="zh-CN" dirty="0"/>
              <a:t>OS</a:t>
            </a:r>
            <a:r>
              <a:rPr lang="zh-CN" altLang="en-US" dirty="0"/>
              <a:t>获益不明显。而恰是日本组的数据，给我们更多的启示。给与</a:t>
            </a:r>
            <a:r>
              <a:rPr lang="en-US" altLang="zh-CN" dirty="0"/>
              <a:t>EGFR</a:t>
            </a:r>
            <a:r>
              <a:rPr lang="zh-CN" altLang="en-US" dirty="0"/>
              <a:t>突变患者更多的后续治疗机会，才是进一步帮助患者获得更长生存的治疗策略。</a:t>
            </a:r>
          </a:p>
        </p:txBody>
      </p:sp>
      <p:sp>
        <p:nvSpPr>
          <p:cNvPr id="4" name="灯片编号占位符 3"/>
          <p:cNvSpPr>
            <a:spLocks noGrp="1"/>
          </p:cNvSpPr>
          <p:nvPr>
            <p:ph type="sldNum" sz="quarter" idx="10"/>
          </p:nvPr>
        </p:nvSpPr>
        <p:spPr/>
        <p:txBody>
          <a:bodyPr/>
          <a:lstStyle/>
          <a:p>
            <a:fld id="{2BCD9A83-F384-4C13-ADBB-31AF6A6057C2}" type="slidenum">
              <a:rPr lang="en-US" smtClean="0"/>
              <a:t>19</a:t>
            </a:fld>
            <a:endParaRPr lang="en-US"/>
          </a:p>
        </p:txBody>
      </p:sp>
    </p:spTree>
    <p:extLst>
      <p:ext uri="{BB962C8B-B14F-4D97-AF65-F5344CB8AC3E}">
        <p14:creationId xmlns:p14="http://schemas.microsoft.com/office/powerpoint/2010/main" val="41209244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自</a:t>
            </a:r>
            <a:r>
              <a:rPr lang="en-US" altLang="zh-CN" dirty="0"/>
              <a:t>2009</a:t>
            </a:r>
            <a:r>
              <a:rPr lang="zh-CN" altLang="en-US" dirty="0"/>
              <a:t>年</a:t>
            </a:r>
            <a:r>
              <a:rPr lang="en-US" altLang="zh-CN" dirty="0"/>
              <a:t>IPASS</a:t>
            </a:r>
            <a:r>
              <a:rPr lang="zh-CN" altLang="en-US" dirty="0"/>
              <a:t>研究之后，证实了</a:t>
            </a:r>
            <a:r>
              <a:rPr lang="en-US" altLang="zh-CN" dirty="0"/>
              <a:t>EGFR-TKI</a:t>
            </a:r>
            <a:r>
              <a:rPr lang="zh-CN" altLang="en-US" dirty="0"/>
              <a:t>类的药物治疗晚期非小细胞肺癌的原理，就是患者是否有相应的</a:t>
            </a:r>
            <a:r>
              <a:rPr lang="en-US" altLang="zh-CN" dirty="0"/>
              <a:t>EGFR</a:t>
            </a:r>
            <a:r>
              <a:rPr lang="zh-CN" altLang="en-US" dirty="0"/>
              <a:t>基因突变。同时，我们也发现</a:t>
            </a:r>
            <a:r>
              <a:rPr lang="en-US" altLang="zh-CN" dirty="0"/>
              <a:t>EGFR-TKI</a:t>
            </a:r>
            <a:r>
              <a:rPr lang="zh-CN" altLang="en-US" dirty="0"/>
              <a:t>是送给亚洲非小细胞肺癌患者的礼物，两倍于高加索人群的</a:t>
            </a:r>
            <a:r>
              <a:rPr lang="en-US" altLang="zh-CN" dirty="0"/>
              <a:t>EGFR</a:t>
            </a:r>
            <a:r>
              <a:rPr lang="zh-CN" altLang="en-US" dirty="0"/>
              <a:t>突变率，让广大的亚洲晚期肺癌患者的总生存期从</a:t>
            </a:r>
            <a:r>
              <a:rPr lang="en-US" altLang="zh-CN" dirty="0"/>
              <a:t>8-9</a:t>
            </a:r>
            <a:r>
              <a:rPr lang="zh-CN" altLang="en-US" dirty="0"/>
              <a:t>个月，延长到了</a:t>
            </a:r>
            <a:r>
              <a:rPr lang="en-US" altLang="zh-CN" dirty="0"/>
              <a:t>30</a:t>
            </a:r>
            <a:r>
              <a:rPr lang="zh-CN" altLang="en-US" dirty="0"/>
              <a:t>多个月。陆续多款的不同特性的</a:t>
            </a:r>
            <a:r>
              <a:rPr lang="en-US" altLang="zh-CN" dirty="0"/>
              <a:t>EGFR-TKI</a:t>
            </a:r>
            <a:r>
              <a:rPr lang="zh-CN" altLang="en-US" dirty="0"/>
              <a:t>的问世，让患者有了多次选择</a:t>
            </a:r>
            <a:r>
              <a:rPr lang="en-US" altLang="zh-CN" dirty="0"/>
              <a:t>TKI</a:t>
            </a:r>
            <a:r>
              <a:rPr lang="zh-CN" altLang="en-US" dirty="0"/>
              <a:t>药物的可能，总生存近一步延长。如何帮助患者做好排兵布阵，获得最大的生存获益成了临床老师的新问题。那么今天小</a:t>
            </a:r>
            <a:r>
              <a:rPr lang="en-US" altLang="zh-CN" dirty="0"/>
              <a:t>X</a:t>
            </a:r>
            <a:r>
              <a:rPr lang="zh-CN" altLang="en-US" dirty="0"/>
              <a:t>就从以下几个方面向给位老师做一个介绍：</a:t>
            </a:r>
            <a:endParaRPr lang="en-US" altLang="zh-CN" dirty="0"/>
          </a:p>
          <a:p>
            <a:endParaRPr lang="en-US" dirty="0"/>
          </a:p>
          <a:p>
            <a:r>
              <a:rPr lang="zh-CN" altLang="en-US" dirty="0"/>
              <a:t>首先，吉泰瑞在上市之初我们就观察到了其在</a:t>
            </a:r>
            <a:r>
              <a:rPr lang="en-US" altLang="zh-CN" dirty="0"/>
              <a:t>EGFR</a:t>
            </a:r>
            <a:r>
              <a:rPr lang="zh-CN" altLang="en-US" dirty="0"/>
              <a:t>常见突变患者总生存上的获益</a:t>
            </a:r>
            <a:endParaRPr lang="en-US" altLang="zh-CN" dirty="0"/>
          </a:p>
          <a:p>
            <a:r>
              <a:rPr lang="zh-CN" altLang="en-US" dirty="0"/>
              <a:t>接着在于第一代</a:t>
            </a:r>
            <a:r>
              <a:rPr lang="en-US" altLang="zh-CN" dirty="0"/>
              <a:t>EGFR-TKI</a:t>
            </a:r>
            <a:r>
              <a:rPr lang="zh-CN" altLang="en-US" dirty="0"/>
              <a:t>的头对头临床研究中也证实了其的获益。</a:t>
            </a:r>
            <a:endParaRPr lang="en-US" altLang="zh-CN" dirty="0"/>
          </a:p>
          <a:p>
            <a:r>
              <a:rPr lang="zh-CN" altLang="en-US" dirty="0"/>
              <a:t>根据最新的一些研究结果显示，无论是临床研究结果，还是转化型研究对于临床研究结果的阐释，都显示</a:t>
            </a:r>
            <a:r>
              <a:rPr lang="en-US" altLang="zh-CN" dirty="0"/>
              <a:t>EGFR</a:t>
            </a:r>
            <a:r>
              <a:rPr lang="zh-CN" altLang="en-US" dirty="0"/>
              <a:t>突变的患者一线选择吉泰瑞，尤其是亚裔患者，可以最大化生存获益。</a:t>
            </a:r>
            <a:endParaRPr lang="en-US" altLang="zh-CN" dirty="0"/>
          </a:p>
          <a:p>
            <a:r>
              <a:rPr lang="zh-CN" altLang="en-US" dirty="0"/>
              <a:t>最后我也会和老师们算一算经济账，在中国目前的医保环境下也证实吉泰瑞用在一线是疗效和价格的双重选择。</a:t>
            </a:r>
            <a:endParaRPr lang="en-US" dirty="0"/>
          </a:p>
        </p:txBody>
      </p:sp>
      <p:sp>
        <p:nvSpPr>
          <p:cNvPr id="4" name="灯片编号占位符 3"/>
          <p:cNvSpPr>
            <a:spLocks noGrp="1"/>
          </p:cNvSpPr>
          <p:nvPr>
            <p:ph type="sldNum" sz="quarter" idx="10"/>
          </p:nvPr>
        </p:nvSpPr>
        <p:spPr/>
        <p:txBody>
          <a:bodyPr/>
          <a:lstStyle/>
          <a:p>
            <a:fld id="{2BCD9A83-F384-4C13-ADBB-31AF6A6057C2}" type="slidenum">
              <a:rPr lang="en-US" smtClean="0"/>
              <a:t>2</a:t>
            </a:fld>
            <a:endParaRPr lang="en-US"/>
          </a:p>
        </p:txBody>
      </p:sp>
    </p:spTree>
    <p:extLst>
      <p:ext uri="{BB962C8B-B14F-4D97-AF65-F5344CB8AC3E}">
        <p14:creationId xmlns:p14="http://schemas.microsoft.com/office/powerpoint/2010/main" val="15229442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FLAURA</a:t>
            </a:r>
            <a:r>
              <a:rPr lang="zh-CN" altLang="en-US" dirty="0"/>
              <a:t>研究的</a:t>
            </a:r>
            <a:r>
              <a:rPr lang="en-US" altLang="zh-CN" dirty="0"/>
              <a:t>PFS</a:t>
            </a:r>
            <a:r>
              <a:rPr lang="zh-CN" altLang="en-US" dirty="0"/>
              <a:t>有显著获益，但是一线奥希替尼治疗后患者的基因变化复杂未知，后续只有</a:t>
            </a:r>
            <a:r>
              <a:rPr lang="en-US" altLang="zh-CN" dirty="0"/>
              <a:t>18%</a:t>
            </a:r>
            <a:r>
              <a:rPr lang="zh-CN" altLang="en-US" dirty="0"/>
              <a:t>左右的患者有靶向治疗的机会。</a:t>
            </a:r>
            <a:endParaRPr lang="en-US" altLang="zh-CN" dirty="0"/>
          </a:p>
          <a:p>
            <a:r>
              <a:rPr lang="zh-CN" altLang="en-US" dirty="0"/>
              <a:t>而一线吉泰瑞，二线有三分之二的机会可以使用奥希替尼，且二线奥希替尼之后有</a:t>
            </a:r>
            <a:r>
              <a:rPr lang="en-US" altLang="zh-CN" dirty="0"/>
              <a:t>46%</a:t>
            </a:r>
            <a:r>
              <a:rPr lang="zh-CN" altLang="en-US" dirty="0"/>
              <a:t>的患者有靶向治疗的机会。</a:t>
            </a:r>
            <a:endParaRPr lang="en-US" altLang="zh-CN" dirty="0"/>
          </a:p>
          <a:p>
            <a:r>
              <a:rPr lang="zh-CN" altLang="en-US" dirty="0"/>
              <a:t>这样的治疗顺序让患者可以享受多段</a:t>
            </a:r>
            <a:r>
              <a:rPr lang="en-US" altLang="zh-CN" dirty="0"/>
              <a:t>PFS</a:t>
            </a:r>
            <a:r>
              <a:rPr lang="zh-CN" altLang="en-US" dirty="0"/>
              <a:t>的</a:t>
            </a:r>
            <a:r>
              <a:rPr lang="en-US" altLang="zh-CN" dirty="0"/>
              <a:t>TKI Holiday</a:t>
            </a:r>
            <a:r>
              <a:rPr lang="zh-CN" altLang="en-US" dirty="0"/>
              <a:t>，获得更长的生存获益。</a:t>
            </a:r>
            <a:endParaRPr lang="en-US" dirty="0"/>
          </a:p>
        </p:txBody>
      </p:sp>
      <p:sp>
        <p:nvSpPr>
          <p:cNvPr id="4" name="灯片编号占位符 3"/>
          <p:cNvSpPr>
            <a:spLocks noGrp="1"/>
          </p:cNvSpPr>
          <p:nvPr>
            <p:ph type="sldNum" sz="quarter" idx="10"/>
          </p:nvPr>
        </p:nvSpPr>
        <p:spPr/>
        <p:txBody>
          <a:bodyPr/>
          <a:lstStyle/>
          <a:p>
            <a:fld id="{2BCD9A83-F384-4C13-ADBB-31AF6A6057C2}" type="slidenum">
              <a:rPr lang="en-US" smtClean="0"/>
              <a:t>20</a:t>
            </a:fld>
            <a:endParaRPr lang="en-US"/>
          </a:p>
        </p:txBody>
      </p:sp>
    </p:spTree>
    <p:extLst>
      <p:ext uri="{BB962C8B-B14F-4D97-AF65-F5344CB8AC3E}">
        <p14:creationId xmlns:p14="http://schemas.microsoft.com/office/powerpoint/2010/main" val="22459367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那么一代</a:t>
            </a:r>
            <a:r>
              <a:rPr lang="en-US" altLang="zh-CN" dirty="0"/>
              <a:t>TKI</a:t>
            </a:r>
            <a:r>
              <a:rPr lang="zh-CN" altLang="en-US" dirty="0"/>
              <a:t>和吉泰瑞后序贯奥希替尼会有不同的治疗预后吗？</a:t>
            </a:r>
            <a:endParaRPr lang="en-US" altLang="zh-CN" dirty="0"/>
          </a:p>
          <a:p>
            <a:r>
              <a:rPr lang="zh-CN" altLang="en-US" dirty="0"/>
              <a:t>在之前的</a:t>
            </a:r>
            <a:r>
              <a:rPr lang="en-US" altLang="zh-CN" dirty="0"/>
              <a:t>Lux-Lung7</a:t>
            </a:r>
            <a:r>
              <a:rPr lang="zh-CN" altLang="en-US" dirty="0"/>
              <a:t>研究中，我们就看到吉泰瑞较吉非替尼有显著的</a:t>
            </a:r>
            <a:r>
              <a:rPr lang="en-US" altLang="zh-CN" dirty="0"/>
              <a:t>PFS</a:t>
            </a:r>
            <a:r>
              <a:rPr lang="zh-CN" altLang="en-US" dirty="0"/>
              <a:t>获益，这样的获益有没有带到后续治疗中呢。</a:t>
            </a:r>
            <a:endParaRPr lang="en-US" altLang="zh-CN" dirty="0"/>
          </a:p>
          <a:p>
            <a:r>
              <a:rPr lang="zh-CN" altLang="en-US" dirty="0"/>
              <a:t>在</a:t>
            </a:r>
            <a:r>
              <a:rPr lang="en-US" altLang="zh-CN" dirty="0"/>
              <a:t>Lux-Lung7</a:t>
            </a:r>
            <a:r>
              <a:rPr lang="zh-CN" altLang="en-US" dirty="0"/>
              <a:t>的后续治疗中，我们也持续关注了这样一群患者。同样二线进入奥希替尼治疗的患者中，一线接受吉泰瑞治疗的患者比接受吉非替尼的患者</a:t>
            </a:r>
            <a:r>
              <a:rPr lang="en-US" altLang="zh-CN" dirty="0"/>
              <a:t>OS</a:t>
            </a:r>
            <a:r>
              <a:rPr lang="zh-CN" altLang="en-US" dirty="0"/>
              <a:t>获益更多。虽然截至</a:t>
            </a:r>
            <a:r>
              <a:rPr lang="en-US" altLang="zh-CN" dirty="0"/>
              <a:t>2017</a:t>
            </a:r>
            <a:r>
              <a:rPr lang="zh-CN" altLang="en-US" dirty="0"/>
              <a:t>年</a:t>
            </a:r>
            <a:r>
              <a:rPr lang="en-US" altLang="zh-CN" dirty="0"/>
              <a:t>8</a:t>
            </a:r>
            <a:r>
              <a:rPr lang="zh-CN" altLang="en-US" dirty="0"/>
              <a:t>月数据分析的时间，两组的中位</a:t>
            </a:r>
            <a:r>
              <a:rPr lang="en-US" altLang="zh-CN" dirty="0"/>
              <a:t>OS</a:t>
            </a:r>
            <a:r>
              <a:rPr lang="zh-CN" altLang="en-US" dirty="0"/>
              <a:t>都未达到。但是在</a:t>
            </a:r>
            <a:r>
              <a:rPr lang="en-US" altLang="zh-CN" dirty="0"/>
              <a:t>25%</a:t>
            </a:r>
            <a:r>
              <a:rPr lang="zh-CN" altLang="en-US" dirty="0"/>
              <a:t>分位的</a:t>
            </a:r>
            <a:r>
              <a:rPr lang="en-US" altLang="zh-CN" dirty="0"/>
              <a:t>OS</a:t>
            </a:r>
            <a:r>
              <a:rPr lang="zh-CN" altLang="en-US" dirty="0"/>
              <a:t>数值，吉泰瑞组</a:t>
            </a:r>
            <a:r>
              <a:rPr lang="en-US" altLang="zh-CN" dirty="0"/>
              <a:t>51.3</a:t>
            </a:r>
            <a:r>
              <a:rPr lang="zh-CN" altLang="en-US" dirty="0"/>
              <a:t>个月，吉非替尼组只有</a:t>
            </a:r>
            <a:r>
              <a:rPr lang="en-US" altLang="zh-CN" dirty="0"/>
              <a:t>45.3</a:t>
            </a:r>
            <a:r>
              <a:rPr lang="zh-CN" altLang="en-US" dirty="0"/>
              <a:t>个月。</a:t>
            </a:r>
            <a:endParaRPr lang="en-US" dirty="0"/>
          </a:p>
        </p:txBody>
      </p:sp>
      <p:sp>
        <p:nvSpPr>
          <p:cNvPr id="4" name="灯片编号占位符 3"/>
          <p:cNvSpPr>
            <a:spLocks noGrp="1"/>
          </p:cNvSpPr>
          <p:nvPr>
            <p:ph type="sldNum" sz="quarter" idx="10"/>
          </p:nvPr>
        </p:nvSpPr>
        <p:spPr/>
        <p:txBody>
          <a:bodyPr/>
          <a:lstStyle/>
          <a:p>
            <a:fld id="{2BCD9A83-F384-4C13-ADBB-31AF6A6057C2}" type="slidenum">
              <a:rPr lang="en-US" smtClean="0"/>
              <a:t>21</a:t>
            </a:fld>
            <a:endParaRPr lang="en-US"/>
          </a:p>
        </p:txBody>
      </p:sp>
    </p:spTree>
    <p:extLst>
      <p:ext uri="{BB962C8B-B14F-4D97-AF65-F5344CB8AC3E}">
        <p14:creationId xmlns:p14="http://schemas.microsoft.com/office/powerpoint/2010/main" val="4442345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自</a:t>
            </a:r>
            <a:r>
              <a:rPr lang="en-US" altLang="zh-CN" dirty="0"/>
              <a:t>2009</a:t>
            </a:r>
            <a:r>
              <a:rPr lang="zh-CN" altLang="en-US" dirty="0"/>
              <a:t>年</a:t>
            </a:r>
            <a:r>
              <a:rPr lang="en-US" altLang="zh-CN" dirty="0"/>
              <a:t>IPASS</a:t>
            </a:r>
            <a:r>
              <a:rPr lang="zh-CN" altLang="en-US" dirty="0"/>
              <a:t>研究之后，证实了</a:t>
            </a:r>
            <a:r>
              <a:rPr lang="en-US" altLang="zh-CN" dirty="0"/>
              <a:t>EGFR-TKI</a:t>
            </a:r>
            <a:r>
              <a:rPr lang="zh-CN" altLang="en-US" dirty="0"/>
              <a:t>类的药物治疗晚期非小细胞肺癌的原理，就是患者是否有相应的</a:t>
            </a:r>
            <a:r>
              <a:rPr lang="en-US" altLang="zh-CN" dirty="0"/>
              <a:t>EGFR</a:t>
            </a:r>
            <a:r>
              <a:rPr lang="zh-CN" altLang="en-US" dirty="0"/>
              <a:t>基因突变。同时，我们也发现</a:t>
            </a:r>
            <a:r>
              <a:rPr lang="en-US" altLang="zh-CN" dirty="0"/>
              <a:t>EGFR-TKI</a:t>
            </a:r>
            <a:r>
              <a:rPr lang="zh-CN" altLang="en-US" dirty="0"/>
              <a:t>是送给亚洲非小细胞肺癌患者的礼物，两倍于高加索人群的</a:t>
            </a:r>
            <a:r>
              <a:rPr lang="en-US" altLang="zh-CN" dirty="0"/>
              <a:t>EGFR</a:t>
            </a:r>
            <a:r>
              <a:rPr lang="zh-CN" altLang="en-US" dirty="0"/>
              <a:t>突变率，让广大的亚洲晚期肺癌患者的总生存期从</a:t>
            </a:r>
            <a:r>
              <a:rPr lang="en-US" altLang="zh-CN" dirty="0"/>
              <a:t>8-9</a:t>
            </a:r>
            <a:r>
              <a:rPr lang="zh-CN" altLang="en-US" dirty="0"/>
              <a:t>个月，延长到了</a:t>
            </a:r>
            <a:r>
              <a:rPr lang="en-US" altLang="zh-CN" dirty="0"/>
              <a:t>30</a:t>
            </a:r>
            <a:r>
              <a:rPr lang="zh-CN" altLang="en-US" dirty="0"/>
              <a:t>多个月。陆续多款的不同特性的</a:t>
            </a:r>
            <a:r>
              <a:rPr lang="en-US" altLang="zh-CN" dirty="0"/>
              <a:t>EGFR-TKI</a:t>
            </a:r>
            <a:r>
              <a:rPr lang="zh-CN" altLang="en-US" dirty="0"/>
              <a:t>的问世，让患者有了多次选择</a:t>
            </a:r>
            <a:r>
              <a:rPr lang="en-US" altLang="zh-CN" dirty="0"/>
              <a:t>TKI</a:t>
            </a:r>
            <a:r>
              <a:rPr lang="zh-CN" altLang="en-US" dirty="0"/>
              <a:t>药物的可能，总生存近一步延长。如何帮助患者做好排兵布阵，获得最大的生存获益成了临床老师的新问题。那么今天小</a:t>
            </a:r>
            <a:r>
              <a:rPr lang="en-US" altLang="zh-CN" dirty="0"/>
              <a:t>X</a:t>
            </a:r>
            <a:r>
              <a:rPr lang="zh-CN" altLang="en-US" dirty="0"/>
              <a:t>就从以下几个方面向给位老师做一个介绍：</a:t>
            </a:r>
            <a:endParaRPr lang="en-US" altLang="zh-CN" dirty="0"/>
          </a:p>
          <a:p>
            <a:endParaRPr lang="en-US" dirty="0"/>
          </a:p>
          <a:p>
            <a:r>
              <a:rPr lang="zh-CN" altLang="en-US" dirty="0"/>
              <a:t>首先，吉泰瑞在上市之初我们就观察到了其在</a:t>
            </a:r>
            <a:r>
              <a:rPr lang="en-US" altLang="zh-CN" dirty="0"/>
              <a:t>EGFR</a:t>
            </a:r>
            <a:r>
              <a:rPr lang="zh-CN" altLang="en-US" dirty="0"/>
              <a:t>常见突变患者总生存上的获益</a:t>
            </a:r>
            <a:endParaRPr lang="en-US" altLang="zh-CN" dirty="0"/>
          </a:p>
          <a:p>
            <a:r>
              <a:rPr lang="zh-CN" altLang="en-US" dirty="0"/>
              <a:t>接着在于第一代</a:t>
            </a:r>
            <a:r>
              <a:rPr lang="en-US" altLang="zh-CN" dirty="0"/>
              <a:t>EGFR-TKI</a:t>
            </a:r>
            <a:r>
              <a:rPr lang="zh-CN" altLang="en-US" dirty="0"/>
              <a:t>的头对头临床研究中也证实了其的获益。</a:t>
            </a:r>
            <a:endParaRPr lang="en-US" altLang="zh-CN" dirty="0"/>
          </a:p>
          <a:p>
            <a:r>
              <a:rPr lang="zh-CN" altLang="en-US" dirty="0"/>
              <a:t>根据最新的一些研究结果显示，无论是临床研究结果，还是转化型研究对于临床研究结果的阐释，都显示</a:t>
            </a:r>
            <a:r>
              <a:rPr lang="en-US" altLang="zh-CN" dirty="0"/>
              <a:t>EGFR</a:t>
            </a:r>
            <a:r>
              <a:rPr lang="zh-CN" altLang="en-US" dirty="0"/>
              <a:t>突变的患者一线选择吉泰瑞，尤其是亚裔患者，可以最大化生存获益。</a:t>
            </a:r>
            <a:endParaRPr lang="en-US" altLang="zh-CN" dirty="0"/>
          </a:p>
          <a:p>
            <a:r>
              <a:rPr lang="zh-CN" altLang="en-US" dirty="0"/>
              <a:t>最后我也会和老师们算一算经济账，在中国目前的医保环境下也证实吉泰瑞用在一线是疗效和价格的双重选择。</a:t>
            </a:r>
            <a:endParaRPr lang="en-US" dirty="0"/>
          </a:p>
        </p:txBody>
      </p:sp>
      <p:sp>
        <p:nvSpPr>
          <p:cNvPr id="4" name="灯片编号占位符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BCD9A83-F384-4C13-ADBB-31AF6A6057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42108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在刚才的数据阐述中，各位老师都看到了相对一代</a:t>
            </a:r>
            <a:r>
              <a:rPr lang="en-US" altLang="zh-CN" dirty="0"/>
              <a:t>TKI</a:t>
            </a:r>
            <a:r>
              <a:rPr lang="zh-CN" altLang="en-US" dirty="0"/>
              <a:t>吉泰瑞有显著的获益趋势，所以我们这里比较的是先用吉泰瑞序贯奥希替尼，与一线奥希替尼的两个放案。</a:t>
            </a:r>
            <a:endParaRPr lang="en-US" altLang="zh-CN" dirty="0"/>
          </a:p>
          <a:p>
            <a:r>
              <a:rPr lang="zh-CN" altLang="en-US" dirty="0"/>
              <a:t>目前吉泰瑞一线，奥希替尼二线都在医保范围内，如果我们按照平均报销</a:t>
            </a:r>
            <a:r>
              <a:rPr lang="en-US" altLang="zh-CN" dirty="0"/>
              <a:t>60%</a:t>
            </a:r>
            <a:r>
              <a:rPr lang="zh-CN" altLang="en-US" dirty="0"/>
              <a:t>的药品费用来测算。一线吉泰瑞的患者只要花</a:t>
            </a:r>
            <a:r>
              <a:rPr lang="en-US" altLang="zh-CN" dirty="0"/>
              <a:t>9</a:t>
            </a:r>
            <a:r>
              <a:rPr lang="zh-CN" altLang="en-US" dirty="0"/>
              <a:t>万元就可以享受约</a:t>
            </a:r>
            <a:r>
              <a:rPr lang="en-US" altLang="zh-CN" dirty="0"/>
              <a:t>22</a:t>
            </a:r>
            <a:r>
              <a:rPr lang="zh-CN" altLang="en-US" dirty="0"/>
              <a:t>个约的</a:t>
            </a:r>
            <a:r>
              <a:rPr lang="en-US" altLang="zh-CN" dirty="0"/>
              <a:t>TKI</a:t>
            </a:r>
            <a:r>
              <a:rPr lang="zh-CN" altLang="en-US" dirty="0"/>
              <a:t>治疗。而目前奥希替尼一线尚未进入国家医保报销，患者需要自付所有费用，那么一位患者需要花</a:t>
            </a:r>
            <a:r>
              <a:rPr lang="en-US" altLang="zh-CN" dirty="0"/>
              <a:t>27.5</a:t>
            </a:r>
            <a:r>
              <a:rPr lang="zh-CN" altLang="en-US" dirty="0"/>
              <a:t>万元来接受这个</a:t>
            </a:r>
            <a:r>
              <a:rPr lang="en-US" altLang="zh-CN" dirty="0"/>
              <a:t>18</a:t>
            </a:r>
            <a:r>
              <a:rPr lang="zh-CN" altLang="en-US" dirty="0"/>
              <a:t>个月左右的</a:t>
            </a:r>
            <a:r>
              <a:rPr lang="en-US" altLang="zh-CN" dirty="0"/>
              <a:t>TKI</a:t>
            </a:r>
            <a:r>
              <a:rPr lang="zh-CN" altLang="en-US" dirty="0"/>
              <a:t>治疗。花费是一线吉泰瑞的</a:t>
            </a:r>
            <a:r>
              <a:rPr lang="en-US" altLang="zh-CN" dirty="0"/>
              <a:t>3</a:t>
            </a:r>
            <a:r>
              <a:rPr lang="zh-CN" altLang="en-US" dirty="0"/>
              <a:t>倍。而且</a:t>
            </a:r>
            <a:r>
              <a:rPr lang="en-US" altLang="zh-CN" dirty="0"/>
              <a:t>FLAURA</a:t>
            </a:r>
            <a:r>
              <a:rPr lang="zh-CN" altLang="en-US" dirty="0"/>
              <a:t>的亚洲数据已经初步显示，这样的模式对亚洲患者并未比一代</a:t>
            </a:r>
            <a:r>
              <a:rPr lang="en-US" altLang="zh-CN" dirty="0"/>
              <a:t>TKI</a:t>
            </a:r>
            <a:r>
              <a:rPr lang="zh-CN" altLang="en-US" dirty="0"/>
              <a:t>看到额外的生存获益。而吉泰瑞</a:t>
            </a:r>
            <a:r>
              <a:rPr lang="en-US" altLang="zh-CN" dirty="0"/>
              <a:t>vs </a:t>
            </a:r>
            <a:r>
              <a:rPr lang="zh-CN" altLang="en-US" dirty="0"/>
              <a:t>一代的优势，让患者更有机会获得更长的生存。</a:t>
            </a:r>
            <a:endParaRPr lang="en-US" altLang="zh-CN" dirty="0"/>
          </a:p>
          <a:p>
            <a:endParaRPr lang="en-US" altLang="zh-CN" dirty="0"/>
          </a:p>
          <a:p>
            <a:r>
              <a:rPr lang="zh-CN" altLang="en-US" dirty="0"/>
              <a:t>花更少的钱，获得更长的生存。让患者把额外的治疗费用，变成生存获益的时间里去享受生活的费用不是更好？真正实现获得更长，获得更好的治疗愿望。</a:t>
            </a:r>
            <a:endParaRPr lang="en-US" altLang="zh-CN" dirty="0"/>
          </a:p>
          <a:p>
            <a:endParaRPr lang="en-US" dirty="0"/>
          </a:p>
          <a:p>
            <a:endParaRPr lang="en-US" dirty="0"/>
          </a:p>
        </p:txBody>
      </p:sp>
      <p:sp>
        <p:nvSpPr>
          <p:cNvPr id="4" name="灯片编号占位符 3"/>
          <p:cNvSpPr>
            <a:spLocks noGrp="1"/>
          </p:cNvSpPr>
          <p:nvPr>
            <p:ph type="sldNum" sz="quarter" idx="10"/>
          </p:nvPr>
        </p:nvSpPr>
        <p:spPr/>
        <p:txBody>
          <a:bodyPr/>
          <a:lstStyle/>
          <a:p>
            <a:fld id="{2BCD9A83-F384-4C13-ADBB-31AF6A6057C2}" type="slidenum">
              <a:rPr lang="en-US" smtClean="0"/>
              <a:t>23</a:t>
            </a:fld>
            <a:endParaRPr lang="en-US"/>
          </a:p>
        </p:txBody>
      </p:sp>
    </p:spTree>
    <p:extLst>
      <p:ext uri="{BB962C8B-B14F-4D97-AF65-F5344CB8AC3E}">
        <p14:creationId xmlns:p14="http://schemas.microsoft.com/office/powerpoint/2010/main" val="24438945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最后，小</a:t>
            </a:r>
            <a:r>
              <a:rPr lang="en-US" altLang="zh-CN" dirty="0"/>
              <a:t>X</a:t>
            </a:r>
            <a:r>
              <a:rPr lang="zh-CN" altLang="en-US" dirty="0"/>
              <a:t>就今天的分享给各位老师做个总结。</a:t>
            </a:r>
            <a:endParaRPr lang="en-US" altLang="zh-CN" dirty="0"/>
          </a:p>
          <a:p>
            <a:r>
              <a:rPr lang="zh-CN" altLang="en-US" dirty="0"/>
              <a:t>吉泰瑞</a:t>
            </a:r>
            <a:r>
              <a:rPr lang="en-US" altLang="zh-CN" dirty="0"/>
              <a:t>……</a:t>
            </a:r>
          </a:p>
          <a:p>
            <a:r>
              <a:rPr lang="en-US" altLang="zh-CN" dirty="0"/>
              <a:t>……</a:t>
            </a:r>
            <a:r>
              <a:rPr lang="zh-CN" altLang="en-US" dirty="0"/>
              <a:t>一线吉泰瑞是</a:t>
            </a:r>
            <a:r>
              <a:rPr lang="zh-CN" altLang="en-US" b="1" dirty="0"/>
              <a:t>更具性价比的</a:t>
            </a:r>
            <a:r>
              <a:rPr lang="zh-CN" altLang="en-US" dirty="0"/>
              <a:t>治疗方案，</a:t>
            </a:r>
            <a:r>
              <a:rPr lang="zh-CN" altLang="en-US" b="1" dirty="0"/>
              <a:t>更适合中国患者。</a:t>
            </a:r>
            <a:endParaRPr lang="en-US" altLang="zh-CN" b="1" dirty="0"/>
          </a:p>
          <a:p>
            <a:endParaRPr lang="en-US" b="1" dirty="0"/>
          </a:p>
          <a:p>
            <a:r>
              <a:rPr lang="zh-CN" altLang="en-US" dirty="0"/>
              <a:t>非常感谢给位老师的宝贵时间，下面是提问环节。</a:t>
            </a:r>
            <a:endParaRPr lang="en-US" dirty="0"/>
          </a:p>
        </p:txBody>
      </p:sp>
      <p:sp>
        <p:nvSpPr>
          <p:cNvPr id="4" name="灯片编号占位符 3"/>
          <p:cNvSpPr>
            <a:spLocks noGrp="1"/>
          </p:cNvSpPr>
          <p:nvPr>
            <p:ph type="sldNum" sz="quarter" idx="10"/>
          </p:nvPr>
        </p:nvSpPr>
        <p:spPr/>
        <p:txBody>
          <a:bodyPr/>
          <a:lstStyle/>
          <a:p>
            <a:fld id="{2BCD9A83-F384-4C13-ADBB-31AF6A6057C2}" type="slidenum">
              <a:rPr lang="en-US" smtClean="0"/>
              <a:t>24</a:t>
            </a:fld>
            <a:endParaRPr lang="en-US"/>
          </a:p>
        </p:txBody>
      </p:sp>
    </p:spTree>
    <p:extLst>
      <p:ext uri="{BB962C8B-B14F-4D97-AF65-F5344CB8AC3E}">
        <p14:creationId xmlns:p14="http://schemas.microsoft.com/office/powerpoint/2010/main" val="9748354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自</a:t>
            </a:r>
            <a:r>
              <a:rPr lang="en-US" altLang="zh-CN" dirty="0"/>
              <a:t>2009</a:t>
            </a:r>
            <a:r>
              <a:rPr lang="zh-CN" altLang="en-US" dirty="0"/>
              <a:t>年</a:t>
            </a:r>
            <a:r>
              <a:rPr lang="en-US" altLang="zh-CN" dirty="0"/>
              <a:t>IPASS</a:t>
            </a:r>
            <a:r>
              <a:rPr lang="zh-CN" altLang="en-US" dirty="0"/>
              <a:t>研究之后，证实了</a:t>
            </a:r>
            <a:r>
              <a:rPr lang="en-US" altLang="zh-CN" dirty="0"/>
              <a:t>EGFR-TKI</a:t>
            </a:r>
            <a:r>
              <a:rPr lang="zh-CN" altLang="en-US" dirty="0"/>
              <a:t>类的药物治疗晚期非小细胞肺癌的原理，就是患者是否有相应的</a:t>
            </a:r>
            <a:r>
              <a:rPr lang="en-US" altLang="zh-CN" dirty="0"/>
              <a:t>EGFR</a:t>
            </a:r>
            <a:r>
              <a:rPr lang="zh-CN" altLang="en-US" dirty="0"/>
              <a:t>基因突变。同时，我们也发现</a:t>
            </a:r>
            <a:r>
              <a:rPr lang="en-US" altLang="zh-CN" dirty="0"/>
              <a:t>EGFR-TKI</a:t>
            </a:r>
            <a:r>
              <a:rPr lang="zh-CN" altLang="en-US" dirty="0"/>
              <a:t>是送给亚洲非小细胞肺癌患者的礼物，两倍于高加索人群的</a:t>
            </a:r>
            <a:r>
              <a:rPr lang="en-US" altLang="zh-CN" dirty="0"/>
              <a:t>EGFR</a:t>
            </a:r>
            <a:r>
              <a:rPr lang="zh-CN" altLang="en-US" dirty="0"/>
              <a:t>突变率，让广大的亚洲晚期肺癌患者的总生存期从</a:t>
            </a:r>
            <a:r>
              <a:rPr lang="en-US" altLang="zh-CN" dirty="0"/>
              <a:t>8-9</a:t>
            </a:r>
            <a:r>
              <a:rPr lang="zh-CN" altLang="en-US" dirty="0"/>
              <a:t>个月，延长到了</a:t>
            </a:r>
            <a:r>
              <a:rPr lang="en-US" altLang="zh-CN" dirty="0"/>
              <a:t>30</a:t>
            </a:r>
            <a:r>
              <a:rPr lang="zh-CN" altLang="en-US" dirty="0"/>
              <a:t>多个月。陆续多款的不同特性的</a:t>
            </a:r>
            <a:r>
              <a:rPr lang="en-US" altLang="zh-CN" dirty="0"/>
              <a:t>EGFR-TKI</a:t>
            </a:r>
            <a:r>
              <a:rPr lang="zh-CN" altLang="en-US" dirty="0"/>
              <a:t>的问世，让患者有了多次选择</a:t>
            </a:r>
            <a:r>
              <a:rPr lang="en-US" altLang="zh-CN" dirty="0"/>
              <a:t>TKI</a:t>
            </a:r>
            <a:r>
              <a:rPr lang="zh-CN" altLang="en-US" dirty="0"/>
              <a:t>药物的可能，总生存近一步延长。如何帮助患者做好排兵布阵，获得最大的生存获益成了临床老师的新问题。那么今天小</a:t>
            </a:r>
            <a:r>
              <a:rPr lang="en-US" altLang="zh-CN" dirty="0"/>
              <a:t>X</a:t>
            </a:r>
            <a:r>
              <a:rPr lang="zh-CN" altLang="en-US" dirty="0"/>
              <a:t>就从以下几个方面向给位老师做一个介绍：</a:t>
            </a:r>
            <a:endParaRPr lang="en-US" altLang="zh-CN" dirty="0"/>
          </a:p>
          <a:p>
            <a:endParaRPr lang="en-US" dirty="0"/>
          </a:p>
          <a:p>
            <a:r>
              <a:rPr lang="zh-CN" altLang="en-US" dirty="0"/>
              <a:t>首先，吉泰瑞在上市之初我们就观察到了其在</a:t>
            </a:r>
            <a:r>
              <a:rPr lang="en-US" altLang="zh-CN" dirty="0"/>
              <a:t>EGFR</a:t>
            </a:r>
            <a:r>
              <a:rPr lang="zh-CN" altLang="en-US" dirty="0"/>
              <a:t>常见突变患者总生存上的获益</a:t>
            </a:r>
            <a:endParaRPr lang="en-US" altLang="zh-CN" dirty="0"/>
          </a:p>
          <a:p>
            <a:r>
              <a:rPr lang="zh-CN" altLang="en-US" dirty="0"/>
              <a:t>接着在于第一代</a:t>
            </a:r>
            <a:r>
              <a:rPr lang="en-US" altLang="zh-CN" dirty="0"/>
              <a:t>EGFR-TKI</a:t>
            </a:r>
            <a:r>
              <a:rPr lang="zh-CN" altLang="en-US" dirty="0"/>
              <a:t>的头对头临床研究中也证实了其的获益。</a:t>
            </a:r>
            <a:endParaRPr lang="en-US" altLang="zh-CN" dirty="0"/>
          </a:p>
          <a:p>
            <a:r>
              <a:rPr lang="zh-CN" altLang="en-US" dirty="0"/>
              <a:t>根据最新的一些研究结果显示，无论是临床研究结果，还是转化型研究对于临床研究结果的阐释，都显示</a:t>
            </a:r>
            <a:r>
              <a:rPr lang="en-US" altLang="zh-CN" dirty="0"/>
              <a:t>EGFR</a:t>
            </a:r>
            <a:r>
              <a:rPr lang="zh-CN" altLang="en-US" dirty="0"/>
              <a:t>突变的患者一线选择吉泰瑞，尤其是亚裔患者，可以最大化生存获益。</a:t>
            </a:r>
            <a:endParaRPr lang="en-US" altLang="zh-CN" dirty="0"/>
          </a:p>
          <a:p>
            <a:r>
              <a:rPr lang="zh-CN" altLang="en-US" dirty="0"/>
              <a:t>最后我也会和老师们算一算经济账，在中国目前的医保环境下也证实吉泰瑞用在一线是疗效和价格的双重选择。</a:t>
            </a:r>
            <a:endParaRPr lang="en-US" dirty="0"/>
          </a:p>
        </p:txBody>
      </p:sp>
      <p:sp>
        <p:nvSpPr>
          <p:cNvPr id="4" name="灯片编号占位符 3"/>
          <p:cNvSpPr>
            <a:spLocks noGrp="1"/>
          </p:cNvSpPr>
          <p:nvPr>
            <p:ph type="sldNum" sz="quarter" idx="10"/>
          </p:nvPr>
        </p:nvSpPr>
        <p:spPr/>
        <p:txBody>
          <a:bodyPr/>
          <a:lstStyle/>
          <a:p>
            <a:fld id="{2BCD9A83-F384-4C13-ADBB-31AF6A6057C2}" type="slidenum">
              <a:rPr lang="en-US" smtClean="0"/>
              <a:t>3</a:t>
            </a:fld>
            <a:endParaRPr lang="en-US"/>
          </a:p>
        </p:txBody>
      </p:sp>
    </p:spTree>
    <p:extLst>
      <p:ext uri="{BB962C8B-B14F-4D97-AF65-F5344CB8AC3E}">
        <p14:creationId xmlns:p14="http://schemas.microsoft.com/office/powerpoint/2010/main" val="32218125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zh-CN" sz="1200" b="0" kern="1200" dirty="0">
                <a:solidFill>
                  <a:schemeClr val="tx1"/>
                </a:solidFill>
                <a:latin typeface="微软雅黑" panose="020B0503020204020204" pitchFamily="34" charset="-122"/>
                <a:ea typeface="微软雅黑" panose="020B0503020204020204" pitchFamily="34" charset="-122"/>
                <a:cs typeface="+mn-cs"/>
              </a:rPr>
              <a:t>EGFR</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突变患者一线吉泰瑞与化疗比较的研究，主要有</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LUX-Lung 3</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和</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LUX-Lung 6</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两项。这两项研究纳入的患者均为</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IIIB</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期及</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IV</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期肺腺癌患者，并且均携带</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EGFR</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突变。</a:t>
            </a:r>
            <a:endParaRPr lang="en-US" altLang="zh-CN" sz="1200" b="0" kern="1200" dirty="0">
              <a:solidFill>
                <a:schemeClr val="tx1"/>
              </a:solidFill>
              <a:latin typeface="微软雅黑" panose="020B0503020204020204" pitchFamily="34" charset="-122"/>
              <a:ea typeface="微软雅黑" panose="020B0503020204020204" pitchFamily="34" charset="-122"/>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200" b="0" kern="1200" dirty="0">
                <a:solidFill>
                  <a:schemeClr val="tx1"/>
                </a:solidFill>
                <a:latin typeface="微软雅黑" panose="020B0503020204020204" pitchFamily="34" charset="-122"/>
                <a:ea typeface="微软雅黑" panose="020B0503020204020204" pitchFamily="34" charset="-122"/>
                <a:cs typeface="+mn-cs"/>
              </a:rPr>
              <a:t>LUX-Lung3</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研究中，</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345 </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例患者随机 </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2:1) </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接受阿法替尼治疗或 </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6 </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个周期标准剂量的培美曲塞 </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 </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顺铂治疗。</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LUX-Lung6</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研究中，</a:t>
            </a:r>
            <a:r>
              <a:rPr lang="en-US" altLang="zh-CN" sz="1200" b="0" u="sng" kern="1200" dirty="0">
                <a:solidFill>
                  <a:schemeClr val="tx1"/>
                </a:solidFill>
                <a:latin typeface="微软雅黑" panose="020B0503020204020204" pitchFamily="34" charset="-122"/>
                <a:ea typeface="微软雅黑" panose="020B0503020204020204" pitchFamily="34" charset="-122"/>
                <a:cs typeface="+mn-cs"/>
              </a:rPr>
              <a:t>364</a:t>
            </a:r>
            <a:r>
              <a:rPr lang="zh-CN" altLang="en-US" sz="1200" b="0" u="sng" kern="1200" dirty="0">
                <a:solidFill>
                  <a:schemeClr val="tx1"/>
                </a:solidFill>
                <a:latin typeface="微软雅黑" panose="020B0503020204020204" pitchFamily="34" charset="-122"/>
                <a:ea typeface="微软雅黑" panose="020B0503020204020204" pitchFamily="34" charset="-122"/>
                <a:cs typeface="+mn-cs"/>
              </a:rPr>
              <a:t>例</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亚裔患者随机接受阿法替治疗或</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6 </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个周期标准剂量的吉西他滨</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 </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顺铂治疗。</a:t>
            </a:r>
            <a:endParaRPr lang="en-US" altLang="zh-CN" sz="1200" b="0" kern="1200" dirty="0">
              <a:solidFill>
                <a:schemeClr val="tx1"/>
              </a:solidFill>
              <a:latin typeface="微软雅黑" panose="020B0503020204020204" pitchFamily="34" charset="-122"/>
              <a:ea typeface="微软雅黑" panose="020B0503020204020204" pitchFamily="34" charset="-122"/>
              <a:cs typeface="+mn-cs"/>
            </a:endParaRPr>
          </a:p>
          <a:p>
            <a:pPr marL="0" algn="l" defTabSz="914400" rtl="0" eaLnBrk="1" fontAlgn="auto" latinLnBrk="0" hangingPunct="1">
              <a:spcBef>
                <a:spcPts val="0"/>
              </a:spcBef>
              <a:spcAft>
                <a:spcPts val="0"/>
              </a:spcAft>
              <a:defRPr/>
            </a:pPr>
            <a:r>
              <a:rPr lang="zh-CN" altLang="en-US" sz="1200" b="0" kern="1200" dirty="0">
                <a:solidFill>
                  <a:schemeClr val="tx1"/>
                </a:solidFill>
                <a:latin typeface="微软雅黑" panose="020B0503020204020204" pitchFamily="34" charset="-122"/>
                <a:ea typeface="微软雅黑" panose="020B0503020204020204" pitchFamily="34" charset="-122"/>
                <a:cs typeface="+mn-cs"/>
              </a:rPr>
              <a:t>两个试验的主要终点是独立评审的无疾病进展生存期，即 </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PFS</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次要终点包括总生存期（</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OS</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患者报告的转归</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PRO), </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客观缓解率（</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ORR</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疾病控制率（</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DCR</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a:t>
            </a:r>
            <a:r>
              <a:rPr lang="zh-CN" altLang="en-US" sz="1200" b="0" kern="1200" noProof="0" dirty="0">
                <a:solidFill>
                  <a:schemeClr val="tx1"/>
                </a:solidFill>
                <a:latin typeface="微软雅黑" panose="020B0503020204020204" pitchFamily="34" charset="-122"/>
                <a:ea typeface="微软雅黑" panose="020B0503020204020204" pitchFamily="34" charset="-122"/>
                <a:cs typeface="+mn-cs"/>
              </a:rPr>
              <a:t>缓解持续时间（</a:t>
            </a:r>
            <a:r>
              <a:rPr lang="en-US" altLang="zh-CN" sz="1200" b="0" kern="1200" noProof="0" dirty="0">
                <a:solidFill>
                  <a:schemeClr val="tx1"/>
                </a:solidFill>
                <a:latin typeface="微软雅黑" panose="020B0503020204020204" pitchFamily="34" charset="-122"/>
                <a:ea typeface="微软雅黑" panose="020B0503020204020204" pitchFamily="34" charset="-122"/>
                <a:cs typeface="+mn-cs"/>
              </a:rPr>
              <a:t>DOR</a:t>
            </a:r>
            <a:r>
              <a:rPr lang="zh-CN" altLang="en-US" sz="1200" b="0" kern="1200" noProof="0" dirty="0">
                <a:solidFill>
                  <a:schemeClr val="tx1"/>
                </a:solidFill>
                <a:latin typeface="微软雅黑" panose="020B0503020204020204" pitchFamily="34" charset="-122"/>
                <a:ea typeface="微软雅黑" panose="020B0503020204020204" pitchFamily="34" charset="-122"/>
                <a:cs typeface="+mn-cs"/>
              </a:rPr>
              <a:t>），</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肿瘤缩小体积及安全性等指标。</a:t>
            </a:r>
            <a:endParaRPr lang="en-US" altLang="zh-CN" sz="1200" b="0" kern="1200" dirty="0">
              <a:solidFill>
                <a:schemeClr val="tx1"/>
              </a:solidFill>
              <a:latin typeface="微软雅黑" panose="020B0503020204020204" pitchFamily="34" charset="-122"/>
              <a:ea typeface="微软雅黑" panose="020B0503020204020204" pitchFamily="34" charset="-122"/>
              <a:cs typeface="+mn-cs"/>
            </a:endParaRPr>
          </a:p>
        </p:txBody>
      </p:sp>
      <p:sp>
        <p:nvSpPr>
          <p:cNvPr id="419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defRPr>
            </a:lvl1pPr>
            <a:lvl2pPr marL="734480" indent="-282492">
              <a:defRPr>
                <a:solidFill>
                  <a:schemeClr val="tx1"/>
                </a:solidFill>
                <a:latin typeface="Arial" pitchFamily="34" charset="0"/>
              </a:defRPr>
            </a:lvl2pPr>
            <a:lvl3pPr marL="1129970" indent="-225994">
              <a:defRPr>
                <a:solidFill>
                  <a:schemeClr val="tx1"/>
                </a:solidFill>
                <a:latin typeface="Arial" pitchFamily="34" charset="0"/>
              </a:defRPr>
            </a:lvl3pPr>
            <a:lvl4pPr marL="1581958" indent="-225994">
              <a:defRPr>
                <a:solidFill>
                  <a:schemeClr val="tx1"/>
                </a:solidFill>
                <a:latin typeface="Arial" pitchFamily="34" charset="0"/>
              </a:defRPr>
            </a:lvl4pPr>
            <a:lvl5pPr marL="2033946" indent="-225994">
              <a:defRPr>
                <a:solidFill>
                  <a:schemeClr val="tx1"/>
                </a:solidFill>
                <a:latin typeface="Arial" pitchFamily="34" charset="0"/>
              </a:defRPr>
            </a:lvl5pPr>
            <a:lvl6pPr marL="2485934" indent="-225994" fontAlgn="base">
              <a:spcBef>
                <a:spcPct val="0"/>
              </a:spcBef>
              <a:spcAft>
                <a:spcPct val="0"/>
              </a:spcAft>
              <a:defRPr>
                <a:solidFill>
                  <a:schemeClr val="tx1"/>
                </a:solidFill>
                <a:latin typeface="Arial" pitchFamily="34" charset="0"/>
              </a:defRPr>
            </a:lvl6pPr>
            <a:lvl7pPr marL="2937921" indent="-225994" fontAlgn="base">
              <a:spcBef>
                <a:spcPct val="0"/>
              </a:spcBef>
              <a:spcAft>
                <a:spcPct val="0"/>
              </a:spcAft>
              <a:defRPr>
                <a:solidFill>
                  <a:schemeClr val="tx1"/>
                </a:solidFill>
                <a:latin typeface="Arial" pitchFamily="34" charset="0"/>
              </a:defRPr>
            </a:lvl7pPr>
            <a:lvl8pPr marL="3389909" indent="-225994" fontAlgn="base">
              <a:spcBef>
                <a:spcPct val="0"/>
              </a:spcBef>
              <a:spcAft>
                <a:spcPct val="0"/>
              </a:spcAft>
              <a:defRPr>
                <a:solidFill>
                  <a:schemeClr val="tx1"/>
                </a:solidFill>
                <a:latin typeface="Arial" pitchFamily="34" charset="0"/>
              </a:defRPr>
            </a:lvl8pPr>
            <a:lvl9pPr marL="3841897" indent="-225994" fontAlgn="base">
              <a:spcBef>
                <a:spcPct val="0"/>
              </a:spcBef>
              <a:spcAft>
                <a:spcPct val="0"/>
              </a:spcAft>
              <a:defRPr>
                <a:solidFill>
                  <a:schemeClr val="tx1"/>
                </a:solidFill>
                <a:latin typeface="Arial"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CB27B4A-0A26-4E3A-8DB3-0870FEAD81C7}" type="slidenum">
              <a:rPr kumimoji="0" lang="fr-FR" altLang="zh-CN" sz="1200" b="0" i="0" u="none" strike="noStrike" kern="1200" cap="none" spc="0" normalizeH="0" baseline="0" noProof="0">
                <a:ln>
                  <a:noFill/>
                </a:ln>
                <a:solidFill>
                  <a:prstClr val="black"/>
                </a:solidFill>
                <a:effectLst/>
                <a:uLnTx/>
                <a:uFillTx/>
                <a:latin typeface="Arial" pitchFamily="34" charset="0"/>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r-FR" altLang="zh-CN" sz="1200" b="0" i="0" u="none" strike="noStrike" kern="1200" cap="none" spc="0" normalizeH="0" baseline="0" noProof="0">
              <a:ln>
                <a:noFill/>
              </a:ln>
              <a:solidFill>
                <a:prstClr val="black"/>
              </a:solidFill>
              <a:effectLst/>
              <a:uLnTx/>
              <a:uFillTx/>
              <a:latin typeface="Arial" pitchFamily="34" charset="0"/>
              <a:ea typeface="等线" panose="02010600030101010101" pitchFamily="2" charset="-122"/>
              <a:cs typeface="+mn-cs"/>
            </a:endParaRPr>
          </a:p>
        </p:txBody>
      </p:sp>
    </p:spTree>
    <p:extLst>
      <p:ext uri="{BB962C8B-B14F-4D97-AF65-F5344CB8AC3E}">
        <p14:creationId xmlns:p14="http://schemas.microsoft.com/office/powerpoint/2010/main" val="7518018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b="0" kern="1200" dirty="0">
                <a:solidFill>
                  <a:schemeClr val="tx1"/>
                </a:solidFill>
                <a:latin typeface="微软雅黑" panose="020B0503020204020204" pitchFamily="34" charset="-122"/>
                <a:ea typeface="微软雅黑" panose="020B0503020204020204" pitchFamily="34" charset="-122"/>
                <a:cs typeface="+mn-cs"/>
              </a:rPr>
              <a:t>LUX-Lung 3 </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和 </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LUX-lung 6</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研究中，对于</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EGFR</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常见突变 </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 Del19</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和</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L858R</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吉泰瑞组与化疗组相比，独立评审的</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PFS</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均有显著性优势。两个试验中吉泰瑞组的</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PFS</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较化疗组都接近翻倍。且疾病进展的风险显著降低了</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53%</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和</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75%</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在</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Lux-Lung6</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研究中我们就注意到，在这个以中国及亚洲人群为主的研究中吉泰瑞降低的疾病进展风险更显著。</a:t>
            </a:r>
            <a:endParaRPr lang="en-US" altLang="zh-CN" b="0"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6DDF5-AD78-48A5-BFAD-DDCD5FBAC1D7}"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endParaRPr>
          </a:p>
        </p:txBody>
      </p:sp>
    </p:spTree>
    <p:extLst>
      <p:ext uri="{BB962C8B-B14F-4D97-AF65-F5344CB8AC3E}">
        <p14:creationId xmlns:p14="http://schemas.microsoft.com/office/powerpoint/2010/main" val="7392893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200" b="0" kern="1200" dirty="0">
                <a:solidFill>
                  <a:schemeClr val="tx1"/>
                </a:solidFill>
                <a:latin typeface="微软雅黑" panose="020B0503020204020204" pitchFamily="34" charset="-122"/>
                <a:ea typeface="微软雅黑" panose="020B0503020204020204" pitchFamily="34" charset="-122"/>
                <a:cs typeface="+mn-cs"/>
              </a:rPr>
              <a:t>LUX-Lung 3</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和</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6</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研究中，常见突变患者的合并分析结果显示，吉泰瑞组</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OS</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达</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27.3</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个月，显著优于化疗组的</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24.3</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个月，死亡风险显著降低了</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19%</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 吉泰瑞是首个在常见突变患者一线治疗中，相比化疗有显著</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OS</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获益的靶向药物。</a:t>
            </a:r>
            <a:endParaRPr lang="en-US" altLang="zh-CN" sz="1200" b="0" kern="1200" dirty="0">
              <a:solidFill>
                <a:schemeClr val="tx1"/>
              </a:solidFill>
              <a:latin typeface="微软雅黑" panose="020B0503020204020204" pitchFamily="34" charset="-122"/>
              <a:ea typeface="微软雅黑" panose="020B0503020204020204" pitchFamily="34" charset="-122"/>
              <a:cs typeface="+mn-cs"/>
            </a:endParaRPr>
          </a:p>
          <a:p>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6DDF5-AD78-48A5-BFAD-DDCD5FBAC1D7}"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endParaRPr>
          </a:p>
        </p:txBody>
      </p:sp>
    </p:spTree>
    <p:extLst>
      <p:ext uri="{BB962C8B-B14F-4D97-AF65-F5344CB8AC3E}">
        <p14:creationId xmlns:p14="http://schemas.microsoft.com/office/powerpoint/2010/main" val="1699083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在吉泰瑞之前的三个第一代</a:t>
            </a:r>
            <a:r>
              <a:rPr lang="en-US" altLang="zh-CN" dirty="0"/>
              <a:t>EGFR-TKI</a:t>
            </a:r>
            <a:r>
              <a:rPr lang="zh-CN" altLang="en-US" dirty="0"/>
              <a:t>的多个随机对照临床研究中，都没有做出</a:t>
            </a:r>
            <a:r>
              <a:rPr lang="en-US" altLang="zh-CN" dirty="0"/>
              <a:t>OS</a:t>
            </a:r>
            <a:r>
              <a:rPr lang="zh-CN" altLang="en-US" dirty="0"/>
              <a:t>的差异。</a:t>
            </a:r>
            <a:endParaRPr lang="en-US" altLang="zh-CN" dirty="0"/>
          </a:p>
          <a:p>
            <a:r>
              <a:rPr lang="zh-CN" altLang="en-US" dirty="0"/>
              <a:t>这是为什么呢？到底是一次巧合，还是背后有什么原理？稍后我将和各位老师分享。</a:t>
            </a:r>
            <a:endParaRPr lang="en-US" dirty="0"/>
          </a:p>
        </p:txBody>
      </p:sp>
      <p:sp>
        <p:nvSpPr>
          <p:cNvPr id="4" name="灯片编号占位符 3"/>
          <p:cNvSpPr>
            <a:spLocks noGrp="1"/>
          </p:cNvSpPr>
          <p:nvPr>
            <p:ph type="sldNum" sz="quarter" idx="10"/>
          </p:nvPr>
        </p:nvSpPr>
        <p:spPr/>
        <p:txBody>
          <a:bodyPr/>
          <a:lstStyle/>
          <a:p>
            <a:fld id="{2BCD9A83-F384-4C13-ADBB-31AF6A6057C2}" type="slidenum">
              <a:rPr lang="en-US" smtClean="0"/>
              <a:t>7</a:t>
            </a:fld>
            <a:endParaRPr lang="en-US"/>
          </a:p>
        </p:txBody>
      </p:sp>
    </p:spTree>
    <p:extLst>
      <p:ext uri="{BB962C8B-B14F-4D97-AF65-F5344CB8AC3E}">
        <p14:creationId xmlns:p14="http://schemas.microsoft.com/office/powerpoint/2010/main" val="25747381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自</a:t>
            </a:r>
            <a:r>
              <a:rPr lang="en-US" altLang="zh-CN" dirty="0"/>
              <a:t>2009</a:t>
            </a:r>
            <a:r>
              <a:rPr lang="zh-CN" altLang="en-US" dirty="0"/>
              <a:t>年</a:t>
            </a:r>
            <a:r>
              <a:rPr lang="en-US" altLang="zh-CN" dirty="0"/>
              <a:t>IPASS</a:t>
            </a:r>
            <a:r>
              <a:rPr lang="zh-CN" altLang="en-US" dirty="0"/>
              <a:t>研究之后，证实了</a:t>
            </a:r>
            <a:r>
              <a:rPr lang="en-US" altLang="zh-CN" dirty="0"/>
              <a:t>EGFR-TKI</a:t>
            </a:r>
            <a:r>
              <a:rPr lang="zh-CN" altLang="en-US" dirty="0"/>
              <a:t>类的药物治疗晚期非小细胞肺癌的原理，就是患者是否有相应的</a:t>
            </a:r>
            <a:r>
              <a:rPr lang="en-US" altLang="zh-CN" dirty="0"/>
              <a:t>EGFR</a:t>
            </a:r>
            <a:r>
              <a:rPr lang="zh-CN" altLang="en-US" dirty="0"/>
              <a:t>基因突变。同时，我们也发现</a:t>
            </a:r>
            <a:r>
              <a:rPr lang="en-US" altLang="zh-CN" dirty="0"/>
              <a:t>EGFR-TKI</a:t>
            </a:r>
            <a:r>
              <a:rPr lang="zh-CN" altLang="en-US" dirty="0"/>
              <a:t>是送给亚洲非小细胞肺癌患者的礼物，两倍于高加索人群的</a:t>
            </a:r>
            <a:r>
              <a:rPr lang="en-US" altLang="zh-CN" dirty="0"/>
              <a:t>EGFR</a:t>
            </a:r>
            <a:r>
              <a:rPr lang="zh-CN" altLang="en-US" dirty="0"/>
              <a:t>突变率，让广大的亚洲晚期肺癌患者的总生存期从</a:t>
            </a:r>
            <a:r>
              <a:rPr lang="en-US" altLang="zh-CN" dirty="0"/>
              <a:t>8-9</a:t>
            </a:r>
            <a:r>
              <a:rPr lang="zh-CN" altLang="en-US" dirty="0"/>
              <a:t>个月，延长到了</a:t>
            </a:r>
            <a:r>
              <a:rPr lang="en-US" altLang="zh-CN" dirty="0"/>
              <a:t>30</a:t>
            </a:r>
            <a:r>
              <a:rPr lang="zh-CN" altLang="en-US" dirty="0"/>
              <a:t>多个月。陆续多款的不同特性的</a:t>
            </a:r>
            <a:r>
              <a:rPr lang="en-US" altLang="zh-CN" dirty="0"/>
              <a:t>EGFR-TKI</a:t>
            </a:r>
            <a:r>
              <a:rPr lang="zh-CN" altLang="en-US" dirty="0"/>
              <a:t>的问世，让患者有了多次选择</a:t>
            </a:r>
            <a:r>
              <a:rPr lang="en-US" altLang="zh-CN" dirty="0"/>
              <a:t>TKI</a:t>
            </a:r>
            <a:r>
              <a:rPr lang="zh-CN" altLang="en-US" dirty="0"/>
              <a:t>药物的可能，总生存近一步延长。如何帮助患者做好排兵布阵，获得最大的生存获益成了临床老师的新问题。那么今天小</a:t>
            </a:r>
            <a:r>
              <a:rPr lang="en-US" altLang="zh-CN" dirty="0"/>
              <a:t>X</a:t>
            </a:r>
            <a:r>
              <a:rPr lang="zh-CN" altLang="en-US" dirty="0"/>
              <a:t>就从以下几个方面向给位老师做一个介绍：</a:t>
            </a:r>
            <a:endParaRPr lang="en-US" altLang="zh-CN" dirty="0"/>
          </a:p>
          <a:p>
            <a:endParaRPr lang="en-US" dirty="0"/>
          </a:p>
          <a:p>
            <a:r>
              <a:rPr lang="zh-CN" altLang="en-US" dirty="0"/>
              <a:t>首先，吉泰瑞在上市之初我们就观察到了其在</a:t>
            </a:r>
            <a:r>
              <a:rPr lang="en-US" altLang="zh-CN" dirty="0"/>
              <a:t>EGFR</a:t>
            </a:r>
            <a:r>
              <a:rPr lang="zh-CN" altLang="en-US" dirty="0"/>
              <a:t>常见突变患者总生存上的获益</a:t>
            </a:r>
            <a:endParaRPr lang="en-US" altLang="zh-CN" dirty="0"/>
          </a:p>
          <a:p>
            <a:r>
              <a:rPr lang="zh-CN" altLang="en-US" dirty="0"/>
              <a:t>接着在于第一代</a:t>
            </a:r>
            <a:r>
              <a:rPr lang="en-US" altLang="zh-CN" dirty="0"/>
              <a:t>EGFR-TKI</a:t>
            </a:r>
            <a:r>
              <a:rPr lang="zh-CN" altLang="en-US" dirty="0"/>
              <a:t>的头对头临床研究中也证实了其的获益。</a:t>
            </a:r>
            <a:endParaRPr lang="en-US" altLang="zh-CN" dirty="0"/>
          </a:p>
          <a:p>
            <a:r>
              <a:rPr lang="zh-CN" altLang="en-US" dirty="0"/>
              <a:t>根据最新的一些研究结果显示，无论是临床研究结果，还是转化型研究对于临床研究结果的阐释，都显示</a:t>
            </a:r>
            <a:r>
              <a:rPr lang="en-US" altLang="zh-CN" dirty="0"/>
              <a:t>EGFR</a:t>
            </a:r>
            <a:r>
              <a:rPr lang="zh-CN" altLang="en-US" dirty="0"/>
              <a:t>突变的患者一线选择吉泰瑞，尤其是亚裔患者，可以最大化生存获益。</a:t>
            </a:r>
            <a:endParaRPr lang="en-US" altLang="zh-CN" dirty="0"/>
          </a:p>
          <a:p>
            <a:r>
              <a:rPr lang="zh-CN" altLang="en-US" dirty="0"/>
              <a:t>最后我也会和老师们算一算经济账，在中国目前的医保环境下也证实吉泰瑞用在一线是疗效和价格的双重选择。</a:t>
            </a:r>
            <a:endParaRPr lang="en-US" dirty="0"/>
          </a:p>
        </p:txBody>
      </p:sp>
      <p:sp>
        <p:nvSpPr>
          <p:cNvPr id="4" name="灯片编号占位符 3"/>
          <p:cNvSpPr>
            <a:spLocks noGrp="1"/>
          </p:cNvSpPr>
          <p:nvPr>
            <p:ph type="sldNum" sz="quarter" idx="10"/>
          </p:nvPr>
        </p:nvSpPr>
        <p:spPr/>
        <p:txBody>
          <a:bodyPr/>
          <a:lstStyle/>
          <a:p>
            <a:fld id="{2BCD9A83-F384-4C13-ADBB-31AF6A6057C2}" type="slidenum">
              <a:rPr lang="en-US" smtClean="0"/>
              <a:t>8</a:t>
            </a:fld>
            <a:endParaRPr lang="en-US"/>
          </a:p>
        </p:txBody>
      </p:sp>
    </p:spTree>
    <p:extLst>
      <p:ext uri="{BB962C8B-B14F-4D97-AF65-F5344CB8AC3E}">
        <p14:creationId xmlns:p14="http://schemas.microsoft.com/office/powerpoint/2010/main" val="33946541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fontAlgn="auto">
              <a:spcBef>
                <a:spcPts val="0"/>
              </a:spcBef>
              <a:spcAft>
                <a:spcPts val="0"/>
              </a:spcAft>
              <a:defRPr/>
            </a:pPr>
            <a:r>
              <a:rPr lang="zh-CN" altLang="en-US" sz="1200" b="0" kern="1200" dirty="0">
                <a:solidFill>
                  <a:schemeClr val="tx1"/>
                </a:solidFill>
                <a:latin typeface="微软雅黑" panose="020B0503020204020204" pitchFamily="34" charset="-122"/>
                <a:ea typeface="微软雅黑" panose="020B0503020204020204" pitchFamily="34" charset="-122"/>
                <a:cs typeface="+mn-cs"/>
              </a:rPr>
              <a:t>接下来看一下</a:t>
            </a:r>
            <a:r>
              <a:rPr lang="en-GB" altLang="zh-CN" sz="1200" b="0" kern="1200" dirty="0">
                <a:solidFill>
                  <a:schemeClr val="tx1"/>
                </a:solidFill>
                <a:latin typeface="微软雅黑" panose="020B0503020204020204" pitchFamily="34" charset="-122"/>
                <a:ea typeface="微软雅黑" panose="020B0503020204020204" pitchFamily="34" charset="-122"/>
                <a:cs typeface="+mn-cs"/>
              </a:rPr>
              <a:t>LUX-Lung 7</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研究，这是首个在</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EGFR</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常见突变患者中头对头比较两个</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TKI </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一线治疗的全球性临床研究。纳入的患者为初治的</a:t>
            </a:r>
            <a:r>
              <a:rPr lang="en-US" altLang="zh-CN" sz="1200" b="0" kern="1200" dirty="0" err="1">
                <a:solidFill>
                  <a:schemeClr val="tx1"/>
                </a:solidFill>
                <a:latin typeface="微软雅黑" panose="020B0503020204020204" pitchFamily="34" charset="-122"/>
                <a:ea typeface="微软雅黑" panose="020B0503020204020204" pitchFamily="34" charset="-122"/>
                <a:cs typeface="+mn-cs"/>
              </a:rPr>
              <a:t>IIIb</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或</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IV</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期肺腺癌患者，肿瘤组织表达</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EGFR</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常见突变，体能状态评分为</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0-1</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分。</a:t>
            </a:r>
            <a:endParaRPr lang="en-US" altLang="zh-CN" sz="1200" b="0" kern="1200" dirty="0">
              <a:solidFill>
                <a:schemeClr val="tx1"/>
              </a:solidFill>
              <a:latin typeface="微软雅黑" panose="020B0503020204020204" pitchFamily="34" charset="-122"/>
              <a:ea typeface="微软雅黑" panose="020B0503020204020204" pitchFamily="34" charset="-122"/>
              <a:cs typeface="+mn-cs"/>
            </a:endParaRPr>
          </a:p>
          <a:p>
            <a:pPr fontAlgn="auto">
              <a:spcBef>
                <a:spcPts val="0"/>
              </a:spcBef>
              <a:spcAft>
                <a:spcPts val="0"/>
              </a:spcAft>
              <a:defRPr/>
            </a:pPr>
            <a:r>
              <a:rPr lang="zh-CN" altLang="en-US" sz="1200" b="0" kern="1200" dirty="0">
                <a:solidFill>
                  <a:schemeClr val="tx1"/>
                </a:solidFill>
                <a:latin typeface="微软雅黑" panose="020B0503020204020204" pitchFamily="34" charset="-122"/>
                <a:ea typeface="微软雅黑" panose="020B0503020204020204" pitchFamily="34" charset="-122"/>
                <a:cs typeface="+mn-cs"/>
              </a:rPr>
              <a:t>这</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319</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例患者随机</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1</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1</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接受吉泰瑞治疗或吉非替尼治疗。</a:t>
            </a:r>
            <a:endParaRPr lang="en-US" altLang="zh-CN" sz="1200" b="0" kern="1200" dirty="0">
              <a:solidFill>
                <a:schemeClr val="tx1"/>
              </a:solidFill>
              <a:latin typeface="微软雅黑" panose="020B0503020204020204" pitchFamily="34" charset="-122"/>
              <a:ea typeface="微软雅黑" panose="020B0503020204020204" pitchFamily="34" charset="-122"/>
              <a:cs typeface="+mn-cs"/>
            </a:endParaRPr>
          </a:p>
          <a:p>
            <a:pPr fontAlgn="auto">
              <a:spcBef>
                <a:spcPts val="0"/>
              </a:spcBef>
              <a:spcAft>
                <a:spcPts val="0"/>
              </a:spcAft>
              <a:defRPr/>
            </a:pPr>
            <a:r>
              <a:rPr lang="zh-CN" altLang="en-US" sz="1200" b="0" kern="1200" dirty="0">
                <a:solidFill>
                  <a:schemeClr val="tx1"/>
                </a:solidFill>
                <a:latin typeface="微软雅黑" panose="020B0503020204020204" pitchFamily="34" charset="-122"/>
                <a:ea typeface="微软雅黑" panose="020B0503020204020204" pitchFamily="34" charset="-122"/>
                <a:cs typeface="+mn-cs"/>
              </a:rPr>
              <a:t>其主要研究终点为独立审核的无疾病进展生存期（</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PFS</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治疗失败时间（</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TTF</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和总生存期（</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OS</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次要研究终点为客观缓解率（</a:t>
            </a:r>
            <a:r>
              <a:rPr lang="en-US" altLang="zh-CN" sz="1200" b="0" kern="1200" dirty="0">
                <a:solidFill>
                  <a:schemeClr val="tx1"/>
                </a:solidFill>
                <a:latin typeface="微软雅黑" panose="020B0503020204020204" pitchFamily="34" charset="-122"/>
                <a:ea typeface="微软雅黑" panose="020B0503020204020204" pitchFamily="34" charset="-122"/>
                <a:cs typeface="+mn-cs"/>
              </a:rPr>
              <a:t>ORR</a:t>
            </a:r>
            <a:r>
              <a:rPr lang="zh-CN" altLang="en-US" sz="1200" b="0" kern="1200" dirty="0">
                <a:solidFill>
                  <a:schemeClr val="tx1"/>
                </a:solidFill>
                <a:latin typeface="微软雅黑" panose="020B0503020204020204" pitchFamily="34" charset="-122"/>
                <a:ea typeface="微软雅黑" panose="020B0503020204020204" pitchFamily="34" charset="-122"/>
                <a:cs typeface="+mn-cs"/>
              </a:rPr>
              <a:t>），至缓解的时间和缓解持续时间，疾病控制的持续时间，肿瘤缩小体积，生活质量及安全性。</a:t>
            </a:r>
            <a:endParaRPr lang="en-GB" altLang="zh-CN" sz="1200" b="0" kern="1200" dirty="0">
              <a:solidFill>
                <a:schemeClr val="tx1"/>
              </a:solidFill>
              <a:latin typeface="微软雅黑" panose="020B0503020204020204" pitchFamily="34" charset="-122"/>
              <a:ea typeface="微软雅黑" panose="020B0503020204020204" pitchFamily="34" charset="-122"/>
              <a:cs typeface="+mn-cs"/>
            </a:endParaRPr>
          </a:p>
          <a:p>
            <a:endParaRPr lang="en-GB" altLang="zh-CN" b="0"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F1ECA3-523B-4130-944C-FA0EFE2F22B2}"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endParaRPr>
          </a:p>
        </p:txBody>
      </p:sp>
    </p:spTree>
    <p:extLst>
      <p:ext uri="{BB962C8B-B14F-4D97-AF65-F5344CB8AC3E}">
        <p14:creationId xmlns:p14="http://schemas.microsoft.com/office/powerpoint/2010/main" val="190843394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pic>
        <p:nvPicPr>
          <p:cNvPr id="4" name="Picture 5" descr="D:\Dossier en cours\Publicis life brand\Afatinib\Photoshop\Font titre s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Forme libre 10"/>
          <p:cNvSpPr/>
          <p:nvPr/>
        </p:nvSpPr>
        <p:spPr>
          <a:xfrm>
            <a:off x="-4762" y="1135063"/>
            <a:ext cx="9148763" cy="482600"/>
          </a:xfrm>
          <a:custGeom>
            <a:avLst/>
            <a:gdLst>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16607 h 500184"/>
              <a:gd name="connsiteX1" fmla="*/ 1081454 w 9152792"/>
              <a:gd name="connsiteY1" fmla="*/ 16607 h 500184"/>
              <a:gd name="connsiteX2" fmla="*/ 0 w 9152792"/>
              <a:gd name="connsiteY2" fmla="*/ 500184 h 500184"/>
              <a:gd name="connsiteX0" fmla="*/ 9152792 w 9152792"/>
              <a:gd name="connsiteY0" fmla="*/ 12701 h 496278"/>
              <a:gd name="connsiteX1" fmla="*/ 1081454 w 9152792"/>
              <a:gd name="connsiteY1" fmla="*/ 12701 h 496278"/>
              <a:gd name="connsiteX2" fmla="*/ 0 w 9152792"/>
              <a:gd name="connsiteY2" fmla="*/ 496278 h 496278"/>
              <a:gd name="connsiteX0" fmla="*/ 9152792 w 9152792"/>
              <a:gd name="connsiteY0" fmla="*/ 11655 h 495232"/>
              <a:gd name="connsiteX1" fmla="*/ 1081454 w 9152792"/>
              <a:gd name="connsiteY1" fmla="*/ 11655 h 495232"/>
              <a:gd name="connsiteX2" fmla="*/ 0 w 9152792"/>
              <a:gd name="connsiteY2" fmla="*/ 495232 h 495232"/>
              <a:gd name="connsiteX0" fmla="*/ 9152792 w 9152792"/>
              <a:gd name="connsiteY0" fmla="*/ 16945 h 500522"/>
              <a:gd name="connsiteX1" fmla="*/ 1081454 w 9152792"/>
              <a:gd name="connsiteY1" fmla="*/ 16945 h 500522"/>
              <a:gd name="connsiteX2" fmla="*/ 0 w 9152792"/>
              <a:gd name="connsiteY2" fmla="*/ 500522 h 500522"/>
              <a:gd name="connsiteX0" fmla="*/ 9152792 w 9152792"/>
              <a:gd name="connsiteY0" fmla="*/ 10597 h 494174"/>
              <a:gd name="connsiteX1" fmla="*/ 1081454 w 9152792"/>
              <a:gd name="connsiteY1" fmla="*/ 10597 h 494174"/>
              <a:gd name="connsiteX2" fmla="*/ 0 w 9152792"/>
              <a:gd name="connsiteY2" fmla="*/ 494174 h 494174"/>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784 h 484361"/>
              <a:gd name="connsiteX1" fmla="*/ 1081454 w 9152792"/>
              <a:gd name="connsiteY1" fmla="*/ 784 h 484361"/>
              <a:gd name="connsiteX2" fmla="*/ 0 w 9152792"/>
              <a:gd name="connsiteY2" fmla="*/ 484361 h 484361"/>
              <a:gd name="connsiteX0" fmla="*/ 9152792 w 9152792"/>
              <a:gd name="connsiteY0" fmla="*/ 453 h 484030"/>
              <a:gd name="connsiteX1" fmla="*/ 1081454 w 9152792"/>
              <a:gd name="connsiteY1" fmla="*/ 453 h 484030"/>
              <a:gd name="connsiteX2" fmla="*/ 0 w 9152792"/>
              <a:gd name="connsiteY2" fmla="*/ 484030 h 484030"/>
              <a:gd name="connsiteX0" fmla="*/ 9152792 w 9152792"/>
              <a:gd name="connsiteY0" fmla="*/ 0 h 483577"/>
              <a:gd name="connsiteX1" fmla="*/ 871904 w 9152792"/>
              <a:gd name="connsiteY1" fmla="*/ 4762 h 483577"/>
              <a:gd name="connsiteX2" fmla="*/ 0 w 9152792"/>
              <a:gd name="connsiteY2" fmla="*/ 483577 h 483577"/>
              <a:gd name="connsiteX0" fmla="*/ 9153535 w 9153535"/>
              <a:gd name="connsiteY0" fmla="*/ 0 h 483577"/>
              <a:gd name="connsiteX1" fmla="*/ 872647 w 9153535"/>
              <a:gd name="connsiteY1" fmla="*/ 4762 h 483577"/>
              <a:gd name="connsiteX2" fmla="*/ 743 w 9153535"/>
              <a:gd name="connsiteY2" fmla="*/ 483577 h 483577"/>
              <a:gd name="connsiteX0" fmla="*/ 9152792 w 9152792"/>
              <a:gd name="connsiteY0" fmla="*/ 0 h 483577"/>
              <a:gd name="connsiteX1" fmla="*/ 871904 w 9152792"/>
              <a:gd name="connsiteY1" fmla="*/ 4762 h 483577"/>
              <a:gd name="connsiteX2" fmla="*/ 0 w 9152792"/>
              <a:gd name="connsiteY2" fmla="*/ 483577 h 483577"/>
              <a:gd name="connsiteX0" fmla="*/ 9152792 w 9152792"/>
              <a:gd name="connsiteY0" fmla="*/ 0 h 483577"/>
              <a:gd name="connsiteX1" fmla="*/ 871904 w 9152792"/>
              <a:gd name="connsiteY1" fmla="*/ 4762 h 483577"/>
              <a:gd name="connsiteX2" fmla="*/ 0 w 9152792"/>
              <a:gd name="connsiteY2" fmla="*/ 483577 h 483577"/>
              <a:gd name="connsiteX0" fmla="*/ 9152792 w 9152792"/>
              <a:gd name="connsiteY0" fmla="*/ 0 h 483577"/>
              <a:gd name="connsiteX1" fmla="*/ 733791 w 9152792"/>
              <a:gd name="connsiteY1" fmla="*/ 2381 h 483577"/>
              <a:gd name="connsiteX2" fmla="*/ 0 w 9152792"/>
              <a:gd name="connsiteY2" fmla="*/ 483577 h 483577"/>
              <a:gd name="connsiteX0" fmla="*/ 9152792 w 9152792"/>
              <a:gd name="connsiteY0" fmla="*/ 0 h 483577"/>
              <a:gd name="connsiteX1" fmla="*/ 733791 w 9152792"/>
              <a:gd name="connsiteY1" fmla="*/ 2381 h 483577"/>
              <a:gd name="connsiteX2" fmla="*/ 0 w 9152792"/>
              <a:gd name="connsiteY2" fmla="*/ 483577 h 483577"/>
              <a:gd name="connsiteX0" fmla="*/ 9152792 w 9152792"/>
              <a:gd name="connsiteY0" fmla="*/ 164 h 483741"/>
              <a:gd name="connsiteX1" fmla="*/ 693310 w 9152792"/>
              <a:gd name="connsiteY1" fmla="*/ 164 h 483741"/>
              <a:gd name="connsiteX2" fmla="*/ 0 w 9152792"/>
              <a:gd name="connsiteY2" fmla="*/ 483741 h 483741"/>
              <a:gd name="connsiteX0" fmla="*/ 9152792 w 9152792"/>
              <a:gd name="connsiteY0" fmla="*/ 9 h 483586"/>
              <a:gd name="connsiteX1" fmla="*/ 693310 w 9152792"/>
              <a:gd name="connsiteY1" fmla="*/ 9 h 483586"/>
              <a:gd name="connsiteX2" fmla="*/ 0 w 9152792"/>
              <a:gd name="connsiteY2" fmla="*/ 483586 h 483586"/>
              <a:gd name="connsiteX0" fmla="*/ 9152792 w 9152792"/>
              <a:gd name="connsiteY0" fmla="*/ 0 h 483577"/>
              <a:gd name="connsiteX1" fmla="*/ 693310 w 9152792"/>
              <a:gd name="connsiteY1" fmla="*/ 0 h 483577"/>
              <a:gd name="connsiteX2" fmla="*/ 0 w 9152792"/>
              <a:gd name="connsiteY2" fmla="*/ 483577 h 483577"/>
              <a:gd name="connsiteX0" fmla="*/ 9152793 w 9152793"/>
              <a:gd name="connsiteY0" fmla="*/ 0 h 483577"/>
              <a:gd name="connsiteX1" fmla="*/ 693311 w 9152793"/>
              <a:gd name="connsiteY1" fmla="*/ 0 h 483577"/>
              <a:gd name="connsiteX2" fmla="*/ 1 w 9152793"/>
              <a:gd name="connsiteY2" fmla="*/ 483577 h 483577"/>
              <a:gd name="connsiteX0" fmla="*/ 9152794 w 9152794"/>
              <a:gd name="connsiteY0" fmla="*/ 0 h 483577"/>
              <a:gd name="connsiteX1" fmla="*/ 693312 w 9152794"/>
              <a:gd name="connsiteY1" fmla="*/ 0 h 483577"/>
              <a:gd name="connsiteX2" fmla="*/ 2 w 9152794"/>
              <a:gd name="connsiteY2" fmla="*/ 483577 h 483577"/>
              <a:gd name="connsiteX0" fmla="*/ 9152794 w 9152794"/>
              <a:gd name="connsiteY0" fmla="*/ 0 h 483577"/>
              <a:gd name="connsiteX1" fmla="*/ 693312 w 9152794"/>
              <a:gd name="connsiteY1" fmla="*/ 0 h 483577"/>
              <a:gd name="connsiteX2" fmla="*/ 2 w 9152794"/>
              <a:gd name="connsiteY2" fmla="*/ 483577 h 483577"/>
            </a:gdLst>
            <a:ahLst/>
            <a:cxnLst>
              <a:cxn ang="0">
                <a:pos x="connsiteX0" y="connsiteY0"/>
              </a:cxn>
              <a:cxn ang="0">
                <a:pos x="connsiteX1" y="connsiteY1"/>
              </a:cxn>
              <a:cxn ang="0">
                <a:pos x="connsiteX2" y="connsiteY2"/>
              </a:cxn>
            </a:cxnLst>
            <a:rect l="l" t="t" r="r" b="b"/>
            <a:pathLst>
              <a:path w="9152794" h="483577">
                <a:moveTo>
                  <a:pt x="9152794" y="0"/>
                </a:moveTo>
                <a:lnTo>
                  <a:pt x="693312" y="0"/>
                </a:lnTo>
                <a:cubicBezTo>
                  <a:pt x="135314" y="292"/>
                  <a:pt x="-546" y="422215"/>
                  <a:pt x="2" y="483577"/>
                </a:cubicBezTo>
              </a:path>
            </a:pathLst>
          </a:custGeom>
          <a:noFill/>
          <a:ln w="25400">
            <a:solidFill>
              <a:srgbClr val="C5C4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800" dirty="0">
              <a:solidFill>
                <a:prstClr val="white"/>
              </a:solidFill>
            </a:endParaRPr>
          </a:p>
        </p:txBody>
      </p:sp>
      <p:sp>
        <p:nvSpPr>
          <p:cNvPr id="6" name="Forme libre 11"/>
          <p:cNvSpPr/>
          <p:nvPr/>
        </p:nvSpPr>
        <p:spPr>
          <a:xfrm>
            <a:off x="-4763" y="3394075"/>
            <a:ext cx="7640638" cy="711200"/>
          </a:xfrm>
          <a:custGeom>
            <a:avLst/>
            <a:gdLst>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16607 h 500184"/>
              <a:gd name="connsiteX1" fmla="*/ 1081454 w 9152792"/>
              <a:gd name="connsiteY1" fmla="*/ 16607 h 500184"/>
              <a:gd name="connsiteX2" fmla="*/ 0 w 9152792"/>
              <a:gd name="connsiteY2" fmla="*/ 500184 h 500184"/>
              <a:gd name="connsiteX0" fmla="*/ 9152792 w 9152792"/>
              <a:gd name="connsiteY0" fmla="*/ 12701 h 496278"/>
              <a:gd name="connsiteX1" fmla="*/ 1081454 w 9152792"/>
              <a:gd name="connsiteY1" fmla="*/ 12701 h 496278"/>
              <a:gd name="connsiteX2" fmla="*/ 0 w 9152792"/>
              <a:gd name="connsiteY2" fmla="*/ 496278 h 496278"/>
              <a:gd name="connsiteX0" fmla="*/ 9152792 w 9152792"/>
              <a:gd name="connsiteY0" fmla="*/ 11655 h 495232"/>
              <a:gd name="connsiteX1" fmla="*/ 1081454 w 9152792"/>
              <a:gd name="connsiteY1" fmla="*/ 11655 h 495232"/>
              <a:gd name="connsiteX2" fmla="*/ 0 w 9152792"/>
              <a:gd name="connsiteY2" fmla="*/ 495232 h 495232"/>
              <a:gd name="connsiteX0" fmla="*/ 9152792 w 9152792"/>
              <a:gd name="connsiteY0" fmla="*/ 16945 h 500522"/>
              <a:gd name="connsiteX1" fmla="*/ 1081454 w 9152792"/>
              <a:gd name="connsiteY1" fmla="*/ 16945 h 500522"/>
              <a:gd name="connsiteX2" fmla="*/ 0 w 9152792"/>
              <a:gd name="connsiteY2" fmla="*/ 500522 h 500522"/>
              <a:gd name="connsiteX0" fmla="*/ 9152792 w 9152792"/>
              <a:gd name="connsiteY0" fmla="*/ 10597 h 494174"/>
              <a:gd name="connsiteX1" fmla="*/ 1081454 w 9152792"/>
              <a:gd name="connsiteY1" fmla="*/ 10597 h 494174"/>
              <a:gd name="connsiteX2" fmla="*/ 0 w 9152792"/>
              <a:gd name="connsiteY2" fmla="*/ 494174 h 494174"/>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784 h 484361"/>
              <a:gd name="connsiteX1" fmla="*/ 1081454 w 9152792"/>
              <a:gd name="connsiteY1" fmla="*/ 784 h 484361"/>
              <a:gd name="connsiteX2" fmla="*/ 0 w 9152792"/>
              <a:gd name="connsiteY2" fmla="*/ 484361 h 484361"/>
              <a:gd name="connsiteX0" fmla="*/ 9152792 w 9152792"/>
              <a:gd name="connsiteY0" fmla="*/ 453 h 484030"/>
              <a:gd name="connsiteX1" fmla="*/ 1081454 w 9152792"/>
              <a:gd name="connsiteY1" fmla="*/ 453 h 484030"/>
              <a:gd name="connsiteX2" fmla="*/ 0 w 9152792"/>
              <a:gd name="connsiteY2" fmla="*/ 484030 h 484030"/>
              <a:gd name="connsiteX0" fmla="*/ 9152792 w 9152792"/>
              <a:gd name="connsiteY0" fmla="*/ 0 h 483577"/>
              <a:gd name="connsiteX1" fmla="*/ 871904 w 9152792"/>
              <a:gd name="connsiteY1" fmla="*/ 4762 h 483577"/>
              <a:gd name="connsiteX2" fmla="*/ 0 w 9152792"/>
              <a:gd name="connsiteY2" fmla="*/ 483577 h 483577"/>
              <a:gd name="connsiteX0" fmla="*/ 9153535 w 9153535"/>
              <a:gd name="connsiteY0" fmla="*/ 0 h 483577"/>
              <a:gd name="connsiteX1" fmla="*/ 872647 w 9153535"/>
              <a:gd name="connsiteY1" fmla="*/ 4762 h 483577"/>
              <a:gd name="connsiteX2" fmla="*/ 743 w 9153535"/>
              <a:gd name="connsiteY2" fmla="*/ 483577 h 483577"/>
              <a:gd name="connsiteX0" fmla="*/ 9152792 w 9152792"/>
              <a:gd name="connsiteY0" fmla="*/ 0 h 483577"/>
              <a:gd name="connsiteX1" fmla="*/ 871904 w 9152792"/>
              <a:gd name="connsiteY1" fmla="*/ 4762 h 483577"/>
              <a:gd name="connsiteX2" fmla="*/ 0 w 9152792"/>
              <a:gd name="connsiteY2" fmla="*/ 483577 h 483577"/>
              <a:gd name="connsiteX0" fmla="*/ 9152792 w 9152792"/>
              <a:gd name="connsiteY0" fmla="*/ 0 h 483577"/>
              <a:gd name="connsiteX1" fmla="*/ 871904 w 9152792"/>
              <a:gd name="connsiteY1" fmla="*/ 4762 h 483577"/>
              <a:gd name="connsiteX2" fmla="*/ 0 w 9152792"/>
              <a:gd name="connsiteY2" fmla="*/ 483577 h 483577"/>
              <a:gd name="connsiteX0" fmla="*/ 9152792 w 9152792"/>
              <a:gd name="connsiteY0" fmla="*/ 0 h 483577"/>
              <a:gd name="connsiteX1" fmla="*/ 733791 w 9152792"/>
              <a:gd name="connsiteY1" fmla="*/ 2381 h 483577"/>
              <a:gd name="connsiteX2" fmla="*/ 0 w 9152792"/>
              <a:gd name="connsiteY2" fmla="*/ 483577 h 483577"/>
              <a:gd name="connsiteX0" fmla="*/ 9152792 w 9152792"/>
              <a:gd name="connsiteY0" fmla="*/ 0 h 483577"/>
              <a:gd name="connsiteX1" fmla="*/ 733791 w 9152792"/>
              <a:gd name="connsiteY1" fmla="*/ 2381 h 483577"/>
              <a:gd name="connsiteX2" fmla="*/ 0 w 9152792"/>
              <a:gd name="connsiteY2" fmla="*/ 483577 h 483577"/>
              <a:gd name="connsiteX0" fmla="*/ 9152792 w 9152792"/>
              <a:gd name="connsiteY0" fmla="*/ 164 h 483741"/>
              <a:gd name="connsiteX1" fmla="*/ 693310 w 9152792"/>
              <a:gd name="connsiteY1" fmla="*/ 164 h 483741"/>
              <a:gd name="connsiteX2" fmla="*/ 0 w 9152792"/>
              <a:gd name="connsiteY2" fmla="*/ 483741 h 483741"/>
              <a:gd name="connsiteX0" fmla="*/ 9152792 w 9152792"/>
              <a:gd name="connsiteY0" fmla="*/ 9 h 483586"/>
              <a:gd name="connsiteX1" fmla="*/ 693310 w 9152792"/>
              <a:gd name="connsiteY1" fmla="*/ 9 h 483586"/>
              <a:gd name="connsiteX2" fmla="*/ 0 w 9152792"/>
              <a:gd name="connsiteY2" fmla="*/ 483586 h 483586"/>
              <a:gd name="connsiteX0" fmla="*/ 9152792 w 9152792"/>
              <a:gd name="connsiteY0" fmla="*/ 0 h 483577"/>
              <a:gd name="connsiteX1" fmla="*/ 693310 w 9152792"/>
              <a:gd name="connsiteY1" fmla="*/ 0 h 483577"/>
              <a:gd name="connsiteX2" fmla="*/ 0 w 9152792"/>
              <a:gd name="connsiteY2" fmla="*/ 483577 h 483577"/>
              <a:gd name="connsiteX0" fmla="*/ 9152793 w 9152793"/>
              <a:gd name="connsiteY0" fmla="*/ 0 h 483577"/>
              <a:gd name="connsiteX1" fmla="*/ 693311 w 9152793"/>
              <a:gd name="connsiteY1" fmla="*/ 0 h 483577"/>
              <a:gd name="connsiteX2" fmla="*/ 1 w 9152793"/>
              <a:gd name="connsiteY2" fmla="*/ 483577 h 483577"/>
              <a:gd name="connsiteX0" fmla="*/ 9152794 w 9152794"/>
              <a:gd name="connsiteY0" fmla="*/ 0 h 483577"/>
              <a:gd name="connsiteX1" fmla="*/ 693312 w 9152794"/>
              <a:gd name="connsiteY1" fmla="*/ 0 h 483577"/>
              <a:gd name="connsiteX2" fmla="*/ 2 w 9152794"/>
              <a:gd name="connsiteY2" fmla="*/ 483577 h 483577"/>
              <a:gd name="connsiteX0" fmla="*/ 9152794 w 9152794"/>
              <a:gd name="connsiteY0" fmla="*/ 0 h 483577"/>
              <a:gd name="connsiteX1" fmla="*/ 693312 w 9152794"/>
              <a:gd name="connsiteY1" fmla="*/ 0 h 483577"/>
              <a:gd name="connsiteX2" fmla="*/ 2 w 9152794"/>
              <a:gd name="connsiteY2" fmla="*/ 483577 h 483577"/>
              <a:gd name="connsiteX0" fmla="*/ 9152793 w 9152793"/>
              <a:gd name="connsiteY0" fmla="*/ 0 h 483577"/>
              <a:gd name="connsiteX1" fmla="*/ 1194093 w 9152793"/>
              <a:gd name="connsiteY1" fmla="*/ 0 h 483577"/>
              <a:gd name="connsiteX2" fmla="*/ 1 w 9152793"/>
              <a:gd name="connsiteY2" fmla="*/ 483577 h 483577"/>
              <a:gd name="connsiteX0" fmla="*/ 9152793 w 9152793"/>
              <a:gd name="connsiteY0" fmla="*/ 6 h 483583"/>
              <a:gd name="connsiteX1" fmla="*/ 1194093 w 9152793"/>
              <a:gd name="connsiteY1" fmla="*/ 6 h 483583"/>
              <a:gd name="connsiteX2" fmla="*/ 1 w 9152793"/>
              <a:gd name="connsiteY2" fmla="*/ 483583 h 483583"/>
            </a:gdLst>
            <a:ahLst/>
            <a:cxnLst>
              <a:cxn ang="0">
                <a:pos x="connsiteX0" y="connsiteY0"/>
              </a:cxn>
              <a:cxn ang="0">
                <a:pos x="connsiteX1" y="connsiteY1"/>
              </a:cxn>
              <a:cxn ang="0">
                <a:pos x="connsiteX2" y="connsiteY2"/>
              </a:cxn>
            </a:cxnLst>
            <a:rect l="l" t="t" r="r" b="b"/>
            <a:pathLst>
              <a:path w="9152793" h="483583">
                <a:moveTo>
                  <a:pt x="9152793" y="6"/>
                </a:moveTo>
                <a:lnTo>
                  <a:pt x="1194093" y="6"/>
                </a:lnTo>
                <a:cubicBezTo>
                  <a:pt x="307457" y="-1924"/>
                  <a:pt x="-547" y="422221"/>
                  <a:pt x="1" y="483583"/>
                </a:cubicBezTo>
              </a:path>
            </a:pathLst>
          </a:custGeom>
          <a:noFill/>
          <a:ln w="25400">
            <a:solidFill>
              <a:srgbClr val="C5C4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800" dirty="0">
              <a:solidFill>
                <a:prstClr val="white"/>
              </a:solidFill>
            </a:endParaRPr>
          </a:p>
        </p:txBody>
      </p:sp>
      <p:sp>
        <p:nvSpPr>
          <p:cNvPr id="7" name="TextBox 13"/>
          <p:cNvSpPr txBox="1"/>
          <p:nvPr userDrawn="1"/>
        </p:nvSpPr>
        <p:spPr>
          <a:xfrm>
            <a:off x="8683625" y="6624640"/>
            <a:ext cx="474663" cy="231775"/>
          </a:xfrm>
          <a:prstGeom prst="rect">
            <a:avLst/>
          </a:prstGeom>
          <a:noFill/>
        </p:spPr>
        <p:txBody>
          <a:bodyP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r" fontAlgn="base">
              <a:spcBef>
                <a:spcPct val="0"/>
              </a:spcBef>
              <a:spcAft>
                <a:spcPct val="0"/>
              </a:spcAft>
              <a:defRPr/>
            </a:pPr>
            <a:fld id="{C95B2822-FBE6-43CD-A961-87FC05EBD5CA}" type="slidenum">
              <a:rPr lang="en-US" altLang="zh-CN" sz="900" smtClean="0">
                <a:solidFill>
                  <a:srgbClr val="717073"/>
                </a:solidFill>
                <a:ea typeface="宋体" pitchFamily="2" charset="-122"/>
              </a:rPr>
              <a:pPr algn="r" fontAlgn="base">
                <a:spcBef>
                  <a:spcPct val="0"/>
                </a:spcBef>
                <a:spcAft>
                  <a:spcPct val="0"/>
                </a:spcAft>
                <a:defRPr/>
              </a:pPr>
              <a:t>‹#›</a:t>
            </a:fld>
            <a:endParaRPr lang="en-US" altLang="zh-CN" sz="900">
              <a:solidFill>
                <a:srgbClr val="717073"/>
              </a:solidFill>
              <a:ea typeface="宋体" pitchFamily="2" charset="-122"/>
            </a:endParaRPr>
          </a:p>
        </p:txBody>
      </p:sp>
      <p:sp>
        <p:nvSpPr>
          <p:cNvPr id="2" name="Titre 1"/>
          <p:cNvSpPr>
            <a:spLocks noGrp="1"/>
          </p:cNvSpPr>
          <p:nvPr>
            <p:ph type="ctrTitle"/>
          </p:nvPr>
        </p:nvSpPr>
        <p:spPr>
          <a:xfrm>
            <a:off x="1615936" y="2185585"/>
            <a:ext cx="6339264" cy="1243417"/>
          </a:xfrm>
        </p:spPr>
        <p:txBody>
          <a:bodyPr anchor="b"/>
          <a:lstStyle>
            <a:lvl1pPr algn="l">
              <a:defRPr sz="4400" b="1">
                <a:solidFill>
                  <a:srgbClr val="C5C43C"/>
                </a:solidFill>
                <a:latin typeface="Arial" pitchFamily="34" charset="0"/>
                <a:cs typeface="Arial" pitchFamily="34" charset="0"/>
              </a:defRPr>
            </a:lvl1pPr>
          </a:lstStyle>
          <a:p>
            <a:r>
              <a:rPr lang="zh-CN" altLang="en-US"/>
              <a:t>单击此处编辑母版标题样式</a:t>
            </a:r>
            <a:endParaRPr lang="fr-FR" dirty="0"/>
          </a:p>
        </p:txBody>
      </p:sp>
      <p:sp>
        <p:nvSpPr>
          <p:cNvPr id="3" name="Sous-titre 2"/>
          <p:cNvSpPr>
            <a:spLocks noGrp="1"/>
          </p:cNvSpPr>
          <p:nvPr>
            <p:ph type="subTitle" idx="1"/>
          </p:nvPr>
        </p:nvSpPr>
        <p:spPr>
          <a:xfrm>
            <a:off x="1696915" y="3569688"/>
            <a:ext cx="5996357" cy="1752600"/>
          </a:xfrm>
        </p:spPr>
        <p:txBody>
          <a:bodyPr>
            <a:normAutofit/>
          </a:bodyPr>
          <a:lstStyle>
            <a:lvl1pPr marL="0" indent="0" algn="r">
              <a:buNone/>
              <a:defRPr sz="1800">
                <a:solidFill>
                  <a:srgbClr val="1CBEC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fr-FR" dirty="0"/>
          </a:p>
        </p:txBody>
      </p:sp>
    </p:spTree>
    <p:extLst>
      <p:ext uri="{BB962C8B-B14F-4D97-AF65-F5344CB8AC3E}">
        <p14:creationId xmlns:p14="http://schemas.microsoft.com/office/powerpoint/2010/main" val="1157092326"/>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a:xfrm>
            <a:off x="6846888" y="6466012"/>
            <a:ext cx="2133600" cy="365125"/>
          </a:xfrm>
          <a:prstGeom prst="rect">
            <a:avLst/>
          </a:prstGeom>
        </p:spPr>
        <p:txBody>
          <a:bodyPr/>
          <a:lstStyle/>
          <a:p>
            <a:fld id="{AB310189-4338-4E80-8710-9B788F2FC2A6}" type="slidenum">
              <a:rPr lang="fr-FR" smtClean="0">
                <a:solidFill>
                  <a:prstClr val="black">
                    <a:tint val="75000"/>
                  </a:prstClr>
                </a:solidFill>
              </a:rPr>
              <a:pPr/>
              <a:t>‹#›</a:t>
            </a:fld>
            <a:endParaRPr lang="fr-FR">
              <a:solidFill>
                <a:prstClr val="black">
                  <a:tint val="75000"/>
                </a:prstClr>
              </a:solidFill>
            </a:endParaRPr>
          </a:p>
        </p:txBody>
      </p:sp>
      <p:sp>
        <p:nvSpPr>
          <p:cNvPr id="5" name="Espace réservé du texte 4"/>
          <p:cNvSpPr>
            <a:spLocks noGrp="1"/>
          </p:cNvSpPr>
          <p:nvPr>
            <p:ph type="body" sz="quarter" idx="11"/>
          </p:nvPr>
        </p:nvSpPr>
        <p:spPr>
          <a:xfrm>
            <a:off x="950399" y="1548002"/>
            <a:ext cx="8033463" cy="1309687"/>
          </a:xfrm>
        </p:spPr>
        <p:txBody>
          <a:bodyPr/>
          <a:lstStyle>
            <a:lvl1pPr marL="179388" indent="-179388">
              <a:defRPr/>
            </a:lvl1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Titre 3"/>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731112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49568" y="1548002"/>
            <a:ext cx="7948080" cy="1447063"/>
          </a:xfrm>
        </p:spPr>
        <p:txBody>
          <a:bodyPr/>
          <a:lstStyle>
            <a:lvl1pPr>
              <a:spcAft>
                <a:spcPts val="300"/>
              </a:spcAft>
              <a:defRPr/>
            </a:lvl1pPr>
            <a:lvl2pPr>
              <a:spcAft>
                <a:spcPts val="300"/>
              </a:spcAft>
              <a:defRPr/>
            </a:lvl2pPr>
            <a:lvl3pPr>
              <a:spcAft>
                <a:spcPts val="300"/>
              </a:spcAft>
              <a:defRPr/>
            </a:lvl3pPr>
            <a:lvl4pPr>
              <a:spcAft>
                <a:spcPts val="300"/>
              </a:spcAft>
              <a:defRPr/>
            </a:lvl4pPr>
            <a:lvl5pPr>
              <a:spcAft>
                <a:spcPts val="3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endParaRPr lang="en-GB"/>
          </a:p>
        </p:txBody>
      </p:sp>
      <p:cxnSp>
        <p:nvCxnSpPr>
          <p:cNvPr id="8" name="Straight Connector 7"/>
          <p:cNvCxnSpPr/>
          <p:nvPr/>
        </p:nvCxnSpPr>
        <p:spPr>
          <a:xfrm>
            <a:off x="395288" y="1265238"/>
            <a:ext cx="8364537" cy="0"/>
          </a:xfrm>
          <a:prstGeom prst="line">
            <a:avLst/>
          </a:prstGeom>
          <a:ln w="28575">
            <a:solidFill>
              <a:schemeClr val="tx2"/>
            </a:solidFill>
          </a:ln>
        </p:spPr>
        <p:style>
          <a:lnRef idx="2">
            <a:schemeClr val="accent1"/>
          </a:lnRef>
          <a:fillRef idx="0">
            <a:schemeClr val="accent1"/>
          </a:fillRef>
          <a:effectRef idx="1">
            <a:schemeClr val="accent1"/>
          </a:effectRef>
          <a:fontRef idx="minor">
            <a:schemeClr val="tx1"/>
          </a:fontRef>
        </p:style>
      </p:cxnSp>
      <p:sp>
        <p:nvSpPr>
          <p:cNvPr id="11" name="Text Placeholder 2"/>
          <p:cNvSpPr>
            <a:spLocks noGrp="1"/>
          </p:cNvSpPr>
          <p:nvPr>
            <p:ph type="body" sz="quarter" idx="13"/>
          </p:nvPr>
        </p:nvSpPr>
        <p:spPr>
          <a:xfrm>
            <a:off x="395288" y="6445950"/>
            <a:ext cx="4068000" cy="223138"/>
          </a:xfrm>
        </p:spPr>
        <p:txBody>
          <a:bodyPr anchor="b" anchorCtr="0"/>
          <a:lstStyle>
            <a:lvl1pPr marL="0" indent="0">
              <a:spcAft>
                <a:spcPts val="0"/>
              </a:spcAft>
              <a:buFont typeface="Arial" panose="020B0604020202020204" pitchFamily="34" charset="0"/>
              <a:buNone/>
              <a:defRPr sz="1000"/>
            </a:lvl1pPr>
            <a:lvl2pPr marL="0" indent="0">
              <a:spcAft>
                <a:spcPts val="0"/>
              </a:spcAft>
              <a:buFont typeface="Arial" panose="020B0604020202020204" pitchFamily="34" charset="0"/>
              <a:buNone/>
              <a:defRPr sz="1000"/>
            </a:lvl2pPr>
            <a:lvl3pPr marL="0" indent="0">
              <a:spcAft>
                <a:spcPts val="0"/>
              </a:spcAft>
              <a:buFont typeface="Arial" panose="020B0604020202020204" pitchFamily="34" charset="0"/>
              <a:buNone/>
              <a:defRPr sz="1000"/>
            </a:lvl3pPr>
            <a:lvl4pPr marL="0" indent="0">
              <a:spcAft>
                <a:spcPts val="0"/>
              </a:spcAft>
              <a:buFont typeface="Arial" panose="020B0604020202020204" pitchFamily="34" charset="0"/>
              <a:buNone/>
              <a:defRPr sz="1000"/>
            </a:lvl4pPr>
            <a:lvl5pPr marL="0" indent="0">
              <a:spcAft>
                <a:spcPts val="0"/>
              </a:spcAft>
              <a:buFont typeface="Arial" panose="020B0604020202020204" pitchFamily="34" charset="0"/>
              <a:buNone/>
              <a:defRPr sz="1000"/>
            </a:lvl5pPr>
          </a:lstStyle>
          <a:p>
            <a:pPr lvl="0"/>
            <a:r>
              <a:rPr lang="en-US"/>
              <a:t>Edit Master text styles</a:t>
            </a:r>
          </a:p>
        </p:txBody>
      </p:sp>
      <p:sp>
        <p:nvSpPr>
          <p:cNvPr id="12" name="Text Placeholder 2"/>
          <p:cNvSpPr>
            <a:spLocks noGrp="1"/>
          </p:cNvSpPr>
          <p:nvPr>
            <p:ph type="body" sz="quarter" idx="14"/>
          </p:nvPr>
        </p:nvSpPr>
        <p:spPr>
          <a:xfrm>
            <a:off x="4680713" y="6445950"/>
            <a:ext cx="4068000" cy="223138"/>
          </a:xfrm>
        </p:spPr>
        <p:txBody>
          <a:bodyPr anchor="b" anchorCtr="0"/>
          <a:lstStyle>
            <a:lvl1pPr marL="0" indent="0" algn="r">
              <a:spcAft>
                <a:spcPts val="0"/>
              </a:spcAft>
              <a:buFont typeface="Arial" panose="020B0604020202020204" pitchFamily="34" charset="0"/>
              <a:buNone/>
              <a:defRPr sz="1000"/>
            </a:lvl1pPr>
            <a:lvl2pPr marL="0" indent="0">
              <a:spcAft>
                <a:spcPts val="0"/>
              </a:spcAft>
              <a:buFont typeface="Arial" panose="020B0604020202020204" pitchFamily="34" charset="0"/>
              <a:buNone/>
              <a:defRPr sz="1000"/>
            </a:lvl2pPr>
            <a:lvl3pPr marL="0" indent="0">
              <a:spcAft>
                <a:spcPts val="0"/>
              </a:spcAft>
              <a:buFont typeface="Arial" panose="020B0604020202020204" pitchFamily="34" charset="0"/>
              <a:buNone/>
              <a:defRPr sz="1000"/>
            </a:lvl3pPr>
            <a:lvl4pPr marL="0" indent="0">
              <a:spcAft>
                <a:spcPts val="0"/>
              </a:spcAft>
              <a:buFont typeface="Arial" panose="020B0604020202020204" pitchFamily="34" charset="0"/>
              <a:buNone/>
              <a:defRPr sz="1000"/>
            </a:lvl4pPr>
            <a:lvl5pPr marL="0" indent="0">
              <a:spcAft>
                <a:spcPts val="0"/>
              </a:spcAft>
              <a:buFont typeface="Arial" panose="020B0604020202020204" pitchFamily="34" charset="0"/>
              <a:buNone/>
              <a:defRPr sz="1000"/>
            </a:lvl5pPr>
          </a:lstStyle>
          <a:p>
            <a:pPr lvl="0"/>
            <a:r>
              <a:rPr lang="en-US"/>
              <a:t>Edit Master text styles</a:t>
            </a:r>
          </a:p>
        </p:txBody>
      </p:sp>
    </p:spTree>
    <p:extLst>
      <p:ext uri="{BB962C8B-B14F-4D97-AF65-F5344CB8AC3E}">
        <p14:creationId xmlns:p14="http://schemas.microsoft.com/office/powerpoint/2010/main" val="4059433229"/>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800" b="1">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949568" y="1548004"/>
            <a:ext cx="7948080" cy="512961"/>
          </a:xfrm>
        </p:spPr>
        <p:txBody>
          <a:bodyPr/>
          <a:lstStyle>
            <a:lvl1pPr marL="153848" indent="-153848">
              <a:lnSpc>
                <a:spcPct val="100000"/>
              </a:lnSpc>
              <a:spcBef>
                <a:spcPts val="162"/>
              </a:spcBef>
              <a:spcAft>
                <a:spcPts val="162"/>
              </a:spcAft>
              <a:buClr>
                <a:srgbClr val="FF9900"/>
              </a:buClr>
              <a:buFont typeface="Arial" panose="020B0604020202020204" pitchFamily="34" charset="0"/>
              <a:buChar char="•"/>
              <a:defRPr sz="1200">
                <a:latin typeface="Arial" panose="020B0604020202020204" pitchFamily="34" charset="0"/>
                <a:cs typeface="Arial" panose="020B0604020202020204" pitchFamily="34" charset="0"/>
              </a:defRPr>
            </a:lvl1pPr>
            <a:lvl2pPr marL="299600" indent="-153848">
              <a:lnSpc>
                <a:spcPct val="100000"/>
              </a:lnSpc>
              <a:spcBef>
                <a:spcPts val="162"/>
              </a:spcBef>
              <a:spcAft>
                <a:spcPts val="162"/>
              </a:spcAft>
              <a:buClrTx/>
              <a:buFont typeface="Arial" panose="020B0604020202020204" pitchFamily="34" charset="0"/>
              <a:buChar char="–"/>
              <a:defRPr sz="1200">
                <a:latin typeface="Arial" panose="020B0604020202020204" pitchFamily="34" charset="0"/>
                <a:cs typeface="Arial" panose="020B0604020202020204" pitchFamily="34" charset="0"/>
              </a:defRPr>
            </a:lvl2pPr>
            <a:lvl3pPr marL="1028357" indent="-342785">
              <a:buClr>
                <a:srgbClr val="FF9900"/>
              </a:buClr>
              <a:buFont typeface="Arial" panose="020B0604020202020204" pitchFamily="34" charset="0"/>
              <a:buChar char="•"/>
              <a:defRPr/>
            </a:lvl3pPr>
            <a:lvl4pPr marL="1285447" indent="-257090">
              <a:buClr>
                <a:srgbClr val="FF9900"/>
              </a:buClr>
              <a:buFont typeface="Arial" panose="020B0604020202020204" pitchFamily="34" charset="0"/>
              <a:buChar char="•"/>
              <a:defRPr/>
            </a:lvl4pPr>
            <a:lvl5pPr marL="1628232" indent="-257090">
              <a:buClr>
                <a:srgbClr val="FF9900"/>
              </a:buClr>
              <a:buFont typeface="Arial" panose="020B0604020202020204" pitchFamily="34" charset="0"/>
              <a:buChar char="•"/>
              <a:defRPr/>
            </a:lvl5pPr>
          </a:lstStyle>
          <a:p>
            <a:pPr lvl="0"/>
            <a:r>
              <a:rPr lang="en-US" dirty="0"/>
              <a:t>Edit Master text styles</a:t>
            </a:r>
          </a:p>
          <a:p>
            <a:pPr lvl="1"/>
            <a:r>
              <a:rPr lang="en-US" dirty="0"/>
              <a:t>Second level</a:t>
            </a:r>
          </a:p>
        </p:txBody>
      </p:sp>
      <p:sp>
        <p:nvSpPr>
          <p:cNvPr id="8" name="Text Placeholder 7"/>
          <p:cNvSpPr>
            <a:spLocks noGrp="1"/>
          </p:cNvSpPr>
          <p:nvPr>
            <p:ph type="body" sz="quarter" idx="10" hasCustomPrompt="1"/>
          </p:nvPr>
        </p:nvSpPr>
        <p:spPr>
          <a:xfrm>
            <a:off x="628652" y="6281742"/>
            <a:ext cx="7886699" cy="290512"/>
          </a:xfrm>
        </p:spPr>
        <p:txBody>
          <a:bodyPr>
            <a:normAutofit/>
          </a:bodyPr>
          <a:lstStyle>
            <a:lvl1pPr marL="0" indent="0">
              <a:buNone/>
              <a:defRPr sz="700">
                <a:solidFill>
                  <a:schemeClr val="tx1"/>
                </a:solidFill>
              </a:defRPr>
            </a:lvl1pPr>
            <a:lvl5pPr marL="1371143" indent="0">
              <a:buNone/>
              <a:defRPr/>
            </a:lvl5pPr>
          </a:lstStyle>
          <a:p>
            <a:pPr lvl="0"/>
            <a:r>
              <a:rPr lang="en-GB" dirty="0"/>
              <a:t>Footnotes</a:t>
            </a:r>
          </a:p>
        </p:txBody>
      </p:sp>
    </p:spTree>
    <p:extLst>
      <p:ext uri="{BB962C8B-B14F-4D97-AF65-F5344CB8AC3E}">
        <p14:creationId xmlns:p14="http://schemas.microsoft.com/office/powerpoint/2010/main" val="304365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800" b="1">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949568" y="1548004"/>
            <a:ext cx="7948080" cy="512961"/>
          </a:xfrm>
        </p:spPr>
        <p:txBody>
          <a:bodyPr/>
          <a:lstStyle>
            <a:lvl1pPr marL="153848" indent="-153848">
              <a:lnSpc>
                <a:spcPct val="100000"/>
              </a:lnSpc>
              <a:spcBef>
                <a:spcPts val="162"/>
              </a:spcBef>
              <a:spcAft>
                <a:spcPts val="162"/>
              </a:spcAft>
              <a:buClr>
                <a:srgbClr val="FF9900"/>
              </a:buClr>
              <a:buFont typeface="Arial" panose="020B0604020202020204" pitchFamily="34" charset="0"/>
              <a:buChar char="•"/>
              <a:defRPr sz="1200">
                <a:latin typeface="Arial" panose="020B0604020202020204" pitchFamily="34" charset="0"/>
                <a:cs typeface="Arial" panose="020B0604020202020204" pitchFamily="34" charset="0"/>
              </a:defRPr>
            </a:lvl1pPr>
            <a:lvl2pPr marL="299600" indent="-153848">
              <a:lnSpc>
                <a:spcPct val="100000"/>
              </a:lnSpc>
              <a:spcBef>
                <a:spcPts val="162"/>
              </a:spcBef>
              <a:spcAft>
                <a:spcPts val="162"/>
              </a:spcAft>
              <a:buClrTx/>
              <a:buFont typeface="Arial" panose="020B0604020202020204" pitchFamily="34" charset="0"/>
              <a:buChar char="–"/>
              <a:defRPr sz="1200">
                <a:latin typeface="Arial" panose="020B0604020202020204" pitchFamily="34" charset="0"/>
                <a:cs typeface="Arial" panose="020B0604020202020204" pitchFamily="34" charset="0"/>
              </a:defRPr>
            </a:lvl2pPr>
            <a:lvl3pPr marL="1028357" indent="-342785">
              <a:buClr>
                <a:srgbClr val="FF9900"/>
              </a:buClr>
              <a:buFont typeface="Arial" panose="020B0604020202020204" pitchFamily="34" charset="0"/>
              <a:buChar char="•"/>
              <a:defRPr/>
            </a:lvl3pPr>
            <a:lvl4pPr marL="1285447" indent="-257090">
              <a:buClr>
                <a:srgbClr val="FF9900"/>
              </a:buClr>
              <a:buFont typeface="Arial" panose="020B0604020202020204" pitchFamily="34" charset="0"/>
              <a:buChar char="•"/>
              <a:defRPr/>
            </a:lvl4pPr>
            <a:lvl5pPr marL="1628232" indent="-257090">
              <a:buClr>
                <a:srgbClr val="FF9900"/>
              </a:buClr>
              <a:buFont typeface="Arial" panose="020B0604020202020204" pitchFamily="34" charset="0"/>
              <a:buChar char="•"/>
              <a:defRPr/>
            </a:lvl5pPr>
          </a:lstStyle>
          <a:p>
            <a:pPr lvl="0"/>
            <a:r>
              <a:rPr lang="en-US" dirty="0"/>
              <a:t>Edit Master text styles</a:t>
            </a:r>
          </a:p>
          <a:p>
            <a:pPr lvl="1"/>
            <a:r>
              <a:rPr lang="en-US" dirty="0"/>
              <a:t>Second level</a:t>
            </a:r>
          </a:p>
        </p:txBody>
      </p:sp>
      <p:sp>
        <p:nvSpPr>
          <p:cNvPr id="8" name="Text Placeholder 7"/>
          <p:cNvSpPr>
            <a:spLocks noGrp="1"/>
          </p:cNvSpPr>
          <p:nvPr>
            <p:ph type="body" sz="quarter" idx="10" hasCustomPrompt="1"/>
          </p:nvPr>
        </p:nvSpPr>
        <p:spPr>
          <a:xfrm>
            <a:off x="628652" y="6281742"/>
            <a:ext cx="7886699" cy="290512"/>
          </a:xfrm>
        </p:spPr>
        <p:txBody>
          <a:bodyPr>
            <a:normAutofit/>
          </a:bodyPr>
          <a:lstStyle>
            <a:lvl1pPr marL="0" indent="0">
              <a:buNone/>
              <a:defRPr sz="700">
                <a:solidFill>
                  <a:schemeClr val="tx1"/>
                </a:solidFill>
              </a:defRPr>
            </a:lvl1pPr>
            <a:lvl5pPr marL="1371143" indent="0">
              <a:buNone/>
              <a:defRPr/>
            </a:lvl5pPr>
          </a:lstStyle>
          <a:p>
            <a:pPr lvl="0"/>
            <a:r>
              <a:rPr lang="en-GB" dirty="0"/>
              <a:t>Footnotes</a:t>
            </a:r>
          </a:p>
        </p:txBody>
      </p:sp>
    </p:spTree>
    <p:extLst>
      <p:ext uri="{BB962C8B-B14F-4D97-AF65-F5344CB8AC3E}">
        <p14:creationId xmlns:p14="http://schemas.microsoft.com/office/powerpoint/2010/main" val="12258230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a:extLst>
              <a:ext uri="{FF2B5EF4-FFF2-40B4-BE49-F238E27FC236}">
                <a16:creationId xmlns:a16="http://schemas.microsoft.com/office/drawing/2014/main" id="{D86C8B51-3A50-4BC3-A2FB-6141191F9A12}"/>
              </a:ext>
            </a:extLst>
          </p:cNvPr>
          <p:cNvSpPr>
            <a:spLocks noGrp="1"/>
          </p:cNvSpPr>
          <p:nvPr>
            <p:ph type="body" sz="quarter" idx="12" hasCustomPrompt="1"/>
          </p:nvPr>
        </p:nvSpPr>
        <p:spPr>
          <a:xfrm>
            <a:off x="593726" y="6309230"/>
            <a:ext cx="7970044" cy="236219"/>
          </a:xfrm>
        </p:spPr>
        <p:txBody>
          <a:bodyPr/>
          <a:lstStyle>
            <a:lvl1pPr marL="0" indent="0">
              <a:buNone/>
              <a:defRPr sz="1100"/>
            </a:lvl1pPr>
          </a:lstStyle>
          <a:p>
            <a:pPr lvl="0"/>
            <a:r>
              <a:rPr lang="en-US" dirty="0"/>
              <a:t>Footer</a:t>
            </a:r>
          </a:p>
        </p:txBody>
      </p:sp>
    </p:spTree>
    <p:extLst>
      <p:ext uri="{BB962C8B-B14F-4D97-AF65-F5344CB8AC3E}">
        <p14:creationId xmlns:p14="http://schemas.microsoft.com/office/powerpoint/2010/main" val="40348522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3"/>
          <p:cNvSpPr>
            <a:spLocks noGrp="1"/>
          </p:cNvSpPr>
          <p:nvPr>
            <p:ph type="dt" sz="half" idx="10"/>
          </p:nvPr>
        </p:nvSpPr>
        <p:spPr>
          <a:xfrm>
            <a:off x="457200" y="6492877"/>
            <a:ext cx="2133600" cy="365125"/>
          </a:xfrm>
          <a:prstGeom prst="rect">
            <a:avLst/>
          </a:prstGeom>
        </p:spPr>
        <p:txBody>
          <a:bodyPr/>
          <a:lstStyle>
            <a:lvl1pPr>
              <a:defRPr/>
            </a:lvl1pPr>
          </a:lstStyle>
          <a:p>
            <a:pPr>
              <a:defRPr/>
            </a:pPr>
            <a:fld id="{CF49C79D-43CF-46F5-9646-2CDD9FEAAB4A}" type="datetime1">
              <a:rPr lang="fr-FR" altLang="zh-TW"/>
              <a:pPr>
                <a:defRPr/>
              </a:pPr>
              <a:t>12/05/2020</a:t>
            </a:fld>
            <a:endParaRPr lang="fr-FR"/>
          </a:p>
        </p:txBody>
      </p:sp>
      <p:sp>
        <p:nvSpPr>
          <p:cNvPr id="4" name="Espace réservé du pied de page 4"/>
          <p:cNvSpPr>
            <a:spLocks noGrp="1"/>
          </p:cNvSpPr>
          <p:nvPr>
            <p:ph type="ftr" sz="quarter" idx="11"/>
          </p:nvPr>
        </p:nvSpPr>
        <p:spPr>
          <a:xfrm>
            <a:off x="3124200" y="6492877"/>
            <a:ext cx="2895600" cy="365125"/>
          </a:xfrm>
          <a:prstGeom prst="rect">
            <a:avLst/>
          </a:prstGeom>
        </p:spPr>
        <p:txBody>
          <a:bodyPr/>
          <a:lstStyle>
            <a:lvl1pPr>
              <a:defRPr/>
            </a:lvl1pPr>
          </a:lstStyle>
          <a:p>
            <a:pPr>
              <a:defRPr/>
            </a:pPr>
            <a:endParaRPr lang="fr-FR"/>
          </a:p>
        </p:txBody>
      </p:sp>
      <p:sp>
        <p:nvSpPr>
          <p:cNvPr id="5" name="Espace réservé du numéro de diapositive 5"/>
          <p:cNvSpPr>
            <a:spLocks noGrp="1"/>
          </p:cNvSpPr>
          <p:nvPr>
            <p:ph type="sldNum" sz="quarter" idx="12"/>
          </p:nvPr>
        </p:nvSpPr>
        <p:spPr>
          <a:xfrm>
            <a:off x="5238750" y="6492877"/>
            <a:ext cx="2133600" cy="365125"/>
          </a:xfrm>
          <a:prstGeom prst="rect">
            <a:avLst/>
          </a:prstGeom>
        </p:spPr>
        <p:txBody>
          <a:bodyPr/>
          <a:lstStyle>
            <a:lvl1pPr>
              <a:defRPr/>
            </a:lvl1pPr>
          </a:lstStyle>
          <a:p>
            <a:pPr>
              <a:defRPr/>
            </a:pPr>
            <a:fld id="{AC09A087-D508-4304-A654-97D6D6316B04}" type="slidenum">
              <a:rPr lang="fr-FR"/>
              <a:pPr>
                <a:defRPr/>
              </a:pPr>
              <a:t>‹#›</a:t>
            </a:fld>
            <a:endParaRPr lang="fr-FR"/>
          </a:p>
        </p:txBody>
      </p:sp>
    </p:spTree>
    <p:extLst>
      <p:ext uri="{BB962C8B-B14F-4D97-AF65-F5344CB8AC3E}">
        <p14:creationId xmlns:p14="http://schemas.microsoft.com/office/powerpoint/2010/main" val="30951420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a:extLst>
              <a:ext uri="{FF2B5EF4-FFF2-40B4-BE49-F238E27FC236}">
                <a16:creationId xmlns:a16="http://schemas.microsoft.com/office/drawing/2014/main" id="{759DD640-B0D5-4E2B-B380-DD0FC67F999B}"/>
              </a:ext>
            </a:extLst>
          </p:cNvPr>
          <p:cNvSpPr>
            <a:spLocks noGrp="1"/>
          </p:cNvSpPr>
          <p:nvPr>
            <p:ph type="body" sz="quarter" idx="12" hasCustomPrompt="1"/>
          </p:nvPr>
        </p:nvSpPr>
        <p:spPr>
          <a:xfrm>
            <a:off x="593726" y="6309228"/>
            <a:ext cx="7970044" cy="236219"/>
          </a:xfrm>
        </p:spPr>
        <p:txBody>
          <a:bodyPr/>
          <a:lstStyle>
            <a:lvl1pPr marL="0" indent="0">
              <a:buNone/>
              <a:defRPr sz="1100"/>
            </a:lvl1pPr>
          </a:lstStyle>
          <a:p>
            <a:pPr lvl="0"/>
            <a:r>
              <a:rPr lang="en-US" dirty="0"/>
              <a:t>Footer</a:t>
            </a:r>
          </a:p>
        </p:txBody>
      </p:sp>
    </p:spTree>
    <p:extLst>
      <p:ext uri="{BB962C8B-B14F-4D97-AF65-F5344CB8AC3E}">
        <p14:creationId xmlns:p14="http://schemas.microsoft.com/office/powerpoint/2010/main" val="30872048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a:extLst>
              <a:ext uri="{FF2B5EF4-FFF2-40B4-BE49-F238E27FC236}">
                <a16:creationId xmlns:a16="http://schemas.microsoft.com/office/drawing/2014/main" id="{759DD640-B0D5-4E2B-B380-DD0FC67F999B}"/>
              </a:ext>
            </a:extLst>
          </p:cNvPr>
          <p:cNvSpPr>
            <a:spLocks noGrp="1"/>
          </p:cNvSpPr>
          <p:nvPr>
            <p:ph type="body" sz="quarter" idx="12" hasCustomPrompt="1"/>
          </p:nvPr>
        </p:nvSpPr>
        <p:spPr>
          <a:xfrm>
            <a:off x="593726" y="6309228"/>
            <a:ext cx="7970044" cy="236219"/>
          </a:xfrm>
        </p:spPr>
        <p:txBody>
          <a:bodyPr/>
          <a:lstStyle>
            <a:lvl1pPr marL="0" indent="0">
              <a:buNone/>
              <a:defRPr sz="1100"/>
            </a:lvl1pPr>
          </a:lstStyle>
          <a:p>
            <a:pPr lvl="0"/>
            <a:r>
              <a:rPr lang="en-US" dirty="0"/>
              <a:t>Footer</a:t>
            </a:r>
          </a:p>
        </p:txBody>
      </p:sp>
    </p:spTree>
    <p:extLst>
      <p:ext uri="{BB962C8B-B14F-4D97-AF65-F5344CB8AC3E}">
        <p14:creationId xmlns:p14="http://schemas.microsoft.com/office/powerpoint/2010/main" val="35013956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自定义版式">
    <p:bg>
      <p:bgPr>
        <a:pattFill prst="pct10">
          <a:fgClr>
            <a:schemeClr val="accent1">
              <a:lumMod val="20000"/>
              <a:lumOff val="80000"/>
            </a:schemeClr>
          </a:fgClr>
          <a:bgClr>
            <a:schemeClr val="bg1"/>
          </a:bgClr>
        </a:pattFill>
        <a:effectLst/>
      </p:bgPr>
    </p:bg>
    <p:spTree>
      <p:nvGrpSpPr>
        <p:cNvPr id="1" name=""/>
        <p:cNvGrpSpPr/>
        <p:nvPr/>
      </p:nvGrpSpPr>
      <p:grpSpPr>
        <a:xfrm>
          <a:off x="0" y="0"/>
          <a:ext cx="0" cy="0"/>
          <a:chOff x="0" y="0"/>
          <a:chExt cx="0" cy="0"/>
        </a:xfrm>
      </p:grpSpPr>
      <p:sp>
        <p:nvSpPr>
          <p:cNvPr id="3" name="矩形 2"/>
          <p:cNvSpPr/>
          <p:nvPr userDrawn="1"/>
        </p:nvSpPr>
        <p:spPr>
          <a:xfrm>
            <a:off x="2" y="266218"/>
            <a:ext cx="426719" cy="3935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4" name="矩形 3"/>
          <p:cNvSpPr/>
          <p:nvPr userDrawn="1"/>
        </p:nvSpPr>
        <p:spPr>
          <a:xfrm>
            <a:off x="480061" y="266218"/>
            <a:ext cx="66651" cy="3935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Tree>
    <p:extLst>
      <p:ext uri="{BB962C8B-B14F-4D97-AF65-F5344CB8AC3E}">
        <p14:creationId xmlns:p14="http://schemas.microsoft.com/office/powerpoint/2010/main" val="704728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78195" y="1380026"/>
            <a:ext cx="7970410" cy="12931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3"/>
          <p:cNvSpPr>
            <a:spLocks noGrp="1"/>
          </p:cNvSpPr>
          <p:nvPr>
            <p:ph type="title"/>
          </p:nvPr>
        </p:nvSpPr>
        <p:spPr>
          <a:xfrm>
            <a:off x="578193" y="471840"/>
            <a:ext cx="7479120" cy="406009"/>
          </a:xfrm>
        </p:spPr>
        <p:txBody>
          <a:bodyPr/>
          <a:lstStyle>
            <a:lvl1pPr>
              <a:defRPr sz="2398"/>
            </a:lvl1pPr>
          </a:lstStyle>
          <a:p>
            <a:r>
              <a:rPr lang="en-US" dirty="0"/>
              <a:t>Click to edit Master title style</a:t>
            </a:r>
          </a:p>
        </p:txBody>
      </p:sp>
      <p:sp>
        <p:nvSpPr>
          <p:cNvPr id="7" name="Content Placeholder 6"/>
          <p:cNvSpPr>
            <a:spLocks noGrp="1"/>
          </p:cNvSpPr>
          <p:nvPr>
            <p:ph sz="quarter" idx="10"/>
          </p:nvPr>
        </p:nvSpPr>
        <p:spPr>
          <a:xfrm>
            <a:off x="579247" y="6311649"/>
            <a:ext cx="7989619" cy="196977"/>
          </a:xfrm>
        </p:spPr>
        <p:txBody>
          <a:bodyPr/>
          <a:lstStyle>
            <a:lvl1pPr marL="0" indent="0">
              <a:buNone/>
              <a:defRPr sz="800"/>
            </a:lvl1pPr>
          </a:lstStyle>
          <a:p>
            <a:pPr lvl="0"/>
            <a:r>
              <a:rPr lang="en-US" dirty="0"/>
              <a:t>Click to edit Master text styles</a:t>
            </a:r>
          </a:p>
        </p:txBody>
      </p:sp>
    </p:spTree>
    <p:extLst>
      <p:ext uri="{BB962C8B-B14F-4D97-AF65-F5344CB8AC3E}">
        <p14:creationId xmlns:p14="http://schemas.microsoft.com/office/powerpoint/2010/main" val="4284478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Diapositive de titre">
    <p:spTree>
      <p:nvGrpSpPr>
        <p:cNvPr id="1" name=""/>
        <p:cNvGrpSpPr/>
        <p:nvPr/>
      </p:nvGrpSpPr>
      <p:grpSpPr>
        <a:xfrm>
          <a:off x="0" y="0"/>
          <a:ext cx="0" cy="0"/>
          <a:chOff x="0" y="0"/>
          <a:chExt cx="0" cy="0"/>
        </a:xfrm>
      </p:grpSpPr>
      <p:pic>
        <p:nvPicPr>
          <p:cNvPr id="4" name="Picture 5" descr="D:\Dossier en cours\Publicis life brand\Afatinib\Photoshop\Font titre s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Forme libre 10"/>
          <p:cNvSpPr/>
          <p:nvPr/>
        </p:nvSpPr>
        <p:spPr>
          <a:xfrm>
            <a:off x="-4762" y="1135063"/>
            <a:ext cx="9148763" cy="482600"/>
          </a:xfrm>
          <a:custGeom>
            <a:avLst/>
            <a:gdLst>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16607 h 500184"/>
              <a:gd name="connsiteX1" fmla="*/ 1081454 w 9152792"/>
              <a:gd name="connsiteY1" fmla="*/ 16607 h 500184"/>
              <a:gd name="connsiteX2" fmla="*/ 0 w 9152792"/>
              <a:gd name="connsiteY2" fmla="*/ 500184 h 500184"/>
              <a:gd name="connsiteX0" fmla="*/ 9152792 w 9152792"/>
              <a:gd name="connsiteY0" fmla="*/ 12701 h 496278"/>
              <a:gd name="connsiteX1" fmla="*/ 1081454 w 9152792"/>
              <a:gd name="connsiteY1" fmla="*/ 12701 h 496278"/>
              <a:gd name="connsiteX2" fmla="*/ 0 w 9152792"/>
              <a:gd name="connsiteY2" fmla="*/ 496278 h 496278"/>
              <a:gd name="connsiteX0" fmla="*/ 9152792 w 9152792"/>
              <a:gd name="connsiteY0" fmla="*/ 11655 h 495232"/>
              <a:gd name="connsiteX1" fmla="*/ 1081454 w 9152792"/>
              <a:gd name="connsiteY1" fmla="*/ 11655 h 495232"/>
              <a:gd name="connsiteX2" fmla="*/ 0 w 9152792"/>
              <a:gd name="connsiteY2" fmla="*/ 495232 h 495232"/>
              <a:gd name="connsiteX0" fmla="*/ 9152792 w 9152792"/>
              <a:gd name="connsiteY0" fmla="*/ 16945 h 500522"/>
              <a:gd name="connsiteX1" fmla="*/ 1081454 w 9152792"/>
              <a:gd name="connsiteY1" fmla="*/ 16945 h 500522"/>
              <a:gd name="connsiteX2" fmla="*/ 0 w 9152792"/>
              <a:gd name="connsiteY2" fmla="*/ 500522 h 500522"/>
              <a:gd name="connsiteX0" fmla="*/ 9152792 w 9152792"/>
              <a:gd name="connsiteY0" fmla="*/ 10597 h 494174"/>
              <a:gd name="connsiteX1" fmla="*/ 1081454 w 9152792"/>
              <a:gd name="connsiteY1" fmla="*/ 10597 h 494174"/>
              <a:gd name="connsiteX2" fmla="*/ 0 w 9152792"/>
              <a:gd name="connsiteY2" fmla="*/ 494174 h 494174"/>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784 h 484361"/>
              <a:gd name="connsiteX1" fmla="*/ 1081454 w 9152792"/>
              <a:gd name="connsiteY1" fmla="*/ 784 h 484361"/>
              <a:gd name="connsiteX2" fmla="*/ 0 w 9152792"/>
              <a:gd name="connsiteY2" fmla="*/ 484361 h 484361"/>
              <a:gd name="connsiteX0" fmla="*/ 9152792 w 9152792"/>
              <a:gd name="connsiteY0" fmla="*/ 453 h 484030"/>
              <a:gd name="connsiteX1" fmla="*/ 1081454 w 9152792"/>
              <a:gd name="connsiteY1" fmla="*/ 453 h 484030"/>
              <a:gd name="connsiteX2" fmla="*/ 0 w 9152792"/>
              <a:gd name="connsiteY2" fmla="*/ 484030 h 484030"/>
              <a:gd name="connsiteX0" fmla="*/ 9152792 w 9152792"/>
              <a:gd name="connsiteY0" fmla="*/ 0 h 483577"/>
              <a:gd name="connsiteX1" fmla="*/ 871904 w 9152792"/>
              <a:gd name="connsiteY1" fmla="*/ 4762 h 483577"/>
              <a:gd name="connsiteX2" fmla="*/ 0 w 9152792"/>
              <a:gd name="connsiteY2" fmla="*/ 483577 h 483577"/>
              <a:gd name="connsiteX0" fmla="*/ 9153535 w 9153535"/>
              <a:gd name="connsiteY0" fmla="*/ 0 h 483577"/>
              <a:gd name="connsiteX1" fmla="*/ 872647 w 9153535"/>
              <a:gd name="connsiteY1" fmla="*/ 4762 h 483577"/>
              <a:gd name="connsiteX2" fmla="*/ 743 w 9153535"/>
              <a:gd name="connsiteY2" fmla="*/ 483577 h 483577"/>
              <a:gd name="connsiteX0" fmla="*/ 9152792 w 9152792"/>
              <a:gd name="connsiteY0" fmla="*/ 0 h 483577"/>
              <a:gd name="connsiteX1" fmla="*/ 871904 w 9152792"/>
              <a:gd name="connsiteY1" fmla="*/ 4762 h 483577"/>
              <a:gd name="connsiteX2" fmla="*/ 0 w 9152792"/>
              <a:gd name="connsiteY2" fmla="*/ 483577 h 483577"/>
              <a:gd name="connsiteX0" fmla="*/ 9152792 w 9152792"/>
              <a:gd name="connsiteY0" fmla="*/ 0 h 483577"/>
              <a:gd name="connsiteX1" fmla="*/ 871904 w 9152792"/>
              <a:gd name="connsiteY1" fmla="*/ 4762 h 483577"/>
              <a:gd name="connsiteX2" fmla="*/ 0 w 9152792"/>
              <a:gd name="connsiteY2" fmla="*/ 483577 h 483577"/>
              <a:gd name="connsiteX0" fmla="*/ 9152792 w 9152792"/>
              <a:gd name="connsiteY0" fmla="*/ 0 h 483577"/>
              <a:gd name="connsiteX1" fmla="*/ 733791 w 9152792"/>
              <a:gd name="connsiteY1" fmla="*/ 2381 h 483577"/>
              <a:gd name="connsiteX2" fmla="*/ 0 w 9152792"/>
              <a:gd name="connsiteY2" fmla="*/ 483577 h 483577"/>
              <a:gd name="connsiteX0" fmla="*/ 9152792 w 9152792"/>
              <a:gd name="connsiteY0" fmla="*/ 0 h 483577"/>
              <a:gd name="connsiteX1" fmla="*/ 733791 w 9152792"/>
              <a:gd name="connsiteY1" fmla="*/ 2381 h 483577"/>
              <a:gd name="connsiteX2" fmla="*/ 0 w 9152792"/>
              <a:gd name="connsiteY2" fmla="*/ 483577 h 483577"/>
              <a:gd name="connsiteX0" fmla="*/ 9152792 w 9152792"/>
              <a:gd name="connsiteY0" fmla="*/ 164 h 483741"/>
              <a:gd name="connsiteX1" fmla="*/ 693310 w 9152792"/>
              <a:gd name="connsiteY1" fmla="*/ 164 h 483741"/>
              <a:gd name="connsiteX2" fmla="*/ 0 w 9152792"/>
              <a:gd name="connsiteY2" fmla="*/ 483741 h 483741"/>
              <a:gd name="connsiteX0" fmla="*/ 9152792 w 9152792"/>
              <a:gd name="connsiteY0" fmla="*/ 9 h 483586"/>
              <a:gd name="connsiteX1" fmla="*/ 693310 w 9152792"/>
              <a:gd name="connsiteY1" fmla="*/ 9 h 483586"/>
              <a:gd name="connsiteX2" fmla="*/ 0 w 9152792"/>
              <a:gd name="connsiteY2" fmla="*/ 483586 h 483586"/>
              <a:gd name="connsiteX0" fmla="*/ 9152792 w 9152792"/>
              <a:gd name="connsiteY0" fmla="*/ 0 h 483577"/>
              <a:gd name="connsiteX1" fmla="*/ 693310 w 9152792"/>
              <a:gd name="connsiteY1" fmla="*/ 0 h 483577"/>
              <a:gd name="connsiteX2" fmla="*/ 0 w 9152792"/>
              <a:gd name="connsiteY2" fmla="*/ 483577 h 483577"/>
              <a:gd name="connsiteX0" fmla="*/ 9152793 w 9152793"/>
              <a:gd name="connsiteY0" fmla="*/ 0 h 483577"/>
              <a:gd name="connsiteX1" fmla="*/ 693311 w 9152793"/>
              <a:gd name="connsiteY1" fmla="*/ 0 h 483577"/>
              <a:gd name="connsiteX2" fmla="*/ 1 w 9152793"/>
              <a:gd name="connsiteY2" fmla="*/ 483577 h 483577"/>
              <a:gd name="connsiteX0" fmla="*/ 9152794 w 9152794"/>
              <a:gd name="connsiteY0" fmla="*/ 0 h 483577"/>
              <a:gd name="connsiteX1" fmla="*/ 693312 w 9152794"/>
              <a:gd name="connsiteY1" fmla="*/ 0 h 483577"/>
              <a:gd name="connsiteX2" fmla="*/ 2 w 9152794"/>
              <a:gd name="connsiteY2" fmla="*/ 483577 h 483577"/>
              <a:gd name="connsiteX0" fmla="*/ 9152794 w 9152794"/>
              <a:gd name="connsiteY0" fmla="*/ 0 h 483577"/>
              <a:gd name="connsiteX1" fmla="*/ 693312 w 9152794"/>
              <a:gd name="connsiteY1" fmla="*/ 0 h 483577"/>
              <a:gd name="connsiteX2" fmla="*/ 2 w 9152794"/>
              <a:gd name="connsiteY2" fmla="*/ 483577 h 483577"/>
            </a:gdLst>
            <a:ahLst/>
            <a:cxnLst>
              <a:cxn ang="0">
                <a:pos x="connsiteX0" y="connsiteY0"/>
              </a:cxn>
              <a:cxn ang="0">
                <a:pos x="connsiteX1" y="connsiteY1"/>
              </a:cxn>
              <a:cxn ang="0">
                <a:pos x="connsiteX2" y="connsiteY2"/>
              </a:cxn>
            </a:cxnLst>
            <a:rect l="l" t="t" r="r" b="b"/>
            <a:pathLst>
              <a:path w="9152794" h="483577">
                <a:moveTo>
                  <a:pt x="9152794" y="0"/>
                </a:moveTo>
                <a:lnTo>
                  <a:pt x="693312" y="0"/>
                </a:lnTo>
                <a:cubicBezTo>
                  <a:pt x="135314" y="292"/>
                  <a:pt x="-546" y="422215"/>
                  <a:pt x="2" y="483577"/>
                </a:cubicBezTo>
              </a:path>
            </a:pathLst>
          </a:custGeom>
          <a:noFill/>
          <a:ln w="25400">
            <a:solidFill>
              <a:srgbClr val="C5C4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800" dirty="0">
              <a:solidFill>
                <a:prstClr val="white"/>
              </a:solidFill>
            </a:endParaRPr>
          </a:p>
        </p:txBody>
      </p:sp>
      <p:sp>
        <p:nvSpPr>
          <p:cNvPr id="6" name="Forme libre 11"/>
          <p:cNvSpPr/>
          <p:nvPr/>
        </p:nvSpPr>
        <p:spPr>
          <a:xfrm>
            <a:off x="-4763" y="3394075"/>
            <a:ext cx="7640638" cy="711200"/>
          </a:xfrm>
          <a:custGeom>
            <a:avLst/>
            <a:gdLst>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16607 h 500184"/>
              <a:gd name="connsiteX1" fmla="*/ 1081454 w 9152792"/>
              <a:gd name="connsiteY1" fmla="*/ 16607 h 500184"/>
              <a:gd name="connsiteX2" fmla="*/ 0 w 9152792"/>
              <a:gd name="connsiteY2" fmla="*/ 500184 h 500184"/>
              <a:gd name="connsiteX0" fmla="*/ 9152792 w 9152792"/>
              <a:gd name="connsiteY0" fmla="*/ 12701 h 496278"/>
              <a:gd name="connsiteX1" fmla="*/ 1081454 w 9152792"/>
              <a:gd name="connsiteY1" fmla="*/ 12701 h 496278"/>
              <a:gd name="connsiteX2" fmla="*/ 0 w 9152792"/>
              <a:gd name="connsiteY2" fmla="*/ 496278 h 496278"/>
              <a:gd name="connsiteX0" fmla="*/ 9152792 w 9152792"/>
              <a:gd name="connsiteY0" fmla="*/ 11655 h 495232"/>
              <a:gd name="connsiteX1" fmla="*/ 1081454 w 9152792"/>
              <a:gd name="connsiteY1" fmla="*/ 11655 h 495232"/>
              <a:gd name="connsiteX2" fmla="*/ 0 w 9152792"/>
              <a:gd name="connsiteY2" fmla="*/ 495232 h 495232"/>
              <a:gd name="connsiteX0" fmla="*/ 9152792 w 9152792"/>
              <a:gd name="connsiteY0" fmla="*/ 16945 h 500522"/>
              <a:gd name="connsiteX1" fmla="*/ 1081454 w 9152792"/>
              <a:gd name="connsiteY1" fmla="*/ 16945 h 500522"/>
              <a:gd name="connsiteX2" fmla="*/ 0 w 9152792"/>
              <a:gd name="connsiteY2" fmla="*/ 500522 h 500522"/>
              <a:gd name="connsiteX0" fmla="*/ 9152792 w 9152792"/>
              <a:gd name="connsiteY0" fmla="*/ 10597 h 494174"/>
              <a:gd name="connsiteX1" fmla="*/ 1081454 w 9152792"/>
              <a:gd name="connsiteY1" fmla="*/ 10597 h 494174"/>
              <a:gd name="connsiteX2" fmla="*/ 0 w 9152792"/>
              <a:gd name="connsiteY2" fmla="*/ 494174 h 494174"/>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784 h 484361"/>
              <a:gd name="connsiteX1" fmla="*/ 1081454 w 9152792"/>
              <a:gd name="connsiteY1" fmla="*/ 784 h 484361"/>
              <a:gd name="connsiteX2" fmla="*/ 0 w 9152792"/>
              <a:gd name="connsiteY2" fmla="*/ 484361 h 484361"/>
              <a:gd name="connsiteX0" fmla="*/ 9152792 w 9152792"/>
              <a:gd name="connsiteY0" fmla="*/ 453 h 484030"/>
              <a:gd name="connsiteX1" fmla="*/ 1081454 w 9152792"/>
              <a:gd name="connsiteY1" fmla="*/ 453 h 484030"/>
              <a:gd name="connsiteX2" fmla="*/ 0 w 9152792"/>
              <a:gd name="connsiteY2" fmla="*/ 484030 h 484030"/>
              <a:gd name="connsiteX0" fmla="*/ 9152792 w 9152792"/>
              <a:gd name="connsiteY0" fmla="*/ 0 h 483577"/>
              <a:gd name="connsiteX1" fmla="*/ 871904 w 9152792"/>
              <a:gd name="connsiteY1" fmla="*/ 4762 h 483577"/>
              <a:gd name="connsiteX2" fmla="*/ 0 w 9152792"/>
              <a:gd name="connsiteY2" fmla="*/ 483577 h 483577"/>
              <a:gd name="connsiteX0" fmla="*/ 9153535 w 9153535"/>
              <a:gd name="connsiteY0" fmla="*/ 0 h 483577"/>
              <a:gd name="connsiteX1" fmla="*/ 872647 w 9153535"/>
              <a:gd name="connsiteY1" fmla="*/ 4762 h 483577"/>
              <a:gd name="connsiteX2" fmla="*/ 743 w 9153535"/>
              <a:gd name="connsiteY2" fmla="*/ 483577 h 483577"/>
              <a:gd name="connsiteX0" fmla="*/ 9152792 w 9152792"/>
              <a:gd name="connsiteY0" fmla="*/ 0 h 483577"/>
              <a:gd name="connsiteX1" fmla="*/ 871904 w 9152792"/>
              <a:gd name="connsiteY1" fmla="*/ 4762 h 483577"/>
              <a:gd name="connsiteX2" fmla="*/ 0 w 9152792"/>
              <a:gd name="connsiteY2" fmla="*/ 483577 h 483577"/>
              <a:gd name="connsiteX0" fmla="*/ 9152792 w 9152792"/>
              <a:gd name="connsiteY0" fmla="*/ 0 h 483577"/>
              <a:gd name="connsiteX1" fmla="*/ 871904 w 9152792"/>
              <a:gd name="connsiteY1" fmla="*/ 4762 h 483577"/>
              <a:gd name="connsiteX2" fmla="*/ 0 w 9152792"/>
              <a:gd name="connsiteY2" fmla="*/ 483577 h 483577"/>
              <a:gd name="connsiteX0" fmla="*/ 9152792 w 9152792"/>
              <a:gd name="connsiteY0" fmla="*/ 0 h 483577"/>
              <a:gd name="connsiteX1" fmla="*/ 733791 w 9152792"/>
              <a:gd name="connsiteY1" fmla="*/ 2381 h 483577"/>
              <a:gd name="connsiteX2" fmla="*/ 0 w 9152792"/>
              <a:gd name="connsiteY2" fmla="*/ 483577 h 483577"/>
              <a:gd name="connsiteX0" fmla="*/ 9152792 w 9152792"/>
              <a:gd name="connsiteY0" fmla="*/ 0 h 483577"/>
              <a:gd name="connsiteX1" fmla="*/ 733791 w 9152792"/>
              <a:gd name="connsiteY1" fmla="*/ 2381 h 483577"/>
              <a:gd name="connsiteX2" fmla="*/ 0 w 9152792"/>
              <a:gd name="connsiteY2" fmla="*/ 483577 h 483577"/>
              <a:gd name="connsiteX0" fmla="*/ 9152792 w 9152792"/>
              <a:gd name="connsiteY0" fmla="*/ 164 h 483741"/>
              <a:gd name="connsiteX1" fmla="*/ 693310 w 9152792"/>
              <a:gd name="connsiteY1" fmla="*/ 164 h 483741"/>
              <a:gd name="connsiteX2" fmla="*/ 0 w 9152792"/>
              <a:gd name="connsiteY2" fmla="*/ 483741 h 483741"/>
              <a:gd name="connsiteX0" fmla="*/ 9152792 w 9152792"/>
              <a:gd name="connsiteY0" fmla="*/ 9 h 483586"/>
              <a:gd name="connsiteX1" fmla="*/ 693310 w 9152792"/>
              <a:gd name="connsiteY1" fmla="*/ 9 h 483586"/>
              <a:gd name="connsiteX2" fmla="*/ 0 w 9152792"/>
              <a:gd name="connsiteY2" fmla="*/ 483586 h 483586"/>
              <a:gd name="connsiteX0" fmla="*/ 9152792 w 9152792"/>
              <a:gd name="connsiteY0" fmla="*/ 0 h 483577"/>
              <a:gd name="connsiteX1" fmla="*/ 693310 w 9152792"/>
              <a:gd name="connsiteY1" fmla="*/ 0 h 483577"/>
              <a:gd name="connsiteX2" fmla="*/ 0 w 9152792"/>
              <a:gd name="connsiteY2" fmla="*/ 483577 h 483577"/>
              <a:gd name="connsiteX0" fmla="*/ 9152793 w 9152793"/>
              <a:gd name="connsiteY0" fmla="*/ 0 h 483577"/>
              <a:gd name="connsiteX1" fmla="*/ 693311 w 9152793"/>
              <a:gd name="connsiteY1" fmla="*/ 0 h 483577"/>
              <a:gd name="connsiteX2" fmla="*/ 1 w 9152793"/>
              <a:gd name="connsiteY2" fmla="*/ 483577 h 483577"/>
              <a:gd name="connsiteX0" fmla="*/ 9152794 w 9152794"/>
              <a:gd name="connsiteY0" fmla="*/ 0 h 483577"/>
              <a:gd name="connsiteX1" fmla="*/ 693312 w 9152794"/>
              <a:gd name="connsiteY1" fmla="*/ 0 h 483577"/>
              <a:gd name="connsiteX2" fmla="*/ 2 w 9152794"/>
              <a:gd name="connsiteY2" fmla="*/ 483577 h 483577"/>
              <a:gd name="connsiteX0" fmla="*/ 9152794 w 9152794"/>
              <a:gd name="connsiteY0" fmla="*/ 0 h 483577"/>
              <a:gd name="connsiteX1" fmla="*/ 693312 w 9152794"/>
              <a:gd name="connsiteY1" fmla="*/ 0 h 483577"/>
              <a:gd name="connsiteX2" fmla="*/ 2 w 9152794"/>
              <a:gd name="connsiteY2" fmla="*/ 483577 h 483577"/>
              <a:gd name="connsiteX0" fmla="*/ 9152793 w 9152793"/>
              <a:gd name="connsiteY0" fmla="*/ 0 h 483577"/>
              <a:gd name="connsiteX1" fmla="*/ 1194093 w 9152793"/>
              <a:gd name="connsiteY1" fmla="*/ 0 h 483577"/>
              <a:gd name="connsiteX2" fmla="*/ 1 w 9152793"/>
              <a:gd name="connsiteY2" fmla="*/ 483577 h 483577"/>
              <a:gd name="connsiteX0" fmla="*/ 9152793 w 9152793"/>
              <a:gd name="connsiteY0" fmla="*/ 6 h 483583"/>
              <a:gd name="connsiteX1" fmla="*/ 1194093 w 9152793"/>
              <a:gd name="connsiteY1" fmla="*/ 6 h 483583"/>
              <a:gd name="connsiteX2" fmla="*/ 1 w 9152793"/>
              <a:gd name="connsiteY2" fmla="*/ 483583 h 483583"/>
            </a:gdLst>
            <a:ahLst/>
            <a:cxnLst>
              <a:cxn ang="0">
                <a:pos x="connsiteX0" y="connsiteY0"/>
              </a:cxn>
              <a:cxn ang="0">
                <a:pos x="connsiteX1" y="connsiteY1"/>
              </a:cxn>
              <a:cxn ang="0">
                <a:pos x="connsiteX2" y="connsiteY2"/>
              </a:cxn>
            </a:cxnLst>
            <a:rect l="l" t="t" r="r" b="b"/>
            <a:pathLst>
              <a:path w="9152793" h="483583">
                <a:moveTo>
                  <a:pt x="9152793" y="6"/>
                </a:moveTo>
                <a:lnTo>
                  <a:pt x="1194093" y="6"/>
                </a:lnTo>
                <a:cubicBezTo>
                  <a:pt x="307457" y="-1924"/>
                  <a:pt x="-547" y="422221"/>
                  <a:pt x="1" y="483583"/>
                </a:cubicBezTo>
              </a:path>
            </a:pathLst>
          </a:custGeom>
          <a:noFill/>
          <a:ln w="25400">
            <a:solidFill>
              <a:srgbClr val="C5C4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800" dirty="0">
              <a:solidFill>
                <a:prstClr val="white"/>
              </a:solidFill>
            </a:endParaRPr>
          </a:p>
        </p:txBody>
      </p:sp>
      <p:pic>
        <p:nvPicPr>
          <p:cNvPr id="7" name="Picture 5" descr="D:\Dossier en cours\Publicis life brand\Afatinib\Photoshop\Font titre ss.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1113"/>
            <a:ext cx="9144000" cy="6858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Forme libre 10"/>
          <p:cNvSpPr/>
          <p:nvPr userDrawn="1"/>
        </p:nvSpPr>
        <p:spPr>
          <a:xfrm>
            <a:off x="-4762" y="1135063"/>
            <a:ext cx="9148763" cy="482600"/>
          </a:xfrm>
          <a:custGeom>
            <a:avLst/>
            <a:gdLst>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16607 h 500184"/>
              <a:gd name="connsiteX1" fmla="*/ 1081454 w 9152792"/>
              <a:gd name="connsiteY1" fmla="*/ 16607 h 500184"/>
              <a:gd name="connsiteX2" fmla="*/ 0 w 9152792"/>
              <a:gd name="connsiteY2" fmla="*/ 500184 h 500184"/>
              <a:gd name="connsiteX0" fmla="*/ 9152792 w 9152792"/>
              <a:gd name="connsiteY0" fmla="*/ 12701 h 496278"/>
              <a:gd name="connsiteX1" fmla="*/ 1081454 w 9152792"/>
              <a:gd name="connsiteY1" fmla="*/ 12701 h 496278"/>
              <a:gd name="connsiteX2" fmla="*/ 0 w 9152792"/>
              <a:gd name="connsiteY2" fmla="*/ 496278 h 496278"/>
              <a:gd name="connsiteX0" fmla="*/ 9152792 w 9152792"/>
              <a:gd name="connsiteY0" fmla="*/ 11655 h 495232"/>
              <a:gd name="connsiteX1" fmla="*/ 1081454 w 9152792"/>
              <a:gd name="connsiteY1" fmla="*/ 11655 h 495232"/>
              <a:gd name="connsiteX2" fmla="*/ 0 w 9152792"/>
              <a:gd name="connsiteY2" fmla="*/ 495232 h 495232"/>
              <a:gd name="connsiteX0" fmla="*/ 9152792 w 9152792"/>
              <a:gd name="connsiteY0" fmla="*/ 16945 h 500522"/>
              <a:gd name="connsiteX1" fmla="*/ 1081454 w 9152792"/>
              <a:gd name="connsiteY1" fmla="*/ 16945 h 500522"/>
              <a:gd name="connsiteX2" fmla="*/ 0 w 9152792"/>
              <a:gd name="connsiteY2" fmla="*/ 500522 h 500522"/>
              <a:gd name="connsiteX0" fmla="*/ 9152792 w 9152792"/>
              <a:gd name="connsiteY0" fmla="*/ 10597 h 494174"/>
              <a:gd name="connsiteX1" fmla="*/ 1081454 w 9152792"/>
              <a:gd name="connsiteY1" fmla="*/ 10597 h 494174"/>
              <a:gd name="connsiteX2" fmla="*/ 0 w 9152792"/>
              <a:gd name="connsiteY2" fmla="*/ 494174 h 494174"/>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784 h 484361"/>
              <a:gd name="connsiteX1" fmla="*/ 1081454 w 9152792"/>
              <a:gd name="connsiteY1" fmla="*/ 784 h 484361"/>
              <a:gd name="connsiteX2" fmla="*/ 0 w 9152792"/>
              <a:gd name="connsiteY2" fmla="*/ 484361 h 484361"/>
              <a:gd name="connsiteX0" fmla="*/ 9152792 w 9152792"/>
              <a:gd name="connsiteY0" fmla="*/ 453 h 484030"/>
              <a:gd name="connsiteX1" fmla="*/ 1081454 w 9152792"/>
              <a:gd name="connsiteY1" fmla="*/ 453 h 484030"/>
              <a:gd name="connsiteX2" fmla="*/ 0 w 9152792"/>
              <a:gd name="connsiteY2" fmla="*/ 484030 h 484030"/>
              <a:gd name="connsiteX0" fmla="*/ 9152792 w 9152792"/>
              <a:gd name="connsiteY0" fmla="*/ 0 h 483577"/>
              <a:gd name="connsiteX1" fmla="*/ 871904 w 9152792"/>
              <a:gd name="connsiteY1" fmla="*/ 4762 h 483577"/>
              <a:gd name="connsiteX2" fmla="*/ 0 w 9152792"/>
              <a:gd name="connsiteY2" fmla="*/ 483577 h 483577"/>
              <a:gd name="connsiteX0" fmla="*/ 9153535 w 9153535"/>
              <a:gd name="connsiteY0" fmla="*/ 0 h 483577"/>
              <a:gd name="connsiteX1" fmla="*/ 872647 w 9153535"/>
              <a:gd name="connsiteY1" fmla="*/ 4762 h 483577"/>
              <a:gd name="connsiteX2" fmla="*/ 743 w 9153535"/>
              <a:gd name="connsiteY2" fmla="*/ 483577 h 483577"/>
              <a:gd name="connsiteX0" fmla="*/ 9152792 w 9152792"/>
              <a:gd name="connsiteY0" fmla="*/ 0 h 483577"/>
              <a:gd name="connsiteX1" fmla="*/ 871904 w 9152792"/>
              <a:gd name="connsiteY1" fmla="*/ 4762 h 483577"/>
              <a:gd name="connsiteX2" fmla="*/ 0 w 9152792"/>
              <a:gd name="connsiteY2" fmla="*/ 483577 h 483577"/>
              <a:gd name="connsiteX0" fmla="*/ 9152792 w 9152792"/>
              <a:gd name="connsiteY0" fmla="*/ 0 h 483577"/>
              <a:gd name="connsiteX1" fmla="*/ 871904 w 9152792"/>
              <a:gd name="connsiteY1" fmla="*/ 4762 h 483577"/>
              <a:gd name="connsiteX2" fmla="*/ 0 w 9152792"/>
              <a:gd name="connsiteY2" fmla="*/ 483577 h 483577"/>
              <a:gd name="connsiteX0" fmla="*/ 9152792 w 9152792"/>
              <a:gd name="connsiteY0" fmla="*/ 0 h 483577"/>
              <a:gd name="connsiteX1" fmla="*/ 733791 w 9152792"/>
              <a:gd name="connsiteY1" fmla="*/ 2381 h 483577"/>
              <a:gd name="connsiteX2" fmla="*/ 0 w 9152792"/>
              <a:gd name="connsiteY2" fmla="*/ 483577 h 483577"/>
              <a:gd name="connsiteX0" fmla="*/ 9152792 w 9152792"/>
              <a:gd name="connsiteY0" fmla="*/ 0 h 483577"/>
              <a:gd name="connsiteX1" fmla="*/ 733791 w 9152792"/>
              <a:gd name="connsiteY1" fmla="*/ 2381 h 483577"/>
              <a:gd name="connsiteX2" fmla="*/ 0 w 9152792"/>
              <a:gd name="connsiteY2" fmla="*/ 483577 h 483577"/>
              <a:gd name="connsiteX0" fmla="*/ 9152792 w 9152792"/>
              <a:gd name="connsiteY0" fmla="*/ 164 h 483741"/>
              <a:gd name="connsiteX1" fmla="*/ 693310 w 9152792"/>
              <a:gd name="connsiteY1" fmla="*/ 164 h 483741"/>
              <a:gd name="connsiteX2" fmla="*/ 0 w 9152792"/>
              <a:gd name="connsiteY2" fmla="*/ 483741 h 483741"/>
              <a:gd name="connsiteX0" fmla="*/ 9152792 w 9152792"/>
              <a:gd name="connsiteY0" fmla="*/ 9 h 483586"/>
              <a:gd name="connsiteX1" fmla="*/ 693310 w 9152792"/>
              <a:gd name="connsiteY1" fmla="*/ 9 h 483586"/>
              <a:gd name="connsiteX2" fmla="*/ 0 w 9152792"/>
              <a:gd name="connsiteY2" fmla="*/ 483586 h 483586"/>
              <a:gd name="connsiteX0" fmla="*/ 9152792 w 9152792"/>
              <a:gd name="connsiteY0" fmla="*/ 0 h 483577"/>
              <a:gd name="connsiteX1" fmla="*/ 693310 w 9152792"/>
              <a:gd name="connsiteY1" fmla="*/ 0 h 483577"/>
              <a:gd name="connsiteX2" fmla="*/ 0 w 9152792"/>
              <a:gd name="connsiteY2" fmla="*/ 483577 h 483577"/>
              <a:gd name="connsiteX0" fmla="*/ 9152793 w 9152793"/>
              <a:gd name="connsiteY0" fmla="*/ 0 h 483577"/>
              <a:gd name="connsiteX1" fmla="*/ 693311 w 9152793"/>
              <a:gd name="connsiteY1" fmla="*/ 0 h 483577"/>
              <a:gd name="connsiteX2" fmla="*/ 1 w 9152793"/>
              <a:gd name="connsiteY2" fmla="*/ 483577 h 483577"/>
              <a:gd name="connsiteX0" fmla="*/ 9152794 w 9152794"/>
              <a:gd name="connsiteY0" fmla="*/ 0 h 483577"/>
              <a:gd name="connsiteX1" fmla="*/ 693312 w 9152794"/>
              <a:gd name="connsiteY1" fmla="*/ 0 h 483577"/>
              <a:gd name="connsiteX2" fmla="*/ 2 w 9152794"/>
              <a:gd name="connsiteY2" fmla="*/ 483577 h 483577"/>
              <a:gd name="connsiteX0" fmla="*/ 9152794 w 9152794"/>
              <a:gd name="connsiteY0" fmla="*/ 0 h 483577"/>
              <a:gd name="connsiteX1" fmla="*/ 693312 w 9152794"/>
              <a:gd name="connsiteY1" fmla="*/ 0 h 483577"/>
              <a:gd name="connsiteX2" fmla="*/ 2 w 9152794"/>
              <a:gd name="connsiteY2" fmla="*/ 483577 h 483577"/>
            </a:gdLst>
            <a:ahLst/>
            <a:cxnLst>
              <a:cxn ang="0">
                <a:pos x="connsiteX0" y="connsiteY0"/>
              </a:cxn>
              <a:cxn ang="0">
                <a:pos x="connsiteX1" y="connsiteY1"/>
              </a:cxn>
              <a:cxn ang="0">
                <a:pos x="connsiteX2" y="connsiteY2"/>
              </a:cxn>
            </a:cxnLst>
            <a:rect l="l" t="t" r="r" b="b"/>
            <a:pathLst>
              <a:path w="9152794" h="483577">
                <a:moveTo>
                  <a:pt x="9152794" y="0"/>
                </a:moveTo>
                <a:lnTo>
                  <a:pt x="693312" y="0"/>
                </a:lnTo>
                <a:cubicBezTo>
                  <a:pt x="135314" y="292"/>
                  <a:pt x="-546" y="422215"/>
                  <a:pt x="2" y="483577"/>
                </a:cubicBezTo>
              </a:path>
            </a:pathLst>
          </a:custGeom>
          <a:noFill/>
          <a:ln w="25400">
            <a:solidFill>
              <a:srgbClr val="C5C4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800" dirty="0">
              <a:solidFill>
                <a:prstClr val="white"/>
              </a:solidFill>
            </a:endParaRPr>
          </a:p>
        </p:txBody>
      </p:sp>
      <p:sp>
        <p:nvSpPr>
          <p:cNvPr id="9" name="Forme libre 11"/>
          <p:cNvSpPr/>
          <p:nvPr userDrawn="1"/>
        </p:nvSpPr>
        <p:spPr>
          <a:xfrm>
            <a:off x="-4763" y="3394075"/>
            <a:ext cx="7640638" cy="711200"/>
          </a:xfrm>
          <a:custGeom>
            <a:avLst/>
            <a:gdLst>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16607 h 500184"/>
              <a:gd name="connsiteX1" fmla="*/ 1081454 w 9152792"/>
              <a:gd name="connsiteY1" fmla="*/ 16607 h 500184"/>
              <a:gd name="connsiteX2" fmla="*/ 0 w 9152792"/>
              <a:gd name="connsiteY2" fmla="*/ 500184 h 500184"/>
              <a:gd name="connsiteX0" fmla="*/ 9152792 w 9152792"/>
              <a:gd name="connsiteY0" fmla="*/ 12701 h 496278"/>
              <a:gd name="connsiteX1" fmla="*/ 1081454 w 9152792"/>
              <a:gd name="connsiteY1" fmla="*/ 12701 h 496278"/>
              <a:gd name="connsiteX2" fmla="*/ 0 w 9152792"/>
              <a:gd name="connsiteY2" fmla="*/ 496278 h 496278"/>
              <a:gd name="connsiteX0" fmla="*/ 9152792 w 9152792"/>
              <a:gd name="connsiteY0" fmla="*/ 11655 h 495232"/>
              <a:gd name="connsiteX1" fmla="*/ 1081454 w 9152792"/>
              <a:gd name="connsiteY1" fmla="*/ 11655 h 495232"/>
              <a:gd name="connsiteX2" fmla="*/ 0 w 9152792"/>
              <a:gd name="connsiteY2" fmla="*/ 495232 h 495232"/>
              <a:gd name="connsiteX0" fmla="*/ 9152792 w 9152792"/>
              <a:gd name="connsiteY0" fmla="*/ 16945 h 500522"/>
              <a:gd name="connsiteX1" fmla="*/ 1081454 w 9152792"/>
              <a:gd name="connsiteY1" fmla="*/ 16945 h 500522"/>
              <a:gd name="connsiteX2" fmla="*/ 0 w 9152792"/>
              <a:gd name="connsiteY2" fmla="*/ 500522 h 500522"/>
              <a:gd name="connsiteX0" fmla="*/ 9152792 w 9152792"/>
              <a:gd name="connsiteY0" fmla="*/ 10597 h 494174"/>
              <a:gd name="connsiteX1" fmla="*/ 1081454 w 9152792"/>
              <a:gd name="connsiteY1" fmla="*/ 10597 h 494174"/>
              <a:gd name="connsiteX2" fmla="*/ 0 w 9152792"/>
              <a:gd name="connsiteY2" fmla="*/ 494174 h 494174"/>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784 h 484361"/>
              <a:gd name="connsiteX1" fmla="*/ 1081454 w 9152792"/>
              <a:gd name="connsiteY1" fmla="*/ 784 h 484361"/>
              <a:gd name="connsiteX2" fmla="*/ 0 w 9152792"/>
              <a:gd name="connsiteY2" fmla="*/ 484361 h 484361"/>
              <a:gd name="connsiteX0" fmla="*/ 9152792 w 9152792"/>
              <a:gd name="connsiteY0" fmla="*/ 453 h 484030"/>
              <a:gd name="connsiteX1" fmla="*/ 1081454 w 9152792"/>
              <a:gd name="connsiteY1" fmla="*/ 453 h 484030"/>
              <a:gd name="connsiteX2" fmla="*/ 0 w 9152792"/>
              <a:gd name="connsiteY2" fmla="*/ 484030 h 484030"/>
              <a:gd name="connsiteX0" fmla="*/ 9152792 w 9152792"/>
              <a:gd name="connsiteY0" fmla="*/ 0 h 483577"/>
              <a:gd name="connsiteX1" fmla="*/ 871904 w 9152792"/>
              <a:gd name="connsiteY1" fmla="*/ 4762 h 483577"/>
              <a:gd name="connsiteX2" fmla="*/ 0 w 9152792"/>
              <a:gd name="connsiteY2" fmla="*/ 483577 h 483577"/>
              <a:gd name="connsiteX0" fmla="*/ 9153535 w 9153535"/>
              <a:gd name="connsiteY0" fmla="*/ 0 h 483577"/>
              <a:gd name="connsiteX1" fmla="*/ 872647 w 9153535"/>
              <a:gd name="connsiteY1" fmla="*/ 4762 h 483577"/>
              <a:gd name="connsiteX2" fmla="*/ 743 w 9153535"/>
              <a:gd name="connsiteY2" fmla="*/ 483577 h 483577"/>
              <a:gd name="connsiteX0" fmla="*/ 9152792 w 9152792"/>
              <a:gd name="connsiteY0" fmla="*/ 0 h 483577"/>
              <a:gd name="connsiteX1" fmla="*/ 871904 w 9152792"/>
              <a:gd name="connsiteY1" fmla="*/ 4762 h 483577"/>
              <a:gd name="connsiteX2" fmla="*/ 0 w 9152792"/>
              <a:gd name="connsiteY2" fmla="*/ 483577 h 483577"/>
              <a:gd name="connsiteX0" fmla="*/ 9152792 w 9152792"/>
              <a:gd name="connsiteY0" fmla="*/ 0 h 483577"/>
              <a:gd name="connsiteX1" fmla="*/ 871904 w 9152792"/>
              <a:gd name="connsiteY1" fmla="*/ 4762 h 483577"/>
              <a:gd name="connsiteX2" fmla="*/ 0 w 9152792"/>
              <a:gd name="connsiteY2" fmla="*/ 483577 h 483577"/>
              <a:gd name="connsiteX0" fmla="*/ 9152792 w 9152792"/>
              <a:gd name="connsiteY0" fmla="*/ 0 h 483577"/>
              <a:gd name="connsiteX1" fmla="*/ 733791 w 9152792"/>
              <a:gd name="connsiteY1" fmla="*/ 2381 h 483577"/>
              <a:gd name="connsiteX2" fmla="*/ 0 w 9152792"/>
              <a:gd name="connsiteY2" fmla="*/ 483577 h 483577"/>
              <a:gd name="connsiteX0" fmla="*/ 9152792 w 9152792"/>
              <a:gd name="connsiteY0" fmla="*/ 0 h 483577"/>
              <a:gd name="connsiteX1" fmla="*/ 733791 w 9152792"/>
              <a:gd name="connsiteY1" fmla="*/ 2381 h 483577"/>
              <a:gd name="connsiteX2" fmla="*/ 0 w 9152792"/>
              <a:gd name="connsiteY2" fmla="*/ 483577 h 483577"/>
              <a:gd name="connsiteX0" fmla="*/ 9152792 w 9152792"/>
              <a:gd name="connsiteY0" fmla="*/ 164 h 483741"/>
              <a:gd name="connsiteX1" fmla="*/ 693310 w 9152792"/>
              <a:gd name="connsiteY1" fmla="*/ 164 h 483741"/>
              <a:gd name="connsiteX2" fmla="*/ 0 w 9152792"/>
              <a:gd name="connsiteY2" fmla="*/ 483741 h 483741"/>
              <a:gd name="connsiteX0" fmla="*/ 9152792 w 9152792"/>
              <a:gd name="connsiteY0" fmla="*/ 9 h 483586"/>
              <a:gd name="connsiteX1" fmla="*/ 693310 w 9152792"/>
              <a:gd name="connsiteY1" fmla="*/ 9 h 483586"/>
              <a:gd name="connsiteX2" fmla="*/ 0 w 9152792"/>
              <a:gd name="connsiteY2" fmla="*/ 483586 h 483586"/>
              <a:gd name="connsiteX0" fmla="*/ 9152792 w 9152792"/>
              <a:gd name="connsiteY0" fmla="*/ 0 h 483577"/>
              <a:gd name="connsiteX1" fmla="*/ 693310 w 9152792"/>
              <a:gd name="connsiteY1" fmla="*/ 0 h 483577"/>
              <a:gd name="connsiteX2" fmla="*/ 0 w 9152792"/>
              <a:gd name="connsiteY2" fmla="*/ 483577 h 483577"/>
              <a:gd name="connsiteX0" fmla="*/ 9152793 w 9152793"/>
              <a:gd name="connsiteY0" fmla="*/ 0 h 483577"/>
              <a:gd name="connsiteX1" fmla="*/ 693311 w 9152793"/>
              <a:gd name="connsiteY1" fmla="*/ 0 h 483577"/>
              <a:gd name="connsiteX2" fmla="*/ 1 w 9152793"/>
              <a:gd name="connsiteY2" fmla="*/ 483577 h 483577"/>
              <a:gd name="connsiteX0" fmla="*/ 9152794 w 9152794"/>
              <a:gd name="connsiteY0" fmla="*/ 0 h 483577"/>
              <a:gd name="connsiteX1" fmla="*/ 693312 w 9152794"/>
              <a:gd name="connsiteY1" fmla="*/ 0 h 483577"/>
              <a:gd name="connsiteX2" fmla="*/ 2 w 9152794"/>
              <a:gd name="connsiteY2" fmla="*/ 483577 h 483577"/>
              <a:gd name="connsiteX0" fmla="*/ 9152794 w 9152794"/>
              <a:gd name="connsiteY0" fmla="*/ 0 h 483577"/>
              <a:gd name="connsiteX1" fmla="*/ 693312 w 9152794"/>
              <a:gd name="connsiteY1" fmla="*/ 0 h 483577"/>
              <a:gd name="connsiteX2" fmla="*/ 2 w 9152794"/>
              <a:gd name="connsiteY2" fmla="*/ 483577 h 483577"/>
              <a:gd name="connsiteX0" fmla="*/ 9152793 w 9152793"/>
              <a:gd name="connsiteY0" fmla="*/ 0 h 483577"/>
              <a:gd name="connsiteX1" fmla="*/ 1194093 w 9152793"/>
              <a:gd name="connsiteY1" fmla="*/ 0 h 483577"/>
              <a:gd name="connsiteX2" fmla="*/ 1 w 9152793"/>
              <a:gd name="connsiteY2" fmla="*/ 483577 h 483577"/>
              <a:gd name="connsiteX0" fmla="*/ 9152793 w 9152793"/>
              <a:gd name="connsiteY0" fmla="*/ 6 h 483583"/>
              <a:gd name="connsiteX1" fmla="*/ 1194093 w 9152793"/>
              <a:gd name="connsiteY1" fmla="*/ 6 h 483583"/>
              <a:gd name="connsiteX2" fmla="*/ 1 w 9152793"/>
              <a:gd name="connsiteY2" fmla="*/ 483583 h 483583"/>
            </a:gdLst>
            <a:ahLst/>
            <a:cxnLst>
              <a:cxn ang="0">
                <a:pos x="connsiteX0" y="connsiteY0"/>
              </a:cxn>
              <a:cxn ang="0">
                <a:pos x="connsiteX1" y="connsiteY1"/>
              </a:cxn>
              <a:cxn ang="0">
                <a:pos x="connsiteX2" y="connsiteY2"/>
              </a:cxn>
            </a:cxnLst>
            <a:rect l="l" t="t" r="r" b="b"/>
            <a:pathLst>
              <a:path w="9152793" h="483583">
                <a:moveTo>
                  <a:pt x="9152793" y="6"/>
                </a:moveTo>
                <a:lnTo>
                  <a:pt x="1194093" y="6"/>
                </a:lnTo>
                <a:cubicBezTo>
                  <a:pt x="307457" y="-1924"/>
                  <a:pt x="-547" y="422221"/>
                  <a:pt x="1" y="483583"/>
                </a:cubicBezTo>
              </a:path>
            </a:pathLst>
          </a:custGeom>
          <a:noFill/>
          <a:ln w="25400">
            <a:solidFill>
              <a:srgbClr val="C5C4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800" dirty="0">
              <a:solidFill>
                <a:prstClr val="white"/>
              </a:solidFill>
            </a:endParaRPr>
          </a:p>
        </p:txBody>
      </p:sp>
      <p:grpSp>
        <p:nvGrpSpPr>
          <p:cNvPr id="10" name="Groupe 12"/>
          <p:cNvGrpSpPr>
            <a:grpSpLocks/>
          </p:cNvGrpSpPr>
          <p:nvPr userDrawn="1"/>
        </p:nvGrpSpPr>
        <p:grpSpPr bwMode="auto">
          <a:xfrm>
            <a:off x="7380289" y="5924550"/>
            <a:ext cx="1773237" cy="933450"/>
            <a:chOff x="7381057" y="5924667"/>
            <a:chExt cx="1771996" cy="933333"/>
          </a:xfrm>
        </p:grpSpPr>
        <p:pic>
          <p:nvPicPr>
            <p:cNvPr id="11" name="Picture 5" descr="D:\Dossier en cours\Publicis life brand\Bi Call\Photoshop\NEW GIOTRIF_2013.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496117" y="6276286"/>
              <a:ext cx="1484710" cy="447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à coins arrondis 11"/>
            <p:cNvSpPr/>
            <p:nvPr userDrawn="1"/>
          </p:nvSpPr>
          <p:spPr>
            <a:xfrm>
              <a:off x="7381057" y="5924667"/>
              <a:ext cx="1771996" cy="933333"/>
            </a:xfrm>
            <a:custGeom>
              <a:avLst/>
              <a:gdLst>
                <a:gd name="connsiteX0" fmla="*/ 2527300 w 2618740"/>
                <a:gd name="connsiteY0" fmla="*/ 1331162 h 1422602"/>
                <a:gd name="connsiteX1" fmla="*/ 0 w 2618740"/>
                <a:gd name="connsiteY1" fmla="*/ 1331162 h 1422602"/>
                <a:gd name="connsiteX2" fmla="*/ 0 w 2618740"/>
                <a:gd name="connsiteY2" fmla="*/ 402109 h 1422602"/>
                <a:gd name="connsiteX3" fmla="*/ 108439 w 2618740"/>
                <a:gd name="connsiteY3" fmla="*/ 293670 h 1422602"/>
                <a:gd name="connsiteX4" fmla="*/ 2005806 w 2618740"/>
                <a:gd name="connsiteY4" fmla="*/ 292651 h 1422602"/>
                <a:gd name="connsiteX5" fmla="*/ 2527300 w 2618740"/>
                <a:gd name="connsiteY5" fmla="*/ 0 h 1422602"/>
                <a:gd name="connsiteX6" fmla="*/ 2618740 w 2618740"/>
                <a:gd name="connsiteY6" fmla="*/ 1422602 h 1422602"/>
                <a:gd name="connsiteX0" fmla="*/ 0 w 2618740"/>
                <a:gd name="connsiteY0" fmla="*/ 1331162 h 1422602"/>
                <a:gd name="connsiteX1" fmla="*/ 0 w 2618740"/>
                <a:gd name="connsiteY1" fmla="*/ 402109 h 1422602"/>
                <a:gd name="connsiteX2" fmla="*/ 108439 w 2618740"/>
                <a:gd name="connsiteY2" fmla="*/ 293670 h 1422602"/>
                <a:gd name="connsiteX3" fmla="*/ 2005806 w 2618740"/>
                <a:gd name="connsiteY3" fmla="*/ 292651 h 1422602"/>
                <a:gd name="connsiteX4" fmla="*/ 2527300 w 2618740"/>
                <a:gd name="connsiteY4" fmla="*/ 0 h 1422602"/>
                <a:gd name="connsiteX5" fmla="*/ 2618740 w 2618740"/>
                <a:gd name="connsiteY5" fmla="*/ 1422602 h 1422602"/>
                <a:gd name="connsiteX0" fmla="*/ 0 w 2527300"/>
                <a:gd name="connsiteY0" fmla="*/ 1331162 h 1331162"/>
                <a:gd name="connsiteX1" fmla="*/ 0 w 2527300"/>
                <a:gd name="connsiteY1" fmla="*/ 402109 h 1331162"/>
                <a:gd name="connsiteX2" fmla="*/ 108439 w 2527300"/>
                <a:gd name="connsiteY2" fmla="*/ 293670 h 1331162"/>
                <a:gd name="connsiteX3" fmla="*/ 2005806 w 2527300"/>
                <a:gd name="connsiteY3" fmla="*/ 292651 h 1331162"/>
                <a:gd name="connsiteX4" fmla="*/ 2527300 w 2527300"/>
                <a:gd name="connsiteY4" fmla="*/ 0 h 1331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300" h="1331162">
                  <a:moveTo>
                    <a:pt x="0" y="1331162"/>
                  </a:moveTo>
                  <a:lnTo>
                    <a:pt x="0" y="402109"/>
                  </a:lnTo>
                  <a:cubicBezTo>
                    <a:pt x="0" y="342220"/>
                    <a:pt x="48550" y="293670"/>
                    <a:pt x="108439" y="293670"/>
                  </a:cubicBezTo>
                  <a:lnTo>
                    <a:pt x="2005806" y="292651"/>
                  </a:lnTo>
                  <a:cubicBezTo>
                    <a:pt x="2213883" y="283043"/>
                    <a:pt x="2395690" y="172977"/>
                    <a:pt x="2527300" y="0"/>
                  </a:cubicBezTo>
                </a:path>
              </a:pathLst>
            </a:custGeom>
            <a:noFill/>
            <a:ln w="19050">
              <a:solidFill>
                <a:srgbClr val="C5C4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800" dirty="0">
                <a:solidFill>
                  <a:prstClr val="white"/>
                </a:solidFill>
              </a:endParaRPr>
            </a:p>
          </p:txBody>
        </p:sp>
        <p:sp>
          <p:nvSpPr>
            <p:cNvPr id="13" name="ZoneTexte 15"/>
            <p:cNvSpPr txBox="1">
              <a:spLocks noChangeArrowheads="1"/>
            </p:cNvSpPr>
            <p:nvPr userDrawn="1"/>
          </p:nvSpPr>
          <p:spPr bwMode="auto">
            <a:xfrm>
              <a:off x="8897645" y="6215144"/>
              <a:ext cx="184602" cy="169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fontAlgn="base">
                <a:spcBef>
                  <a:spcPct val="0"/>
                </a:spcBef>
                <a:spcAft>
                  <a:spcPct val="0"/>
                </a:spcAft>
                <a:defRPr/>
              </a:pPr>
              <a:endParaRPr lang="fr-FR" altLang="zh-CN" sz="500" dirty="0">
                <a:solidFill>
                  <a:srgbClr val="7F7F7F"/>
                </a:solidFill>
                <a:ea typeface="宋体" pitchFamily="2" charset="-122"/>
              </a:endParaRPr>
            </a:p>
          </p:txBody>
        </p:sp>
      </p:grpSp>
      <p:sp>
        <p:nvSpPr>
          <p:cNvPr id="14" name="TextBox 21"/>
          <p:cNvSpPr txBox="1"/>
          <p:nvPr userDrawn="1"/>
        </p:nvSpPr>
        <p:spPr>
          <a:xfrm>
            <a:off x="8683625" y="6624640"/>
            <a:ext cx="474663" cy="231775"/>
          </a:xfrm>
          <a:prstGeom prst="rect">
            <a:avLst/>
          </a:prstGeom>
          <a:noFill/>
        </p:spPr>
        <p:txBody>
          <a:bodyP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r" fontAlgn="base">
              <a:spcBef>
                <a:spcPct val="0"/>
              </a:spcBef>
              <a:spcAft>
                <a:spcPct val="0"/>
              </a:spcAft>
              <a:defRPr/>
            </a:pPr>
            <a:fld id="{2E35D714-30ED-4DAB-A468-2F086AB29452}" type="slidenum">
              <a:rPr lang="en-US" altLang="zh-CN" sz="900" smtClean="0">
                <a:solidFill>
                  <a:srgbClr val="717073"/>
                </a:solidFill>
                <a:ea typeface="宋体" pitchFamily="2" charset="-122"/>
              </a:rPr>
              <a:pPr algn="r" fontAlgn="base">
                <a:spcBef>
                  <a:spcPct val="0"/>
                </a:spcBef>
                <a:spcAft>
                  <a:spcPct val="0"/>
                </a:spcAft>
                <a:defRPr/>
              </a:pPr>
              <a:t>‹#›</a:t>
            </a:fld>
            <a:endParaRPr lang="en-US" altLang="zh-CN" sz="900">
              <a:solidFill>
                <a:srgbClr val="717073"/>
              </a:solidFill>
              <a:ea typeface="宋体" pitchFamily="2" charset="-122"/>
            </a:endParaRPr>
          </a:p>
        </p:txBody>
      </p:sp>
      <p:sp>
        <p:nvSpPr>
          <p:cNvPr id="2" name="Titre 1"/>
          <p:cNvSpPr>
            <a:spLocks noGrp="1"/>
          </p:cNvSpPr>
          <p:nvPr>
            <p:ph type="ctrTitle"/>
          </p:nvPr>
        </p:nvSpPr>
        <p:spPr>
          <a:xfrm>
            <a:off x="1696915" y="1961760"/>
            <a:ext cx="6339264" cy="1243417"/>
          </a:xfrm>
        </p:spPr>
        <p:txBody>
          <a:bodyPr anchor="b"/>
          <a:lstStyle>
            <a:lvl1pPr algn="l">
              <a:defRPr sz="4400" b="1">
                <a:solidFill>
                  <a:srgbClr val="C5C43C"/>
                </a:solidFill>
                <a:latin typeface="SimSun-ExtB" panose="02010609060101010101" pitchFamily="49" charset="-122"/>
                <a:ea typeface="SimSun-ExtB" panose="02010609060101010101" pitchFamily="49" charset="-122"/>
                <a:cs typeface="Arial" pitchFamily="34" charset="0"/>
              </a:defRPr>
            </a:lvl1pPr>
          </a:lstStyle>
          <a:p>
            <a:r>
              <a:rPr lang="zh-CN" altLang="en-US" dirty="0"/>
              <a:t>单击此处编辑母版标题样式</a:t>
            </a:r>
            <a:endParaRPr lang="fr-FR" dirty="0"/>
          </a:p>
        </p:txBody>
      </p:sp>
      <p:sp>
        <p:nvSpPr>
          <p:cNvPr id="3" name="Sous-titre 2"/>
          <p:cNvSpPr>
            <a:spLocks noGrp="1"/>
          </p:cNvSpPr>
          <p:nvPr>
            <p:ph type="subTitle" idx="1"/>
          </p:nvPr>
        </p:nvSpPr>
        <p:spPr>
          <a:xfrm>
            <a:off x="1696915" y="3569688"/>
            <a:ext cx="5996357" cy="1752600"/>
          </a:xfrm>
        </p:spPr>
        <p:txBody>
          <a:bodyPr>
            <a:normAutofit/>
          </a:bodyPr>
          <a:lstStyle>
            <a:lvl1pPr marL="0" indent="0" algn="r">
              <a:buNone/>
              <a:defRPr sz="1800">
                <a:solidFill>
                  <a:srgbClr val="1CBEC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fr-FR" dirty="0"/>
          </a:p>
        </p:txBody>
      </p:sp>
    </p:spTree>
    <p:extLst>
      <p:ext uri="{BB962C8B-B14F-4D97-AF65-F5344CB8AC3E}">
        <p14:creationId xmlns:p14="http://schemas.microsoft.com/office/powerpoint/2010/main" val="2675691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3" name="Content Placeholder 2"/>
          <p:cNvSpPr>
            <a:spLocks noGrp="1"/>
          </p:cNvSpPr>
          <p:nvPr>
            <p:ph idx="1"/>
          </p:nvPr>
        </p:nvSpPr>
        <p:spPr>
          <a:xfrm>
            <a:off x="578195" y="1380026"/>
            <a:ext cx="7970410" cy="1293175"/>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Title 3"/>
          <p:cNvSpPr>
            <a:spLocks noGrp="1"/>
          </p:cNvSpPr>
          <p:nvPr>
            <p:ph type="title"/>
          </p:nvPr>
        </p:nvSpPr>
        <p:spPr>
          <a:xfrm>
            <a:off x="578193" y="471840"/>
            <a:ext cx="7479120" cy="406009"/>
          </a:xfrm>
        </p:spPr>
        <p:txBody>
          <a:bodyPr/>
          <a:lstStyle>
            <a:lvl1pPr>
              <a:defRPr sz="2398"/>
            </a:lvl1pPr>
          </a:lstStyle>
          <a:p>
            <a:r>
              <a:rPr lang="zh-CN" altLang="en-US"/>
              <a:t>单击此处编辑母版标题样式</a:t>
            </a:r>
            <a:endParaRPr lang="en-US" dirty="0"/>
          </a:p>
        </p:txBody>
      </p:sp>
      <p:sp>
        <p:nvSpPr>
          <p:cNvPr id="7" name="Content Placeholder 6"/>
          <p:cNvSpPr>
            <a:spLocks noGrp="1"/>
          </p:cNvSpPr>
          <p:nvPr>
            <p:ph sz="quarter" idx="10"/>
          </p:nvPr>
        </p:nvSpPr>
        <p:spPr>
          <a:xfrm>
            <a:off x="579247" y="6311649"/>
            <a:ext cx="7989619" cy="196977"/>
          </a:xfrm>
        </p:spPr>
        <p:txBody>
          <a:bodyPr/>
          <a:lstStyle>
            <a:lvl1pPr marL="0" indent="0">
              <a:buNone/>
              <a:defRPr sz="800"/>
            </a:lvl1pPr>
          </a:lstStyle>
          <a:p>
            <a:pPr lvl="0"/>
            <a:r>
              <a:rPr lang="zh-CN" altLang="en-US"/>
              <a:t>编辑母版文本样式</a:t>
            </a:r>
          </a:p>
        </p:txBody>
      </p:sp>
    </p:spTree>
    <p:extLst>
      <p:ext uri="{BB962C8B-B14F-4D97-AF65-F5344CB8AC3E}">
        <p14:creationId xmlns:p14="http://schemas.microsoft.com/office/powerpoint/2010/main" val="19937154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仅标题">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530820CF-B880-4189-942D-D702A7CBA730}" type="datetimeFigureOut">
              <a:rPr lang="zh-CN" altLang="en-US" smtClean="0"/>
              <a:pPr/>
              <a:t>2020/5/12</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pPr/>
              <a:t>‹#›</a:t>
            </a:fld>
            <a:endParaRPr lang="zh-CN" altLang="en-US"/>
          </a:p>
        </p:txBody>
      </p:sp>
      <p:sp>
        <p:nvSpPr>
          <p:cNvPr id="6" name="标题 1"/>
          <p:cNvSpPr>
            <a:spLocks noGrp="1"/>
          </p:cNvSpPr>
          <p:nvPr>
            <p:ph type="title"/>
          </p:nvPr>
        </p:nvSpPr>
        <p:spPr>
          <a:xfrm>
            <a:off x="1331640" y="164638"/>
            <a:ext cx="7355160" cy="950978"/>
          </a:xfrm>
          <a:prstGeom prst="rect">
            <a:avLst/>
          </a:prstGeom>
        </p:spPr>
        <p:txBody>
          <a:bodyPr vert="horz" lIns="91440" tIns="45720" rIns="91440" bIns="45720" rtlCol="0" anchor="ctr">
            <a:normAutofit/>
          </a:bodyPr>
          <a:lstStyle>
            <a:lvl1pPr>
              <a:defRPr lang="zh-CN" altLang="en-US" sz="2400"/>
            </a:lvl1pPr>
          </a:lstStyle>
          <a:p>
            <a:pPr lvl="0"/>
            <a:endParaRPr lang="zh-CN" altLang="en-US" dirty="0"/>
          </a:p>
        </p:txBody>
      </p:sp>
    </p:spTree>
    <p:extLst>
      <p:ext uri="{BB962C8B-B14F-4D97-AF65-F5344CB8AC3E}">
        <p14:creationId xmlns:p14="http://schemas.microsoft.com/office/powerpoint/2010/main" val="33156564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8194" y="452093"/>
            <a:ext cx="7479120" cy="445507"/>
          </a:xfrm>
        </p:spPr>
        <p:txBody>
          <a:bodyPr/>
          <a:lstStyle/>
          <a:p>
            <a:r>
              <a:rPr lang="en-US" dirty="0"/>
              <a:t>Click to edit Master title style</a:t>
            </a:r>
          </a:p>
        </p:txBody>
      </p:sp>
      <p:sp>
        <p:nvSpPr>
          <p:cNvPr id="5" name="Content Placeholder 6"/>
          <p:cNvSpPr>
            <a:spLocks noGrp="1"/>
          </p:cNvSpPr>
          <p:nvPr>
            <p:ph sz="quarter" idx="10"/>
          </p:nvPr>
        </p:nvSpPr>
        <p:spPr>
          <a:xfrm>
            <a:off x="579248" y="6277816"/>
            <a:ext cx="8004367" cy="196977"/>
          </a:xfrm>
        </p:spPr>
        <p:txBody>
          <a:bodyPr/>
          <a:lstStyle>
            <a:lvl1pPr marL="0" indent="0">
              <a:spcBef>
                <a:spcPts val="0"/>
              </a:spcBef>
              <a:buNone/>
              <a:defRPr sz="800"/>
            </a:lvl1pPr>
          </a:lstStyle>
          <a:p>
            <a:pPr lvl="0"/>
            <a:r>
              <a:rPr lang="en-US" dirty="0"/>
              <a:t>Click to edit Master text styles</a:t>
            </a:r>
          </a:p>
        </p:txBody>
      </p:sp>
    </p:spTree>
    <p:extLst>
      <p:ext uri="{BB962C8B-B14F-4D97-AF65-F5344CB8AC3E}">
        <p14:creationId xmlns:p14="http://schemas.microsoft.com/office/powerpoint/2010/main" val="13609550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78196" y="1380028"/>
            <a:ext cx="7970410" cy="1293175"/>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Title 3"/>
          <p:cNvSpPr>
            <a:spLocks noGrp="1"/>
          </p:cNvSpPr>
          <p:nvPr>
            <p:ph type="title"/>
          </p:nvPr>
        </p:nvSpPr>
        <p:spPr>
          <a:xfrm>
            <a:off x="578193" y="511019"/>
            <a:ext cx="7479120" cy="327654"/>
          </a:xfrm>
        </p:spPr>
        <p:txBody>
          <a:bodyPr/>
          <a:lstStyle>
            <a:lvl1pPr>
              <a:defRPr sz="1799"/>
            </a:lvl1pPr>
          </a:lstStyle>
          <a:p>
            <a:r>
              <a:rPr lang="zh-CN" altLang="en-US"/>
              <a:t>单击此处编辑母版标题样式</a:t>
            </a:r>
            <a:endParaRPr lang="en-US" dirty="0"/>
          </a:p>
        </p:txBody>
      </p:sp>
      <p:sp>
        <p:nvSpPr>
          <p:cNvPr id="7" name="Content Placeholder 6"/>
          <p:cNvSpPr>
            <a:spLocks noGrp="1"/>
          </p:cNvSpPr>
          <p:nvPr>
            <p:ph sz="quarter" idx="10"/>
          </p:nvPr>
        </p:nvSpPr>
        <p:spPr>
          <a:xfrm>
            <a:off x="579248" y="6311651"/>
            <a:ext cx="7989619" cy="170816"/>
          </a:xfrm>
        </p:spPr>
        <p:txBody>
          <a:bodyPr/>
          <a:lstStyle>
            <a:lvl1pPr marL="0" indent="0">
              <a:buNone/>
              <a:defRPr sz="600"/>
            </a:lvl1pPr>
          </a:lstStyle>
          <a:p>
            <a:pPr lvl="0"/>
            <a:r>
              <a:rPr lang="zh-CN" altLang="en-US"/>
              <a:t>编辑母版文本样式</a:t>
            </a:r>
          </a:p>
        </p:txBody>
      </p:sp>
    </p:spTree>
    <p:extLst>
      <p:ext uri="{BB962C8B-B14F-4D97-AF65-F5344CB8AC3E}">
        <p14:creationId xmlns:p14="http://schemas.microsoft.com/office/powerpoint/2010/main" val="25864926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78196" y="1380028"/>
            <a:ext cx="7970410" cy="1293175"/>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Title 3"/>
          <p:cNvSpPr>
            <a:spLocks noGrp="1"/>
          </p:cNvSpPr>
          <p:nvPr>
            <p:ph type="title"/>
          </p:nvPr>
        </p:nvSpPr>
        <p:spPr>
          <a:xfrm>
            <a:off x="578193" y="511019"/>
            <a:ext cx="7479120" cy="327654"/>
          </a:xfrm>
        </p:spPr>
        <p:txBody>
          <a:bodyPr/>
          <a:lstStyle>
            <a:lvl1pPr>
              <a:defRPr sz="1799"/>
            </a:lvl1pPr>
          </a:lstStyle>
          <a:p>
            <a:r>
              <a:rPr lang="zh-CN" altLang="en-US"/>
              <a:t>单击此处编辑母版标题样式</a:t>
            </a:r>
            <a:endParaRPr lang="en-US" dirty="0"/>
          </a:p>
        </p:txBody>
      </p:sp>
      <p:sp>
        <p:nvSpPr>
          <p:cNvPr id="7" name="Content Placeholder 6"/>
          <p:cNvSpPr>
            <a:spLocks noGrp="1"/>
          </p:cNvSpPr>
          <p:nvPr>
            <p:ph sz="quarter" idx="10"/>
          </p:nvPr>
        </p:nvSpPr>
        <p:spPr>
          <a:xfrm>
            <a:off x="579248" y="6311651"/>
            <a:ext cx="7989619" cy="170816"/>
          </a:xfrm>
        </p:spPr>
        <p:txBody>
          <a:bodyPr/>
          <a:lstStyle>
            <a:lvl1pPr marL="0" indent="0">
              <a:buNone/>
              <a:defRPr sz="600"/>
            </a:lvl1pPr>
          </a:lstStyle>
          <a:p>
            <a:pPr lvl="0"/>
            <a:r>
              <a:rPr lang="zh-CN" altLang="en-US"/>
              <a:t>编辑母版文本样式</a:t>
            </a:r>
          </a:p>
        </p:txBody>
      </p:sp>
    </p:spTree>
    <p:extLst>
      <p:ext uri="{BB962C8B-B14F-4D97-AF65-F5344CB8AC3E}">
        <p14:creationId xmlns:p14="http://schemas.microsoft.com/office/powerpoint/2010/main" val="33301825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78196" y="1380028"/>
            <a:ext cx="7970410" cy="1293175"/>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Title 3"/>
          <p:cNvSpPr>
            <a:spLocks noGrp="1"/>
          </p:cNvSpPr>
          <p:nvPr>
            <p:ph type="title"/>
          </p:nvPr>
        </p:nvSpPr>
        <p:spPr>
          <a:xfrm>
            <a:off x="578193" y="511019"/>
            <a:ext cx="7479120" cy="327654"/>
          </a:xfrm>
        </p:spPr>
        <p:txBody>
          <a:bodyPr/>
          <a:lstStyle>
            <a:lvl1pPr>
              <a:defRPr sz="1799"/>
            </a:lvl1pPr>
          </a:lstStyle>
          <a:p>
            <a:r>
              <a:rPr lang="zh-CN" altLang="en-US"/>
              <a:t>单击此处编辑母版标题样式</a:t>
            </a:r>
            <a:endParaRPr lang="en-US" dirty="0"/>
          </a:p>
        </p:txBody>
      </p:sp>
      <p:sp>
        <p:nvSpPr>
          <p:cNvPr id="7" name="Content Placeholder 6"/>
          <p:cNvSpPr>
            <a:spLocks noGrp="1"/>
          </p:cNvSpPr>
          <p:nvPr>
            <p:ph sz="quarter" idx="10"/>
          </p:nvPr>
        </p:nvSpPr>
        <p:spPr>
          <a:xfrm>
            <a:off x="579248" y="6311651"/>
            <a:ext cx="7989619" cy="170816"/>
          </a:xfrm>
        </p:spPr>
        <p:txBody>
          <a:bodyPr/>
          <a:lstStyle>
            <a:lvl1pPr marL="0" indent="0">
              <a:buNone/>
              <a:defRPr sz="600"/>
            </a:lvl1pPr>
          </a:lstStyle>
          <a:p>
            <a:pPr lvl="0"/>
            <a:r>
              <a:rPr lang="zh-CN" altLang="en-US"/>
              <a:t>编辑母版文本样式</a:t>
            </a:r>
          </a:p>
        </p:txBody>
      </p:sp>
    </p:spTree>
    <p:extLst>
      <p:ext uri="{BB962C8B-B14F-4D97-AF65-F5344CB8AC3E}">
        <p14:creationId xmlns:p14="http://schemas.microsoft.com/office/powerpoint/2010/main" val="31290786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fr-FR"/>
          </a:p>
        </p:txBody>
      </p:sp>
      <p:sp>
        <p:nvSpPr>
          <p:cNvPr id="3" name="Espace réservé du contenu 2"/>
          <p:cNvSpPr>
            <a:spLocks noGrp="1"/>
          </p:cNvSpPr>
          <p:nvPr>
            <p:ph idx="1"/>
          </p:nvPr>
        </p:nvSpPr>
        <p:spPr>
          <a:xfrm>
            <a:off x="949568" y="1452304"/>
            <a:ext cx="7948080" cy="1456809"/>
          </a:xfrm>
        </p:spPr>
        <p:txBody>
          <a:bodyPr/>
          <a:lstStyle>
            <a:lvl1pPr>
              <a:lnSpc>
                <a:spcPct val="100000"/>
              </a:lnSpc>
              <a:defRPr/>
            </a:lvl1pPr>
            <a:lvl2pPr marL="574675" indent="-233363">
              <a:lnSpc>
                <a:spcPct val="100000"/>
              </a:lnSpc>
              <a:spcBef>
                <a:spcPts val="200"/>
              </a:spcBef>
              <a:buClr>
                <a:srgbClr val="1CBECA"/>
              </a:buClr>
              <a:defRPr/>
            </a:lvl2pPr>
            <a:lvl3pPr marL="914400" indent="-223838">
              <a:lnSpc>
                <a:spcPct val="100000"/>
              </a:lnSpc>
              <a:spcBef>
                <a:spcPts val="200"/>
              </a:spcBef>
              <a:buFont typeface="Wingdings" panose="05000000000000000000" pitchFamily="2" charset="2"/>
              <a:buChar char="§"/>
              <a:tabLst/>
              <a:defRPr/>
            </a:lvl3pPr>
            <a:lvl4pPr marL="1254125" indent="-222250">
              <a:lnSpc>
                <a:spcPct val="100000"/>
              </a:lnSpc>
              <a:spcBef>
                <a:spcPts val="200"/>
              </a:spcBef>
              <a:buFont typeface="Arial" panose="020B0604020202020204" pitchFamily="34" charset="0"/>
              <a:buChar char="»"/>
              <a:tabLst/>
              <a:defRPr/>
            </a:lvl4pPr>
            <a:lvl5pPr marL="1604963" indent="-233363">
              <a:lnSpc>
                <a:spcPct val="100000"/>
              </a:lnSpc>
              <a:spcBef>
                <a:spcPts val="200"/>
              </a:spcBef>
              <a:buFont typeface="Wingdings" panose="05000000000000000000" pitchFamily="2" charset="2"/>
              <a:buChar char="Ø"/>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Tree>
    <p:extLst>
      <p:ext uri="{BB962C8B-B14F-4D97-AF65-F5344CB8AC3E}">
        <p14:creationId xmlns:p14="http://schemas.microsoft.com/office/powerpoint/2010/main" val="39261426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2"/>
            <a:ext cx="7772400" cy="1138773"/>
          </a:xfrm>
        </p:spPr>
        <p:txBody>
          <a:bodyPr anchor="t"/>
          <a:lstStyle>
            <a:lvl1pPr algn="l">
              <a:defRPr sz="4000" b="1" cap="all"/>
            </a:lvl1pPr>
          </a:lstStyle>
          <a:p>
            <a:r>
              <a:rPr lang="en-US"/>
              <a:t>Click to edit Master title style</a:t>
            </a:r>
            <a:endParaRPr lang="fr-FR"/>
          </a:p>
        </p:txBody>
      </p:sp>
      <p:sp>
        <p:nvSpPr>
          <p:cNvPr id="3" name="Espace réservé du texte 2"/>
          <p:cNvSpPr>
            <a:spLocks noGrp="1"/>
          </p:cNvSpPr>
          <p:nvPr>
            <p:ph type="body" idx="1"/>
          </p:nvPr>
        </p:nvSpPr>
        <p:spPr>
          <a:xfrm>
            <a:off x="722313" y="4052958"/>
            <a:ext cx="7772400" cy="353943"/>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9305684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fr-FR"/>
          </a:p>
        </p:txBody>
      </p:sp>
      <p:sp>
        <p:nvSpPr>
          <p:cNvPr id="3" name="Espace réservé du contenu 2"/>
          <p:cNvSpPr>
            <a:spLocks noGrp="1"/>
          </p:cNvSpPr>
          <p:nvPr>
            <p:ph sz="half" idx="1"/>
          </p:nvPr>
        </p:nvSpPr>
        <p:spPr>
          <a:xfrm>
            <a:off x="457200" y="1600202"/>
            <a:ext cx="4038600" cy="1764073"/>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Espace réservé du contenu 3"/>
          <p:cNvSpPr>
            <a:spLocks noGrp="1"/>
          </p:cNvSpPr>
          <p:nvPr>
            <p:ph sz="half" idx="2"/>
          </p:nvPr>
        </p:nvSpPr>
        <p:spPr>
          <a:xfrm>
            <a:off x="4648200" y="1600202"/>
            <a:ext cx="4038600" cy="1764073"/>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3365881916"/>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en-US"/>
              <a:t>Click to edit Master title style</a:t>
            </a:r>
            <a:endParaRPr lang="fr-FR"/>
          </a:p>
        </p:txBody>
      </p:sp>
      <p:sp>
        <p:nvSpPr>
          <p:cNvPr id="3" name="Espace réservé du texte 2"/>
          <p:cNvSpPr>
            <a:spLocks noGrp="1"/>
          </p:cNvSpPr>
          <p:nvPr>
            <p:ph type="body" idx="1"/>
          </p:nvPr>
        </p:nvSpPr>
        <p:spPr>
          <a:xfrm>
            <a:off x="457200" y="1820933"/>
            <a:ext cx="4040188" cy="353943"/>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Espace réservé du contenu 3"/>
          <p:cNvSpPr>
            <a:spLocks noGrp="1"/>
          </p:cNvSpPr>
          <p:nvPr>
            <p:ph sz="half" idx="2"/>
          </p:nvPr>
        </p:nvSpPr>
        <p:spPr>
          <a:xfrm>
            <a:off x="457200" y="2174876"/>
            <a:ext cx="4040188" cy="1293175"/>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Espace réservé du texte 4"/>
          <p:cNvSpPr>
            <a:spLocks noGrp="1"/>
          </p:cNvSpPr>
          <p:nvPr>
            <p:ph type="body" sz="quarter" idx="3"/>
          </p:nvPr>
        </p:nvSpPr>
        <p:spPr>
          <a:xfrm>
            <a:off x="4645026" y="1820933"/>
            <a:ext cx="4041775" cy="353943"/>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Espace réservé du contenu 5"/>
          <p:cNvSpPr>
            <a:spLocks noGrp="1"/>
          </p:cNvSpPr>
          <p:nvPr>
            <p:ph sz="quarter" idx="4"/>
          </p:nvPr>
        </p:nvSpPr>
        <p:spPr>
          <a:xfrm>
            <a:off x="4645026" y="2174876"/>
            <a:ext cx="4041775" cy="1293175"/>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12929980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a:t>Click to edit Master title style</a:t>
            </a:r>
            <a:endParaRPr lang="fr-FR"/>
          </a:p>
        </p:txBody>
      </p:sp>
    </p:spTree>
    <p:extLst>
      <p:ext uri="{BB962C8B-B14F-4D97-AF65-F5344CB8AC3E}">
        <p14:creationId xmlns:p14="http://schemas.microsoft.com/office/powerpoint/2010/main" val="34916948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20996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Standardfolie Numbered">
    <p:spTree>
      <p:nvGrpSpPr>
        <p:cNvPr id="1" name=""/>
        <p:cNvGrpSpPr/>
        <p:nvPr/>
      </p:nvGrpSpPr>
      <p:grpSpPr>
        <a:xfrm>
          <a:off x="0" y="0"/>
          <a:ext cx="0" cy="0"/>
          <a:chOff x="0" y="0"/>
          <a:chExt cx="0" cy="0"/>
        </a:xfrm>
      </p:grpSpPr>
      <p:sp>
        <p:nvSpPr>
          <p:cNvPr id="2" name="Titel 1"/>
          <p:cNvSpPr>
            <a:spLocks noGrp="1"/>
          </p:cNvSpPr>
          <p:nvPr>
            <p:ph type="title"/>
          </p:nvPr>
        </p:nvSpPr>
        <p:spPr>
          <a:xfrm>
            <a:off x="385764" y="231272"/>
            <a:ext cx="6589489" cy="445507"/>
          </a:xfrm>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1073577469"/>
      </p:ext>
    </p:extLst>
  </p:cSld>
  <p:clrMapOvr>
    <a:masterClrMapping/>
  </p:clrMapOvr>
  <p:transition spd="med">
    <p:wipe dir="r"/>
  </p:transition>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3" descr="D:\Dossier en cours\Publicis life brand\Afatinib\Photoshop\Font slide ss.png"/>
          <p:cNvPicPr preferRelativeResize="0">
            <a:picLocks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Espace réservé du titre 1"/>
          <p:cNvSpPr>
            <a:spLocks noGrp="1"/>
          </p:cNvSpPr>
          <p:nvPr>
            <p:ph type="title"/>
          </p:nvPr>
        </p:nvSpPr>
        <p:spPr bwMode="auto">
          <a:xfrm>
            <a:off x="430214" y="388938"/>
            <a:ext cx="855027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spAutoFit/>
          </a:bodyPr>
          <a:lstStyle/>
          <a:p>
            <a:pPr lvl="0"/>
            <a:r>
              <a:rPr lang="fr-FR" altLang="zh-CN"/>
              <a:t>Modifiez le style du titre</a:t>
            </a:r>
          </a:p>
        </p:txBody>
      </p:sp>
      <p:sp>
        <p:nvSpPr>
          <p:cNvPr id="1028" name="Espace réservé du texte 2"/>
          <p:cNvSpPr>
            <a:spLocks noGrp="1"/>
          </p:cNvSpPr>
          <p:nvPr>
            <p:ph type="body" idx="1"/>
          </p:nvPr>
        </p:nvSpPr>
        <p:spPr bwMode="auto">
          <a:xfrm>
            <a:off x="949326" y="1547813"/>
            <a:ext cx="7948613" cy="1293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fr-FR" altLang="zh-CN"/>
              <a:t>Modifiez les styles du texte du masque</a:t>
            </a:r>
          </a:p>
          <a:p>
            <a:pPr lvl="1"/>
            <a:r>
              <a:rPr lang="fr-FR" altLang="zh-CN"/>
              <a:t>Deuxième niveau</a:t>
            </a:r>
          </a:p>
          <a:p>
            <a:pPr lvl="2"/>
            <a:r>
              <a:rPr lang="fr-FR" altLang="zh-CN"/>
              <a:t>Troisième niveau</a:t>
            </a:r>
          </a:p>
          <a:p>
            <a:pPr lvl="3"/>
            <a:r>
              <a:rPr lang="fr-FR" altLang="zh-CN"/>
              <a:t>Quatrième niveau</a:t>
            </a:r>
          </a:p>
          <a:p>
            <a:pPr lvl="4"/>
            <a:r>
              <a:rPr lang="fr-FR" altLang="zh-CN"/>
              <a:t>Cinquième niveau</a:t>
            </a:r>
          </a:p>
        </p:txBody>
      </p:sp>
      <p:sp>
        <p:nvSpPr>
          <p:cNvPr id="11" name="Forme libre 10"/>
          <p:cNvSpPr/>
          <p:nvPr/>
        </p:nvSpPr>
        <p:spPr>
          <a:xfrm>
            <a:off x="-4762" y="1135063"/>
            <a:ext cx="9148763" cy="482600"/>
          </a:xfrm>
          <a:custGeom>
            <a:avLst/>
            <a:gdLst>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16607 h 500184"/>
              <a:gd name="connsiteX1" fmla="*/ 1081454 w 9152792"/>
              <a:gd name="connsiteY1" fmla="*/ 16607 h 500184"/>
              <a:gd name="connsiteX2" fmla="*/ 0 w 9152792"/>
              <a:gd name="connsiteY2" fmla="*/ 500184 h 500184"/>
              <a:gd name="connsiteX0" fmla="*/ 9152792 w 9152792"/>
              <a:gd name="connsiteY0" fmla="*/ 12701 h 496278"/>
              <a:gd name="connsiteX1" fmla="*/ 1081454 w 9152792"/>
              <a:gd name="connsiteY1" fmla="*/ 12701 h 496278"/>
              <a:gd name="connsiteX2" fmla="*/ 0 w 9152792"/>
              <a:gd name="connsiteY2" fmla="*/ 496278 h 496278"/>
              <a:gd name="connsiteX0" fmla="*/ 9152792 w 9152792"/>
              <a:gd name="connsiteY0" fmla="*/ 11655 h 495232"/>
              <a:gd name="connsiteX1" fmla="*/ 1081454 w 9152792"/>
              <a:gd name="connsiteY1" fmla="*/ 11655 h 495232"/>
              <a:gd name="connsiteX2" fmla="*/ 0 w 9152792"/>
              <a:gd name="connsiteY2" fmla="*/ 495232 h 495232"/>
              <a:gd name="connsiteX0" fmla="*/ 9152792 w 9152792"/>
              <a:gd name="connsiteY0" fmla="*/ 16945 h 500522"/>
              <a:gd name="connsiteX1" fmla="*/ 1081454 w 9152792"/>
              <a:gd name="connsiteY1" fmla="*/ 16945 h 500522"/>
              <a:gd name="connsiteX2" fmla="*/ 0 w 9152792"/>
              <a:gd name="connsiteY2" fmla="*/ 500522 h 500522"/>
              <a:gd name="connsiteX0" fmla="*/ 9152792 w 9152792"/>
              <a:gd name="connsiteY0" fmla="*/ 10597 h 494174"/>
              <a:gd name="connsiteX1" fmla="*/ 1081454 w 9152792"/>
              <a:gd name="connsiteY1" fmla="*/ 10597 h 494174"/>
              <a:gd name="connsiteX2" fmla="*/ 0 w 9152792"/>
              <a:gd name="connsiteY2" fmla="*/ 494174 h 494174"/>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0 h 483577"/>
              <a:gd name="connsiteX1" fmla="*/ 1081454 w 9152792"/>
              <a:gd name="connsiteY1" fmla="*/ 0 h 483577"/>
              <a:gd name="connsiteX2" fmla="*/ 0 w 9152792"/>
              <a:gd name="connsiteY2" fmla="*/ 483577 h 483577"/>
              <a:gd name="connsiteX0" fmla="*/ 9152792 w 9152792"/>
              <a:gd name="connsiteY0" fmla="*/ 784 h 484361"/>
              <a:gd name="connsiteX1" fmla="*/ 1081454 w 9152792"/>
              <a:gd name="connsiteY1" fmla="*/ 784 h 484361"/>
              <a:gd name="connsiteX2" fmla="*/ 0 w 9152792"/>
              <a:gd name="connsiteY2" fmla="*/ 484361 h 484361"/>
              <a:gd name="connsiteX0" fmla="*/ 9152792 w 9152792"/>
              <a:gd name="connsiteY0" fmla="*/ 453 h 484030"/>
              <a:gd name="connsiteX1" fmla="*/ 1081454 w 9152792"/>
              <a:gd name="connsiteY1" fmla="*/ 453 h 484030"/>
              <a:gd name="connsiteX2" fmla="*/ 0 w 9152792"/>
              <a:gd name="connsiteY2" fmla="*/ 484030 h 484030"/>
              <a:gd name="connsiteX0" fmla="*/ 9152792 w 9152792"/>
              <a:gd name="connsiteY0" fmla="*/ 0 h 483577"/>
              <a:gd name="connsiteX1" fmla="*/ 871904 w 9152792"/>
              <a:gd name="connsiteY1" fmla="*/ 4762 h 483577"/>
              <a:gd name="connsiteX2" fmla="*/ 0 w 9152792"/>
              <a:gd name="connsiteY2" fmla="*/ 483577 h 483577"/>
              <a:gd name="connsiteX0" fmla="*/ 9153535 w 9153535"/>
              <a:gd name="connsiteY0" fmla="*/ 0 h 483577"/>
              <a:gd name="connsiteX1" fmla="*/ 872647 w 9153535"/>
              <a:gd name="connsiteY1" fmla="*/ 4762 h 483577"/>
              <a:gd name="connsiteX2" fmla="*/ 743 w 9153535"/>
              <a:gd name="connsiteY2" fmla="*/ 483577 h 483577"/>
              <a:gd name="connsiteX0" fmla="*/ 9152792 w 9152792"/>
              <a:gd name="connsiteY0" fmla="*/ 0 h 483577"/>
              <a:gd name="connsiteX1" fmla="*/ 871904 w 9152792"/>
              <a:gd name="connsiteY1" fmla="*/ 4762 h 483577"/>
              <a:gd name="connsiteX2" fmla="*/ 0 w 9152792"/>
              <a:gd name="connsiteY2" fmla="*/ 483577 h 483577"/>
              <a:gd name="connsiteX0" fmla="*/ 9152792 w 9152792"/>
              <a:gd name="connsiteY0" fmla="*/ 0 h 483577"/>
              <a:gd name="connsiteX1" fmla="*/ 871904 w 9152792"/>
              <a:gd name="connsiteY1" fmla="*/ 4762 h 483577"/>
              <a:gd name="connsiteX2" fmla="*/ 0 w 9152792"/>
              <a:gd name="connsiteY2" fmla="*/ 483577 h 483577"/>
              <a:gd name="connsiteX0" fmla="*/ 9152792 w 9152792"/>
              <a:gd name="connsiteY0" fmla="*/ 0 h 483577"/>
              <a:gd name="connsiteX1" fmla="*/ 733791 w 9152792"/>
              <a:gd name="connsiteY1" fmla="*/ 2381 h 483577"/>
              <a:gd name="connsiteX2" fmla="*/ 0 w 9152792"/>
              <a:gd name="connsiteY2" fmla="*/ 483577 h 483577"/>
              <a:gd name="connsiteX0" fmla="*/ 9152792 w 9152792"/>
              <a:gd name="connsiteY0" fmla="*/ 0 h 483577"/>
              <a:gd name="connsiteX1" fmla="*/ 733791 w 9152792"/>
              <a:gd name="connsiteY1" fmla="*/ 2381 h 483577"/>
              <a:gd name="connsiteX2" fmla="*/ 0 w 9152792"/>
              <a:gd name="connsiteY2" fmla="*/ 483577 h 483577"/>
              <a:gd name="connsiteX0" fmla="*/ 9152792 w 9152792"/>
              <a:gd name="connsiteY0" fmla="*/ 164 h 483741"/>
              <a:gd name="connsiteX1" fmla="*/ 693310 w 9152792"/>
              <a:gd name="connsiteY1" fmla="*/ 164 h 483741"/>
              <a:gd name="connsiteX2" fmla="*/ 0 w 9152792"/>
              <a:gd name="connsiteY2" fmla="*/ 483741 h 483741"/>
              <a:gd name="connsiteX0" fmla="*/ 9152792 w 9152792"/>
              <a:gd name="connsiteY0" fmla="*/ 9 h 483586"/>
              <a:gd name="connsiteX1" fmla="*/ 693310 w 9152792"/>
              <a:gd name="connsiteY1" fmla="*/ 9 h 483586"/>
              <a:gd name="connsiteX2" fmla="*/ 0 w 9152792"/>
              <a:gd name="connsiteY2" fmla="*/ 483586 h 483586"/>
              <a:gd name="connsiteX0" fmla="*/ 9152792 w 9152792"/>
              <a:gd name="connsiteY0" fmla="*/ 0 h 483577"/>
              <a:gd name="connsiteX1" fmla="*/ 693310 w 9152792"/>
              <a:gd name="connsiteY1" fmla="*/ 0 h 483577"/>
              <a:gd name="connsiteX2" fmla="*/ 0 w 9152792"/>
              <a:gd name="connsiteY2" fmla="*/ 483577 h 483577"/>
              <a:gd name="connsiteX0" fmla="*/ 9152793 w 9152793"/>
              <a:gd name="connsiteY0" fmla="*/ 0 h 483577"/>
              <a:gd name="connsiteX1" fmla="*/ 693311 w 9152793"/>
              <a:gd name="connsiteY1" fmla="*/ 0 h 483577"/>
              <a:gd name="connsiteX2" fmla="*/ 1 w 9152793"/>
              <a:gd name="connsiteY2" fmla="*/ 483577 h 483577"/>
              <a:gd name="connsiteX0" fmla="*/ 9152794 w 9152794"/>
              <a:gd name="connsiteY0" fmla="*/ 0 h 483577"/>
              <a:gd name="connsiteX1" fmla="*/ 693312 w 9152794"/>
              <a:gd name="connsiteY1" fmla="*/ 0 h 483577"/>
              <a:gd name="connsiteX2" fmla="*/ 2 w 9152794"/>
              <a:gd name="connsiteY2" fmla="*/ 483577 h 483577"/>
              <a:gd name="connsiteX0" fmla="*/ 9152794 w 9152794"/>
              <a:gd name="connsiteY0" fmla="*/ 0 h 483577"/>
              <a:gd name="connsiteX1" fmla="*/ 693312 w 9152794"/>
              <a:gd name="connsiteY1" fmla="*/ 0 h 483577"/>
              <a:gd name="connsiteX2" fmla="*/ 2 w 9152794"/>
              <a:gd name="connsiteY2" fmla="*/ 483577 h 483577"/>
            </a:gdLst>
            <a:ahLst/>
            <a:cxnLst>
              <a:cxn ang="0">
                <a:pos x="connsiteX0" y="connsiteY0"/>
              </a:cxn>
              <a:cxn ang="0">
                <a:pos x="connsiteX1" y="connsiteY1"/>
              </a:cxn>
              <a:cxn ang="0">
                <a:pos x="connsiteX2" y="connsiteY2"/>
              </a:cxn>
            </a:cxnLst>
            <a:rect l="l" t="t" r="r" b="b"/>
            <a:pathLst>
              <a:path w="9152794" h="483577">
                <a:moveTo>
                  <a:pt x="9152794" y="0"/>
                </a:moveTo>
                <a:lnTo>
                  <a:pt x="693312" y="0"/>
                </a:lnTo>
                <a:cubicBezTo>
                  <a:pt x="135314" y="292"/>
                  <a:pt x="-546" y="422215"/>
                  <a:pt x="2" y="483577"/>
                </a:cubicBezTo>
              </a:path>
            </a:pathLst>
          </a:custGeom>
          <a:noFill/>
          <a:ln w="25400">
            <a:solidFill>
              <a:srgbClr val="C5C43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800" dirty="0">
              <a:solidFill>
                <a:prstClr val="white"/>
              </a:solidFill>
            </a:endParaRPr>
          </a:p>
        </p:txBody>
      </p:sp>
      <p:sp>
        <p:nvSpPr>
          <p:cNvPr id="9" name="TextBox 8"/>
          <p:cNvSpPr txBox="1"/>
          <p:nvPr/>
        </p:nvSpPr>
        <p:spPr>
          <a:xfrm>
            <a:off x="8683625" y="6624640"/>
            <a:ext cx="474663" cy="231775"/>
          </a:xfrm>
          <a:prstGeom prst="rect">
            <a:avLst/>
          </a:prstGeom>
          <a:noFill/>
        </p:spPr>
        <p:txBody>
          <a:bodyP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r" fontAlgn="base">
              <a:spcBef>
                <a:spcPct val="0"/>
              </a:spcBef>
              <a:spcAft>
                <a:spcPct val="0"/>
              </a:spcAft>
              <a:defRPr/>
            </a:pPr>
            <a:fld id="{873C3980-62AE-49FB-ACDC-1F2FADD1AE1D}" type="slidenum">
              <a:rPr lang="en-US" altLang="zh-CN" sz="900" smtClean="0">
                <a:solidFill>
                  <a:srgbClr val="717073"/>
                </a:solidFill>
                <a:ea typeface="宋体" pitchFamily="2" charset="-122"/>
              </a:rPr>
              <a:pPr algn="r" fontAlgn="base">
                <a:spcBef>
                  <a:spcPct val="0"/>
                </a:spcBef>
                <a:spcAft>
                  <a:spcPct val="0"/>
                </a:spcAft>
                <a:defRPr/>
              </a:pPr>
              <a:t>‹#›</a:t>
            </a:fld>
            <a:endParaRPr lang="en-US" altLang="zh-CN" sz="900">
              <a:solidFill>
                <a:srgbClr val="717073"/>
              </a:solidFill>
              <a:ea typeface="宋体" pitchFamily="2" charset="-122"/>
            </a:endParaRPr>
          </a:p>
        </p:txBody>
      </p:sp>
    </p:spTree>
    <p:extLst>
      <p:ext uri="{BB962C8B-B14F-4D97-AF65-F5344CB8AC3E}">
        <p14:creationId xmlns:p14="http://schemas.microsoft.com/office/powerpoint/2010/main" val="281580505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Lst>
  <p:hf sldNum="0" hdr="0" ftr="0" dt="0"/>
  <p:txStyles>
    <p:titleStyle>
      <a:lvl1pPr algn="l" rtl="0" eaLnBrk="0" fontAlgn="base" hangingPunct="0">
        <a:lnSpc>
          <a:spcPct val="85000"/>
        </a:lnSpc>
        <a:spcBef>
          <a:spcPct val="0"/>
        </a:spcBef>
        <a:spcAft>
          <a:spcPct val="0"/>
        </a:spcAft>
        <a:defRPr sz="2700" kern="1200">
          <a:solidFill>
            <a:schemeClr val="bg1"/>
          </a:solidFill>
          <a:latin typeface="+mj-lt"/>
          <a:ea typeface="+mj-ea"/>
          <a:cs typeface="+mj-cs"/>
        </a:defRPr>
      </a:lvl1pPr>
      <a:lvl2pPr algn="l" rtl="0" eaLnBrk="0" fontAlgn="base" hangingPunct="0">
        <a:lnSpc>
          <a:spcPct val="85000"/>
        </a:lnSpc>
        <a:spcBef>
          <a:spcPct val="0"/>
        </a:spcBef>
        <a:spcAft>
          <a:spcPct val="0"/>
        </a:spcAft>
        <a:defRPr sz="2700">
          <a:solidFill>
            <a:schemeClr val="bg1"/>
          </a:solidFill>
          <a:latin typeface="Arial" pitchFamily="34" charset="0"/>
        </a:defRPr>
      </a:lvl2pPr>
      <a:lvl3pPr algn="l" rtl="0" eaLnBrk="0" fontAlgn="base" hangingPunct="0">
        <a:lnSpc>
          <a:spcPct val="85000"/>
        </a:lnSpc>
        <a:spcBef>
          <a:spcPct val="0"/>
        </a:spcBef>
        <a:spcAft>
          <a:spcPct val="0"/>
        </a:spcAft>
        <a:defRPr sz="2700">
          <a:solidFill>
            <a:schemeClr val="bg1"/>
          </a:solidFill>
          <a:latin typeface="Arial" pitchFamily="34" charset="0"/>
        </a:defRPr>
      </a:lvl3pPr>
      <a:lvl4pPr algn="l" rtl="0" eaLnBrk="0" fontAlgn="base" hangingPunct="0">
        <a:lnSpc>
          <a:spcPct val="85000"/>
        </a:lnSpc>
        <a:spcBef>
          <a:spcPct val="0"/>
        </a:spcBef>
        <a:spcAft>
          <a:spcPct val="0"/>
        </a:spcAft>
        <a:defRPr sz="2700">
          <a:solidFill>
            <a:schemeClr val="bg1"/>
          </a:solidFill>
          <a:latin typeface="Arial" pitchFamily="34" charset="0"/>
        </a:defRPr>
      </a:lvl4pPr>
      <a:lvl5pPr algn="l" rtl="0" eaLnBrk="0" fontAlgn="base" hangingPunct="0">
        <a:lnSpc>
          <a:spcPct val="85000"/>
        </a:lnSpc>
        <a:spcBef>
          <a:spcPct val="0"/>
        </a:spcBef>
        <a:spcAft>
          <a:spcPct val="0"/>
        </a:spcAft>
        <a:defRPr sz="2700">
          <a:solidFill>
            <a:schemeClr val="bg1"/>
          </a:solidFill>
          <a:latin typeface="Arial" pitchFamily="34" charset="0"/>
        </a:defRPr>
      </a:lvl5pPr>
      <a:lvl6pPr marL="457200" algn="l" rtl="0" fontAlgn="base">
        <a:lnSpc>
          <a:spcPct val="85000"/>
        </a:lnSpc>
        <a:spcBef>
          <a:spcPct val="0"/>
        </a:spcBef>
        <a:spcAft>
          <a:spcPct val="0"/>
        </a:spcAft>
        <a:defRPr sz="2700">
          <a:solidFill>
            <a:schemeClr val="bg1"/>
          </a:solidFill>
          <a:latin typeface="Arial" pitchFamily="34" charset="0"/>
        </a:defRPr>
      </a:lvl6pPr>
      <a:lvl7pPr marL="914400" algn="l" rtl="0" fontAlgn="base">
        <a:lnSpc>
          <a:spcPct val="85000"/>
        </a:lnSpc>
        <a:spcBef>
          <a:spcPct val="0"/>
        </a:spcBef>
        <a:spcAft>
          <a:spcPct val="0"/>
        </a:spcAft>
        <a:defRPr sz="2700">
          <a:solidFill>
            <a:schemeClr val="bg1"/>
          </a:solidFill>
          <a:latin typeface="Arial" pitchFamily="34" charset="0"/>
        </a:defRPr>
      </a:lvl7pPr>
      <a:lvl8pPr marL="1371600" algn="l" rtl="0" fontAlgn="base">
        <a:lnSpc>
          <a:spcPct val="85000"/>
        </a:lnSpc>
        <a:spcBef>
          <a:spcPct val="0"/>
        </a:spcBef>
        <a:spcAft>
          <a:spcPct val="0"/>
        </a:spcAft>
        <a:defRPr sz="2700">
          <a:solidFill>
            <a:schemeClr val="bg1"/>
          </a:solidFill>
          <a:latin typeface="Arial" pitchFamily="34" charset="0"/>
        </a:defRPr>
      </a:lvl8pPr>
      <a:lvl9pPr marL="1828800" algn="l" rtl="0" fontAlgn="base">
        <a:lnSpc>
          <a:spcPct val="85000"/>
        </a:lnSpc>
        <a:spcBef>
          <a:spcPct val="0"/>
        </a:spcBef>
        <a:spcAft>
          <a:spcPct val="0"/>
        </a:spcAft>
        <a:defRPr sz="2700">
          <a:solidFill>
            <a:schemeClr val="bg1"/>
          </a:solidFill>
          <a:latin typeface="Arial" pitchFamily="34" charset="0"/>
        </a:defRPr>
      </a:lvl9pPr>
    </p:titleStyle>
    <p:bodyStyle>
      <a:lvl1pPr marL="176213" indent="-176213" algn="l" rtl="0" eaLnBrk="0" fontAlgn="base" hangingPunct="0">
        <a:lnSpc>
          <a:spcPct val="85000"/>
        </a:lnSpc>
        <a:spcBef>
          <a:spcPts val="1200"/>
        </a:spcBef>
        <a:spcAft>
          <a:spcPct val="0"/>
        </a:spcAft>
        <a:buClr>
          <a:srgbClr val="1CBECA"/>
        </a:buClr>
        <a:buFont typeface="Arial" pitchFamily="34" charset="0"/>
        <a:buChar char="•"/>
        <a:defRPr sz="2000" kern="1200">
          <a:solidFill>
            <a:srgbClr val="595959"/>
          </a:solidFill>
          <a:latin typeface="+mn-lt"/>
          <a:ea typeface="+mn-ea"/>
          <a:cs typeface="+mn-cs"/>
        </a:defRPr>
      </a:lvl1pPr>
      <a:lvl2pPr marL="720725" indent="-263525" algn="l" rtl="0" eaLnBrk="0" fontAlgn="base" hangingPunct="0">
        <a:lnSpc>
          <a:spcPct val="85000"/>
        </a:lnSpc>
        <a:spcBef>
          <a:spcPts val="600"/>
        </a:spcBef>
        <a:spcAft>
          <a:spcPct val="0"/>
        </a:spcAft>
        <a:buClr>
          <a:srgbClr val="595959"/>
        </a:buClr>
        <a:buFont typeface="Arial" pitchFamily="34" charset="0"/>
        <a:buChar char="‒"/>
        <a:defRPr kern="1200">
          <a:solidFill>
            <a:srgbClr val="595959"/>
          </a:solidFill>
          <a:latin typeface="+mn-lt"/>
          <a:ea typeface="+mn-ea"/>
          <a:cs typeface="+mn-cs"/>
        </a:defRPr>
      </a:lvl2pPr>
      <a:lvl3pPr marL="1073150" indent="-158750" algn="l" rtl="0" eaLnBrk="0" fontAlgn="base" hangingPunct="0">
        <a:lnSpc>
          <a:spcPct val="85000"/>
        </a:lnSpc>
        <a:spcBef>
          <a:spcPts val="400"/>
        </a:spcBef>
        <a:spcAft>
          <a:spcPct val="0"/>
        </a:spcAft>
        <a:buClr>
          <a:srgbClr val="1CBECA"/>
        </a:buClr>
        <a:buFont typeface="Arial" pitchFamily="34" charset="0"/>
        <a:buChar char="•"/>
        <a:defRPr sz="1600" kern="1200">
          <a:solidFill>
            <a:srgbClr val="595959"/>
          </a:solidFill>
          <a:latin typeface="+mn-lt"/>
          <a:ea typeface="+mn-ea"/>
          <a:cs typeface="+mn-cs"/>
        </a:defRPr>
      </a:lvl3pPr>
      <a:lvl4pPr marL="1520825" indent="-149225" algn="l" rtl="0" eaLnBrk="0" fontAlgn="base" hangingPunct="0">
        <a:lnSpc>
          <a:spcPct val="85000"/>
        </a:lnSpc>
        <a:spcBef>
          <a:spcPct val="0"/>
        </a:spcBef>
        <a:spcAft>
          <a:spcPct val="0"/>
        </a:spcAft>
        <a:buClr>
          <a:srgbClr val="1CBECA"/>
        </a:buClr>
        <a:buFont typeface="Arial" pitchFamily="34" charset="0"/>
        <a:buChar char="•"/>
        <a:defRPr sz="1400" kern="1200">
          <a:solidFill>
            <a:srgbClr val="595959"/>
          </a:solidFill>
          <a:latin typeface="+mn-lt"/>
          <a:ea typeface="+mn-ea"/>
          <a:cs typeface="+mn-cs"/>
        </a:defRPr>
      </a:lvl4pPr>
      <a:lvl5pPr marL="1970088" indent="-141288" algn="l" rtl="0" eaLnBrk="0" fontAlgn="base" hangingPunct="0">
        <a:lnSpc>
          <a:spcPct val="85000"/>
        </a:lnSpc>
        <a:spcBef>
          <a:spcPct val="0"/>
        </a:spcBef>
        <a:spcAft>
          <a:spcPct val="0"/>
        </a:spcAft>
        <a:buClr>
          <a:srgbClr val="1CBECA"/>
        </a:buClr>
        <a:buFont typeface="Arial" pitchFamily="34" charset="0"/>
        <a:buChar char="•"/>
        <a:defRPr sz="14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16.xml"/><Relationship Id="rId7" Type="http://schemas.openxmlformats.org/officeDocument/2006/relationships/tags" Target="../tags/tag20.xml"/><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tags" Target="../tags/tag19.xml"/><Relationship Id="rId11" Type="http://schemas.openxmlformats.org/officeDocument/2006/relationships/image" Target="../media/image4.emf"/><Relationship Id="rId5" Type="http://schemas.openxmlformats.org/officeDocument/2006/relationships/tags" Target="../tags/tag18.xml"/><Relationship Id="rId10" Type="http://schemas.openxmlformats.org/officeDocument/2006/relationships/oleObject" Target="../embeddings/oleObject4.bin"/><Relationship Id="rId4" Type="http://schemas.openxmlformats.org/officeDocument/2006/relationships/tags" Target="../tags/tag17.xml"/><Relationship Id="rId9"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22.xml"/><Relationship Id="rId7" Type="http://schemas.openxmlformats.org/officeDocument/2006/relationships/image" Target="../media/image4.emf"/><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1.xml"/><Relationship Id="rId4"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9.xml"/><Relationship Id="rId5" Type="http://schemas.openxmlformats.org/officeDocument/2006/relationships/chart" Target="../charts/chart3.xml"/><Relationship Id="rId4" Type="http://schemas.openxmlformats.org/officeDocument/2006/relationships/chart" Target="../charts/chart2.xml"/></Relationships>
</file>

<file path=ppt/slides/_rels/slide1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1.xml"/><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3.xml"/><Relationship Id="rId1" Type="http://schemas.openxmlformats.org/officeDocument/2006/relationships/slideLayout" Target="../slideLayouts/slideLayout9.xml"/><Relationship Id="rId4" Type="http://schemas.openxmlformats.org/officeDocument/2006/relationships/image" Target="../media/image14.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4.xml"/><Relationship Id="rId4"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notesSlide" Target="../notesSlides/notesSlide5.xml"/><Relationship Id="rId5" Type="http://schemas.openxmlformats.org/officeDocument/2006/relationships/slideLayout" Target="../slideLayouts/slideLayout7.xml"/><Relationship Id="rId4" Type="http://schemas.openxmlformats.org/officeDocument/2006/relationships/tags" Target="../tags/tag6.xml"/></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8.xml"/><Relationship Id="rId7" Type="http://schemas.openxmlformats.org/officeDocument/2006/relationships/tags" Target="../tags/tag12.xml"/><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tags" Target="../tags/tag11.xml"/><Relationship Id="rId11" Type="http://schemas.openxmlformats.org/officeDocument/2006/relationships/image" Target="../media/image4.emf"/><Relationship Id="rId5" Type="http://schemas.openxmlformats.org/officeDocument/2006/relationships/tags" Target="../tags/tag10.xml"/><Relationship Id="rId10" Type="http://schemas.openxmlformats.org/officeDocument/2006/relationships/oleObject" Target="../embeddings/oleObject2.bin"/><Relationship Id="rId4" Type="http://schemas.openxmlformats.org/officeDocument/2006/relationships/tags" Target="../tags/tag9.xml"/><Relationship Id="rId9"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4.emf"/><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9.xml"/><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ctrTitle"/>
          </p:nvPr>
        </p:nvSpPr>
        <p:spPr>
          <a:xfrm>
            <a:off x="395104" y="2324351"/>
            <a:ext cx="8887359" cy="859851"/>
          </a:xfrm>
        </p:spPr>
        <p:txBody>
          <a:bodyPr/>
          <a:lstStyle/>
          <a:p>
            <a:pPr>
              <a:lnSpc>
                <a:spcPct val="150000"/>
              </a:lnSpc>
            </a:pPr>
            <a:r>
              <a:rPr lang="zh-CN" altLang="en-US" sz="3800" dirty="0">
                <a:solidFill>
                  <a:srgbClr val="AEAB33"/>
                </a:solidFill>
              </a:rPr>
              <a:t>阿法替尼治疗</a:t>
            </a:r>
            <a:r>
              <a:rPr lang="en-US" altLang="zh-CN" sz="3800" dirty="0">
                <a:solidFill>
                  <a:srgbClr val="AEAB33"/>
                </a:solidFill>
                <a:latin typeface="Arial" panose="020B0604020202020204" pitchFamily="34" charset="0"/>
              </a:rPr>
              <a:t>EGFR(+)</a:t>
            </a:r>
            <a:r>
              <a:rPr lang="zh-CN" altLang="en-US" sz="3800" dirty="0">
                <a:solidFill>
                  <a:srgbClr val="AEAB33"/>
                </a:solidFill>
              </a:rPr>
              <a:t>患者的总生存</a:t>
            </a:r>
            <a:endParaRPr lang="en-US" sz="3800" dirty="0">
              <a:solidFill>
                <a:srgbClr val="AEAB33"/>
              </a:solidFill>
            </a:endParaRPr>
          </a:p>
        </p:txBody>
      </p:sp>
    </p:spTree>
    <p:extLst>
      <p:ext uri="{BB962C8B-B14F-4D97-AF65-F5344CB8AC3E}">
        <p14:creationId xmlns:p14="http://schemas.microsoft.com/office/powerpoint/2010/main" val="17176599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对象 1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13" name="think-cell Slide" r:id="rId10" imgW="270" imgH="270" progId="TCLayout.ActiveDocument.1">
                  <p:embed/>
                </p:oleObj>
              </mc:Choice>
              <mc:Fallback>
                <p:oleObj name="think-cell Slide" r:id="rId10" imgW="270" imgH="270" progId="TCLayout.ActiveDocument.1">
                  <p:embed/>
                  <p:pic>
                    <p:nvPicPr>
                      <p:cNvPr id="14" name="对象 13"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矩形 10" hidden="1"/>
          <p:cNvSpPr/>
          <p:nvPr>
            <p:custDataLst>
              <p:tags r:id="rId3"/>
            </p:custDataLst>
          </p:nvPr>
        </p:nvSpPr>
        <p:spPr>
          <a:xfrm>
            <a:off x="33176" y="-105291"/>
            <a:ext cx="92398" cy="369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altLang="zh-CN" sz="2400" b="1" i="0" u="none" strike="noStrike" kern="1200" cap="none" spc="0" normalizeH="0" baseline="0" noProof="0" dirty="0" err="1">
              <a:ln>
                <a:noFill/>
              </a:ln>
              <a:solidFill>
                <a:prstClr val="white"/>
              </a:solidFill>
              <a:effectLst/>
              <a:uLnTx/>
              <a:uFillTx/>
              <a:latin typeface="微软雅黑"/>
              <a:ea typeface="微软雅黑"/>
              <a:cs typeface="Arial"/>
              <a:sym typeface="微软雅黑"/>
            </a:endParaRPr>
          </a:p>
        </p:txBody>
      </p:sp>
      <p:sp>
        <p:nvSpPr>
          <p:cNvPr id="252" name="Freeform 251"/>
          <p:cNvSpPr/>
          <p:nvPr/>
        </p:nvSpPr>
        <p:spPr>
          <a:xfrm>
            <a:off x="2086527" y="1412483"/>
            <a:ext cx="5168654" cy="3617915"/>
          </a:xfrm>
          <a:custGeom>
            <a:avLst/>
            <a:gdLst>
              <a:gd name="connsiteX0" fmla="*/ 0 w 5168654"/>
              <a:gd name="connsiteY0" fmla="*/ 0 h 2436046"/>
              <a:gd name="connsiteX1" fmla="*/ 144750 w 5168654"/>
              <a:gd name="connsiteY1" fmla="*/ 0 h 2436046"/>
              <a:gd name="connsiteX2" fmla="*/ 144750 w 5168654"/>
              <a:gd name="connsiteY2" fmla="*/ 42366 h 2436046"/>
              <a:gd name="connsiteX3" fmla="*/ 158872 w 5168654"/>
              <a:gd name="connsiteY3" fmla="*/ 42366 h 2436046"/>
              <a:gd name="connsiteX4" fmla="*/ 158872 w 5168654"/>
              <a:gd name="connsiteY4" fmla="*/ 81201 h 2436046"/>
              <a:gd name="connsiteX5" fmla="*/ 162403 w 5168654"/>
              <a:gd name="connsiteY5" fmla="*/ 84732 h 2436046"/>
              <a:gd name="connsiteX6" fmla="*/ 162403 w 5168654"/>
              <a:gd name="connsiteY6" fmla="*/ 155342 h 2436046"/>
              <a:gd name="connsiteX7" fmla="*/ 257726 w 5168654"/>
              <a:gd name="connsiteY7" fmla="*/ 155342 h 2436046"/>
              <a:gd name="connsiteX8" fmla="*/ 257726 w 5168654"/>
              <a:gd name="connsiteY8" fmla="*/ 190647 h 2436046"/>
              <a:gd name="connsiteX9" fmla="*/ 268318 w 5168654"/>
              <a:gd name="connsiteY9" fmla="*/ 190647 h 2436046"/>
              <a:gd name="connsiteX10" fmla="*/ 268318 w 5168654"/>
              <a:gd name="connsiteY10" fmla="*/ 211830 h 2436046"/>
              <a:gd name="connsiteX11" fmla="*/ 508392 w 5168654"/>
              <a:gd name="connsiteY11" fmla="*/ 211830 h 2436046"/>
              <a:gd name="connsiteX12" fmla="*/ 508392 w 5168654"/>
              <a:gd name="connsiteY12" fmla="*/ 243604 h 2436046"/>
              <a:gd name="connsiteX13" fmla="*/ 536636 w 5168654"/>
              <a:gd name="connsiteY13" fmla="*/ 243604 h 2436046"/>
              <a:gd name="connsiteX14" fmla="*/ 536636 w 5168654"/>
              <a:gd name="connsiteY14" fmla="*/ 363641 h 2436046"/>
              <a:gd name="connsiteX15" fmla="*/ 554288 w 5168654"/>
              <a:gd name="connsiteY15" fmla="*/ 363641 h 2436046"/>
              <a:gd name="connsiteX16" fmla="*/ 554288 w 5168654"/>
              <a:gd name="connsiteY16" fmla="*/ 423660 h 2436046"/>
              <a:gd name="connsiteX17" fmla="*/ 769649 w 5168654"/>
              <a:gd name="connsiteY17" fmla="*/ 423660 h 2436046"/>
              <a:gd name="connsiteX18" fmla="*/ 769649 w 5168654"/>
              <a:gd name="connsiteY18" fmla="*/ 430721 h 2436046"/>
              <a:gd name="connsiteX19" fmla="*/ 776710 w 5168654"/>
              <a:gd name="connsiteY19" fmla="*/ 437782 h 2436046"/>
              <a:gd name="connsiteX20" fmla="*/ 776710 w 5168654"/>
              <a:gd name="connsiteY20" fmla="*/ 455434 h 2436046"/>
              <a:gd name="connsiteX21" fmla="*/ 794363 w 5168654"/>
              <a:gd name="connsiteY21" fmla="*/ 455434 h 2436046"/>
              <a:gd name="connsiteX22" fmla="*/ 794363 w 5168654"/>
              <a:gd name="connsiteY22" fmla="*/ 497801 h 2436046"/>
              <a:gd name="connsiteX23" fmla="*/ 808485 w 5168654"/>
              <a:gd name="connsiteY23" fmla="*/ 497801 h 2436046"/>
              <a:gd name="connsiteX24" fmla="*/ 808485 w 5168654"/>
              <a:gd name="connsiteY24" fmla="*/ 621368 h 2436046"/>
              <a:gd name="connsiteX25" fmla="*/ 822607 w 5168654"/>
              <a:gd name="connsiteY25" fmla="*/ 621368 h 2436046"/>
              <a:gd name="connsiteX26" fmla="*/ 822607 w 5168654"/>
              <a:gd name="connsiteY26" fmla="*/ 639021 h 2436046"/>
              <a:gd name="connsiteX27" fmla="*/ 1045028 w 5168654"/>
              <a:gd name="connsiteY27" fmla="*/ 639021 h 2436046"/>
              <a:gd name="connsiteX28" fmla="*/ 1045028 w 5168654"/>
              <a:gd name="connsiteY28" fmla="*/ 790832 h 2436046"/>
              <a:gd name="connsiteX29" fmla="*/ 1059150 w 5168654"/>
              <a:gd name="connsiteY29" fmla="*/ 790832 h 2436046"/>
              <a:gd name="connsiteX30" fmla="*/ 1059150 w 5168654"/>
              <a:gd name="connsiteY30" fmla="*/ 889686 h 2436046"/>
              <a:gd name="connsiteX31" fmla="*/ 1083864 w 5168654"/>
              <a:gd name="connsiteY31" fmla="*/ 889686 h 2436046"/>
              <a:gd name="connsiteX32" fmla="*/ 1101516 w 5168654"/>
              <a:gd name="connsiteY32" fmla="*/ 889686 h 2436046"/>
              <a:gd name="connsiteX33" fmla="*/ 1158004 w 5168654"/>
              <a:gd name="connsiteY33" fmla="*/ 889686 h 2436046"/>
              <a:gd name="connsiteX34" fmla="*/ 1158004 w 5168654"/>
              <a:gd name="connsiteY34" fmla="*/ 917930 h 2436046"/>
              <a:gd name="connsiteX35" fmla="*/ 1302755 w 5168654"/>
              <a:gd name="connsiteY35" fmla="*/ 917930 h 2436046"/>
              <a:gd name="connsiteX36" fmla="*/ 1302755 w 5168654"/>
              <a:gd name="connsiteY36" fmla="*/ 942644 h 2436046"/>
              <a:gd name="connsiteX37" fmla="*/ 1313346 w 5168654"/>
              <a:gd name="connsiteY37" fmla="*/ 942644 h 2436046"/>
              <a:gd name="connsiteX38" fmla="*/ 1313346 w 5168654"/>
              <a:gd name="connsiteY38" fmla="*/ 1034437 h 2436046"/>
              <a:gd name="connsiteX39" fmla="*/ 1316877 w 5168654"/>
              <a:gd name="connsiteY39" fmla="*/ 1034437 h 2436046"/>
              <a:gd name="connsiteX40" fmla="*/ 1316877 w 5168654"/>
              <a:gd name="connsiteY40" fmla="*/ 1080333 h 2436046"/>
              <a:gd name="connsiteX41" fmla="*/ 1489871 w 5168654"/>
              <a:gd name="connsiteY41" fmla="*/ 1080333 h 2436046"/>
              <a:gd name="connsiteX42" fmla="*/ 1489871 w 5168654"/>
              <a:gd name="connsiteY42" fmla="*/ 1097986 h 2436046"/>
              <a:gd name="connsiteX43" fmla="*/ 1518115 w 5168654"/>
              <a:gd name="connsiteY43" fmla="*/ 1097986 h 2436046"/>
              <a:gd name="connsiteX44" fmla="*/ 1518115 w 5168654"/>
              <a:gd name="connsiteY44" fmla="*/ 1122699 h 2436046"/>
              <a:gd name="connsiteX45" fmla="*/ 1532237 w 5168654"/>
              <a:gd name="connsiteY45" fmla="*/ 1122699 h 2436046"/>
              <a:gd name="connsiteX46" fmla="*/ 1539298 w 5168654"/>
              <a:gd name="connsiteY46" fmla="*/ 1129760 h 2436046"/>
              <a:gd name="connsiteX47" fmla="*/ 1553420 w 5168654"/>
              <a:gd name="connsiteY47" fmla="*/ 1143882 h 2436046"/>
              <a:gd name="connsiteX48" fmla="*/ 1553420 w 5168654"/>
              <a:gd name="connsiteY48" fmla="*/ 1189779 h 2436046"/>
              <a:gd name="connsiteX49" fmla="*/ 1564012 w 5168654"/>
              <a:gd name="connsiteY49" fmla="*/ 1189779 h 2436046"/>
              <a:gd name="connsiteX50" fmla="*/ 1564012 w 5168654"/>
              <a:gd name="connsiteY50" fmla="*/ 1253328 h 2436046"/>
              <a:gd name="connsiteX51" fmla="*/ 1578134 w 5168654"/>
              <a:gd name="connsiteY51" fmla="*/ 1253328 h 2436046"/>
              <a:gd name="connsiteX52" fmla="*/ 1578134 w 5168654"/>
              <a:gd name="connsiteY52" fmla="*/ 1345121 h 2436046"/>
              <a:gd name="connsiteX53" fmla="*/ 1588726 w 5168654"/>
              <a:gd name="connsiteY53" fmla="*/ 1345121 h 2436046"/>
              <a:gd name="connsiteX54" fmla="*/ 1588726 w 5168654"/>
              <a:gd name="connsiteY54" fmla="*/ 1380426 h 2436046"/>
              <a:gd name="connsiteX55" fmla="*/ 1588726 w 5168654"/>
              <a:gd name="connsiteY55" fmla="*/ 1380426 h 2436046"/>
              <a:gd name="connsiteX56" fmla="*/ 1627561 w 5168654"/>
              <a:gd name="connsiteY56" fmla="*/ 1380426 h 2436046"/>
              <a:gd name="connsiteX57" fmla="*/ 1797025 w 5168654"/>
              <a:gd name="connsiteY57" fmla="*/ 1380426 h 2436046"/>
              <a:gd name="connsiteX58" fmla="*/ 1797025 w 5168654"/>
              <a:gd name="connsiteY58" fmla="*/ 1472219 h 2436046"/>
              <a:gd name="connsiteX59" fmla="*/ 1828800 w 5168654"/>
              <a:gd name="connsiteY59" fmla="*/ 1472219 h 2436046"/>
              <a:gd name="connsiteX60" fmla="*/ 1828800 w 5168654"/>
              <a:gd name="connsiteY60" fmla="*/ 1489872 h 2436046"/>
              <a:gd name="connsiteX61" fmla="*/ 1828800 w 5168654"/>
              <a:gd name="connsiteY61" fmla="*/ 1503994 h 2436046"/>
              <a:gd name="connsiteX62" fmla="*/ 1846452 w 5168654"/>
              <a:gd name="connsiteY62" fmla="*/ 1503994 h 2436046"/>
              <a:gd name="connsiteX63" fmla="*/ 1846452 w 5168654"/>
              <a:gd name="connsiteY63" fmla="*/ 1564012 h 2436046"/>
              <a:gd name="connsiteX64" fmla="*/ 1878227 w 5168654"/>
              <a:gd name="connsiteY64" fmla="*/ 1564012 h 2436046"/>
              <a:gd name="connsiteX65" fmla="*/ 1878227 w 5168654"/>
              <a:gd name="connsiteY65" fmla="*/ 1595787 h 2436046"/>
              <a:gd name="connsiteX66" fmla="*/ 2072404 w 5168654"/>
              <a:gd name="connsiteY66" fmla="*/ 1595787 h 2436046"/>
              <a:gd name="connsiteX67" fmla="*/ 2072404 w 5168654"/>
              <a:gd name="connsiteY67" fmla="*/ 1673458 h 2436046"/>
              <a:gd name="connsiteX68" fmla="*/ 2093587 w 5168654"/>
              <a:gd name="connsiteY68" fmla="*/ 1673458 h 2436046"/>
              <a:gd name="connsiteX69" fmla="*/ 2093587 w 5168654"/>
              <a:gd name="connsiteY69" fmla="*/ 1684049 h 2436046"/>
              <a:gd name="connsiteX70" fmla="*/ 2097118 w 5168654"/>
              <a:gd name="connsiteY70" fmla="*/ 1684049 h 2436046"/>
              <a:gd name="connsiteX71" fmla="*/ 2097118 w 5168654"/>
              <a:gd name="connsiteY71" fmla="*/ 1701702 h 2436046"/>
              <a:gd name="connsiteX72" fmla="*/ 2111240 w 5168654"/>
              <a:gd name="connsiteY72" fmla="*/ 1701702 h 2436046"/>
              <a:gd name="connsiteX73" fmla="*/ 2111240 w 5168654"/>
              <a:gd name="connsiteY73" fmla="*/ 1701702 h 2436046"/>
              <a:gd name="connsiteX74" fmla="*/ 2418393 w 5168654"/>
              <a:gd name="connsiteY74" fmla="*/ 1701702 h 2436046"/>
              <a:gd name="connsiteX75" fmla="*/ 2418393 w 5168654"/>
              <a:gd name="connsiteY75" fmla="*/ 1744068 h 2436046"/>
              <a:gd name="connsiteX76" fmla="*/ 2418393 w 5168654"/>
              <a:gd name="connsiteY76" fmla="*/ 1744068 h 2436046"/>
              <a:gd name="connsiteX77" fmla="*/ 2446637 w 5168654"/>
              <a:gd name="connsiteY77" fmla="*/ 1772312 h 2436046"/>
              <a:gd name="connsiteX78" fmla="*/ 2460759 w 5168654"/>
              <a:gd name="connsiteY78" fmla="*/ 1772312 h 2436046"/>
              <a:gd name="connsiteX79" fmla="*/ 2460759 w 5168654"/>
              <a:gd name="connsiteY79" fmla="*/ 1821739 h 2436046"/>
              <a:gd name="connsiteX80" fmla="*/ 2478412 w 5168654"/>
              <a:gd name="connsiteY80" fmla="*/ 1821739 h 2436046"/>
              <a:gd name="connsiteX81" fmla="*/ 2478412 w 5168654"/>
              <a:gd name="connsiteY81" fmla="*/ 1920593 h 2436046"/>
              <a:gd name="connsiteX82" fmla="*/ 2633754 w 5168654"/>
              <a:gd name="connsiteY82" fmla="*/ 1920593 h 2436046"/>
              <a:gd name="connsiteX83" fmla="*/ 2633754 w 5168654"/>
              <a:gd name="connsiteY83" fmla="*/ 1941776 h 2436046"/>
              <a:gd name="connsiteX84" fmla="*/ 2732608 w 5168654"/>
              <a:gd name="connsiteY84" fmla="*/ 1941776 h 2436046"/>
              <a:gd name="connsiteX85" fmla="*/ 2771443 w 5168654"/>
              <a:gd name="connsiteY85" fmla="*/ 1980611 h 2436046"/>
              <a:gd name="connsiteX86" fmla="*/ 2782035 w 5168654"/>
              <a:gd name="connsiteY86" fmla="*/ 1991203 h 2436046"/>
              <a:gd name="connsiteX87" fmla="*/ 2838523 w 5168654"/>
              <a:gd name="connsiteY87" fmla="*/ 1991203 h 2436046"/>
              <a:gd name="connsiteX88" fmla="*/ 2838523 w 5168654"/>
              <a:gd name="connsiteY88" fmla="*/ 2019447 h 2436046"/>
              <a:gd name="connsiteX89" fmla="*/ 2852645 w 5168654"/>
              <a:gd name="connsiteY89" fmla="*/ 2019447 h 2436046"/>
              <a:gd name="connsiteX90" fmla="*/ 2852645 w 5168654"/>
              <a:gd name="connsiteY90" fmla="*/ 2075935 h 2436046"/>
              <a:gd name="connsiteX91" fmla="*/ 2891481 w 5168654"/>
              <a:gd name="connsiteY91" fmla="*/ 2082996 h 2436046"/>
              <a:gd name="connsiteX92" fmla="*/ 2905603 w 5168654"/>
              <a:gd name="connsiteY92" fmla="*/ 2086526 h 2436046"/>
              <a:gd name="connsiteX93" fmla="*/ 2955030 w 5168654"/>
              <a:gd name="connsiteY93" fmla="*/ 2090057 h 2436046"/>
              <a:gd name="connsiteX94" fmla="*/ 3071536 w 5168654"/>
              <a:gd name="connsiteY94" fmla="*/ 2093587 h 2436046"/>
              <a:gd name="connsiteX95" fmla="*/ 3216287 w 5168654"/>
              <a:gd name="connsiteY95" fmla="*/ 2093587 h 2436046"/>
              <a:gd name="connsiteX96" fmla="*/ 3216287 w 5168654"/>
              <a:gd name="connsiteY96" fmla="*/ 2107709 h 2436046"/>
              <a:gd name="connsiteX97" fmla="*/ 3230409 w 5168654"/>
              <a:gd name="connsiteY97" fmla="*/ 2121831 h 2436046"/>
              <a:gd name="connsiteX98" fmla="*/ 3230409 w 5168654"/>
              <a:gd name="connsiteY98" fmla="*/ 2181850 h 2436046"/>
              <a:gd name="connsiteX99" fmla="*/ 3438709 w 5168654"/>
              <a:gd name="connsiteY99" fmla="*/ 2181850 h 2436046"/>
              <a:gd name="connsiteX100" fmla="*/ 3438709 w 5168654"/>
              <a:gd name="connsiteY100" fmla="*/ 2199502 h 2436046"/>
              <a:gd name="connsiteX101" fmla="*/ 3565807 w 5168654"/>
              <a:gd name="connsiteY101" fmla="*/ 2199502 h 2436046"/>
              <a:gd name="connsiteX102" fmla="*/ 3565807 w 5168654"/>
              <a:gd name="connsiteY102" fmla="*/ 2227746 h 2436046"/>
              <a:gd name="connsiteX103" fmla="*/ 3618764 w 5168654"/>
              <a:gd name="connsiteY103" fmla="*/ 2227746 h 2436046"/>
              <a:gd name="connsiteX104" fmla="*/ 3618764 w 5168654"/>
              <a:gd name="connsiteY104" fmla="*/ 2252460 h 2436046"/>
              <a:gd name="connsiteX105" fmla="*/ 3890613 w 5168654"/>
              <a:gd name="connsiteY105" fmla="*/ 2252460 h 2436046"/>
              <a:gd name="connsiteX106" fmla="*/ 3890613 w 5168654"/>
              <a:gd name="connsiteY106" fmla="*/ 2287765 h 2436046"/>
              <a:gd name="connsiteX107" fmla="*/ 3975345 w 5168654"/>
              <a:gd name="connsiteY107" fmla="*/ 2287765 h 2436046"/>
              <a:gd name="connsiteX108" fmla="*/ 3975345 w 5168654"/>
              <a:gd name="connsiteY108" fmla="*/ 2316009 h 2436046"/>
              <a:gd name="connsiteX109" fmla="*/ 4007119 w 5168654"/>
              <a:gd name="connsiteY109" fmla="*/ 2316009 h 2436046"/>
              <a:gd name="connsiteX110" fmla="*/ 4007119 w 5168654"/>
              <a:gd name="connsiteY110" fmla="*/ 2368967 h 2436046"/>
              <a:gd name="connsiteX111" fmla="*/ 4614366 w 5168654"/>
              <a:gd name="connsiteY111" fmla="*/ 2368967 h 2436046"/>
              <a:gd name="connsiteX112" fmla="*/ 4614366 w 5168654"/>
              <a:gd name="connsiteY112" fmla="*/ 2436046 h 2436046"/>
              <a:gd name="connsiteX113" fmla="*/ 5168654 w 5168654"/>
              <a:gd name="connsiteY113" fmla="*/ 2436046 h 2436046"/>
              <a:gd name="connsiteX0-1" fmla="*/ 0 w 5168654"/>
              <a:gd name="connsiteY0-2" fmla="*/ 0 h 2436046"/>
              <a:gd name="connsiteX1-3" fmla="*/ 144750 w 5168654"/>
              <a:gd name="connsiteY1-4" fmla="*/ 0 h 2436046"/>
              <a:gd name="connsiteX2-5" fmla="*/ 144750 w 5168654"/>
              <a:gd name="connsiteY2-6" fmla="*/ 42366 h 2436046"/>
              <a:gd name="connsiteX3-7" fmla="*/ 158872 w 5168654"/>
              <a:gd name="connsiteY3-8" fmla="*/ 42366 h 2436046"/>
              <a:gd name="connsiteX4-9" fmla="*/ 158872 w 5168654"/>
              <a:gd name="connsiteY4-10" fmla="*/ 81201 h 2436046"/>
              <a:gd name="connsiteX5-11" fmla="*/ 162403 w 5168654"/>
              <a:gd name="connsiteY5-12" fmla="*/ 84732 h 2436046"/>
              <a:gd name="connsiteX6-13" fmla="*/ 162403 w 5168654"/>
              <a:gd name="connsiteY6-14" fmla="*/ 155342 h 2436046"/>
              <a:gd name="connsiteX7-15" fmla="*/ 257726 w 5168654"/>
              <a:gd name="connsiteY7-16" fmla="*/ 155342 h 2436046"/>
              <a:gd name="connsiteX8-17" fmla="*/ 257726 w 5168654"/>
              <a:gd name="connsiteY8-18" fmla="*/ 190647 h 2436046"/>
              <a:gd name="connsiteX9-19" fmla="*/ 268318 w 5168654"/>
              <a:gd name="connsiteY9-20" fmla="*/ 190647 h 2436046"/>
              <a:gd name="connsiteX10-21" fmla="*/ 268318 w 5168654"/>
              <a:gd name="connsiteY10-22" fmla="*/ 211830 h 2436046"/>
              <a:gd name="connsiteX11-23" fmla="*/ 508392 w 5168654"/>
              <a:gd name="connsiteY11-24" fmla="*/ 211830 h 2436046"/>
              <a:gd name="connsiteX12-25" fmla="*/ 508392 w 5168654"/>
              <a:gd name="connsiteY12-26" fmla="*/ 243604 h 2436046"/>
              <a:gd name="connsiteX13-27" fmla="*/ 536636 w 5168654"/>
              <a:gd name="connsiteY13-28" fmla="*/ 243604 h 2436046"/>
              <a:gd name="connsiteX14-29" fmla="*/ 536636 w 5168654"/>
              <a:gd name="connsiteY14-30" fmla="*/ 363641 h 2436046"/>
              <a:gd name="connsiteX15-31" fmla="*/ 554288 w 5168654"/>
              <a:gd name="connsiteY15-32" fmla="*/ 363641 h 2436046"/>
              <a:gd name="connsiteX16-33" fmla="*/ 554288 w 5168654"/>
              <a:gd name="connsiteY16-34" fmla="*/ 423660 h 2436046"/>
              <a:gd name="connsiteX17-35" fmla="*/ 769649 w 5168654"/>
              <a:gd name="connsiteY17-36" fmla="*/ 423660 h 2436046"/>
              <a:gd name="connsiteX18-37" fmla="*/ 769649 w 5168654"/>
              <a:gd name="connsiteY18-38" fmla="*/ 430721 h 2436046"/>
              <a:gd name="connsiteX19-39" fmla="*/ 776710 w 5168654"/>
              <a:gd name="connsiteY19-40" fmla="*/ 437782 h 2436046"/>
              <a:gd name="connsiteX20-41" fmla="*/ 776710 w 5168654"/>
              <a:gd name="connsiteY20-42" fmla="*/ 455434 h 2436046"/>
              <a:gd name="connsiteX21-43" fmla="*/ 794363 w 5168654"/>
              <a:gd name="connsiteY21-44" fmla="*/ 455434 h 2436046"/>
              <a:gd name="connsiteX22-45" fmla="*/ 794363 w 5168654"/>
              <a:gd name="connsiteY22-46" fmla="*/ 497801 h 2436046"/>
              <a:gd name="connsiteX23-47" fmla="*/ 808485 w 5168654"/>
              <a:gd name="connsiteY23-48" fmla="*/ 497801 h 2436046"/>
              <a:gd name="connsiteX24-49" fmla="*/ 808485 w 5168654"/>
              <a:gd name="connsiteY24-50" fmla="*/ 621368 h 2436046"/>
              <a:gd name="connsiteX25-51" fmla="*/ 822607 w 5168654"/>
              <a:gd name="connsiteY25-52" fmla="*/ 621368 h 2436046"/>
              <a:gd name="connsiteX26-53" fmla="*/ 822607 w 5168654"/>
              <a:gd name="connsiteY26-54" fmla="*/ 639021 h 2436046"/>
              <a:gd name="connsiteX27-55" fmla="*/ 1045028 w 5168654"/>
              <a:gd name="connsiteY27-56" fmla="*/ 639021 h 2436046"/>
              <a:gd name="connsiteX28-57" fmla="*/ 1045028 w 5168654"/>
              <a:gd name="connsiteY28-58" fmla="*/ 790832 h 2436046"/>
              <a:gd name="connsiteX29-59" fmla="*/ 1059150 w 5168654"/>
              <a:gd name="connsiteY29-60" fmla="*/ 790832 h 2436046"/>
              <a:gd name="connsiteX30-61" fmla="*/ 1059150 w 5168654"/>
              <a:gd name="connsiteY30-62" fmla="*/ 889686 h 2436046"/>
              <a:gd name="connsiteX31-63" fmla="*/ 1083864 w 5168654"/>
              <a:gd name="connsiteY31-64" fmla="*/ 889686 h 2436046"/>
              <a:gd name="connsiteX32-65" fmla="*/ 1101516 w 5168654"/>
              <a:gd name="connsiteY32-66" fmla="*/ 889686 h 2436046"/>
              <a:gd name="connsiteX33-67" fmla="*/ 1158004 w 5168654"/>
              <a:gd name="connsiteY33-68" fmla="*/ 889686 h 2436046"/>
              <a:gd name="connsiteX34-69" fmla="*/ 1158004 w 5168654"/>
              <a:gd name="connsiteY34-70" fmla="*/ 917930 h 2436046"/>
              <a:gd name="connsiteX35-71" fmla="*/ 1302755 w 5168654"/>
              <a:gd name="connsiteY35-72" fmla="*/ 917930 h 2436046"/>
              <a:gd name="connsiteX36-73" fmla="*/ 1302755 w 5168654"/>
              <a:gd name="connsiteY36-74" fmla="*/ 942644 h 2436046"/>
              <a:gd name="connsiteX37-75" fmla="*/ 1313346 w 5168654"/>
              <a:gd name="connsiteY37-76" fmla="*/ 942644 h 2436046"/>
              <a:gd name="connsiteX38-77" fmla="*/ 1313346 w 5168654"/>
              <a:gd name="connsiteY38-78" fmla="*/ 1034437 h 2436046"/>
              <a:gd name="connsiteX39-79" fmla="*/ 1316877 w 5168654"/>
              <a:gd name="connsiteY39-80" fmla="*/ 1034437 h 2436046"/>
              <a:gd name="connsiteX40-81" fmla="*/ 1316877 w 5168654"/>
              <a:gd name="connsiteY40-82" fmla="*/ 1080333 h 2436046"/>
              <a:gd name="connsiteX41-83" fmla="*/ 1489871 w 5168654"/>
              <a:gd name="connsiteY41-84" fmla="*/ 1080333 h 2436046"/>
              <a:gd name="connsiteX42-85" fmla="*/ 1489871 w 5168654"/>
              <a:gd name="connsiteY42-86" fmla="*/ 1097986 h 2436046"/>
              <a:gd name="connsiteX43-87" fmla="*/ 1518115 w 5168654"/>
              <a:gd name="connsiteY43-88" fmla="*/ 1097986 h 2436046"/>
              <a:gd name="connsiteX44-89" fmla="*/ 1518115 w 5168654"/>
              <a:gd name="connsiteY44-90" fmla="*/ 1122699 h 2436046"/>
              <a:gd name="connsiteX45-91" fmla="*/ 1532237 w 5168654"/>
              <a:gd name="connsiteY45-92" fmla="*/ 1122699 h 2436046"/>
              <a:gd name="connsiteX46-93" fmla="*/ 1539298 w 5168654"/>
              <a:gd name="connsiteY46-94" fmla="*/ 1129760 h 2436046"/>
              <a:gd name="connsiteX47-95" fmla="*/ 1553420 w 5168654"/>
              <a:gd name="connsiteY47-96" fmla="*/ 1143882 h 2436046"/>
              <a:gd name="connsiteX48-97" fmla="*/ 1553420 w 5168654"/>
              <a:gd name="connsiteY48-98" fmla="*/ 1189779 h 2436046"/>
              <a:gd name="connsiteX49-99" fmla="*/ 1564012 w 5168654"/>
              <a:gd name="connsiteY49-100" fmla="*/ 1189779 h 2436046"/>
              <a:gd name="connsiteX50-101" fmla="*/ 1564012 w 5168654"/>
              <a:gd name="connsiteY50-102" fmla="*/ 1253328 h 2436046"/>
              <a:gd name="connsiteX51-103" fmla="*/ 1578134 w 5168654"/>
              <a:gd name="connsiteY51-104" fmla="*/ 1253328 h 2436046"/>
              <a:gd name="connsiteX52-105" fmla="*/ 1578134 w 5168654"/>
              <a:gd name="connsiteY52-106" fmla="*/ 1345121 h 2436046"/>
              <a:gd name="connsiteX53-107" fmla="*/ 1588726 w 5168654"/>
              <a:gd name="connsiteY53-108" fmla="*/ 1345121 h 2436046"/>
              <a:gd name="connsiteX54-109" fmla="*/ 1588726 w 5168654"/>
              <a:gd name="connsiteY54-110" fmla="*/ 1380426 h 2436046"/>
              <a:gd name="connsiteX55-111" fmla="*/ 1588726 w 5168654"/>
              <a:gd name="connsiteY55-112" fmla="*/ 1380426 h 2436046"/>
              <a:gd name="connsiteX56-113" fmla="*/ 1627561 w 5168654"/>
              <a:gd name="connsiteY56-114" fmla="*/ 1380426 h 2436046"/>
              <a:gd name="connsiteX57-115" fmla="*/ 1797025 w 5168654"/>
              <a:gd name="connsiteY57-116" fmla="*/ 1380426 h 2436046"/>
              <a:gd name="connsiteX58-117" fmla="*/ 1797025 w 5168654"/>
              <a:gd name="connsiteY58-118" fmla="*/ 1472219 h 2436046"/>
              <a:gd name="connsiteX59-119" fmla="*/ 1828800 w 5168654"/>
              <a:gd name="connsiteY59-120" fmla="*/ 1472219 h 2436046"/>
              <a:gd name="connsiteX60-121" fmla="*/ 1828800 w 5168654"/>
              <a:gd name="connsiteY60-122" fmla="*/ 1489872 h 2436046"/>
              <a:gd name="connsiteX61-123" fmla="*/ 1828800 w 5168654"/>
              <a:gd name="connsiteY61-124" fmla="*/ 1503994 h 2436046"/>
              <a:gd name="connsiteX62-125" fmla="*/ 1846452 w 5168654"/>
              <a:gd name="connsiteY62-126" fmla="*/ 1503994 h 2436046"/>
              <a:gd name="connsiteX63-127" fmla="*/ 1846452 w 5168654"/>
              <a:gd name="connsiteY63-128" fmla="*/ 1564012 h 2436046"/>
              <a:gd name="connsiteX64-129" fmla="*/ 1878227 w 5168654"/>
              <a:gd name="connsiteY64-130" fmla="*/ 1564012 h 2436046"/>
              <a:gd name="connsiteX65-131" fmla="*/ 1878227 w 5168654"/>
              <a:gd name="connsiteY65-132" fmla="*/ 1595787 h 2436046"/>
              <a:gd name="connsiteX66-133" fmla="*/ 2072404 w 5168654"/>
              <a:gd name="connsiteY66-134" fmla="*/ 1595787 h 2436046"/>
              <a:gd name="connsiteX67-135" fmla="*/ 2072404 w 5168654"/>
              <a:gd name="connsiteY67-136" fmla="*/ 1673458 h 2436046"/>
              <a:gd name="connsiteX68-137" fmla="*/ 2093587 w 5168654"/>
              <a:gd name="connsiteY68-138" fmla="*/ 1673458 h 2436046"/>
              <a:gd name="connsiteX69-139" fmla="*/ 2093587 w 5168654"/>
              <a:gd name="connsiteY69-140" fmla="*/ 1684049 h 2436046"/>
              <a:gd name="connsiteX70-141" fmla="*/ 2097118 w 5168654"/>
              <a:gd name="connsiteY70-142" fmla="*/ 1684049 h 2436046"/>
              <a:gd name="connsiteX71-143" fmla="*/ 2097118 w 5168654"/>
              <a:gd name="connsiteY71-144" fmla="*/ 1701702 h 2436046"/>
              <a:gd name="connsiteX72-145" fmla="*/ 2111240 w 5168654"/>
              <a:gd name="connsiteY72-146" fmla="*/ 1701702 h 2436046"/>
              <a:gd name="connsiteX73-147" fmla="*/ 2111240 w 5168654"/>
              <a:gd name="connsiteY73-148" fmla="*/ 1701702 h 2436046"/>
              <a:gd name="connsiteX74-149" fmla="*/ 2418393 w 5168654"/>
              <a:gd name="connsiteY74-150" fmla="*/ 1701702 h 2436046"/>
              <a:gd name="connsiteX75-151" fmla="*/ 2418393 w 5168654"/>
              <a:gd name="connsiteY75-152" fmla="*/ 1744068 h 2436046"/>
              <a:gd name="connsiteX76-153" fmla="*/ 2418393 w 5168654"/>
              <a:gd name="connsiteY76-154" fmla="*/ 1744068 h 2436046"/>
              <a:gd name="connsiteX77-155" fmla="*/ 2446637 w 5168654"/>
              <a:gd name="connsiteY77-156" fmla="*/ 1772312 h 2436046"/>
              <a:gd name="connsiteX78-157" fmla="*/ 2460759 w 5168654"/>
              <a:gd name="connsiteY78-158" fmla="*/ 1772312 h 2436046"/>
              <a:gd name="connsiteX79-159" fmla="*/ 2460759 w 5168654"/>
              <a:gd name="connsiteY79-160" fmla="*/ 1821739 h 2436046"/>
              <a:gd name="connsiteX80-161" fmla="*/ 2478412 w 5168654"/>
              <a:gd name="connsiteY80-162" fmla="*/ 1821739 h 2436046"/>
              <a:gd name="connsiteX81-163" fmla="*/ 2478412 w 5168654"/>
              <a:gd name="connsiteY81-164" fmla="*/ 1920593 h 2436046"/>
              <a:gd name="connsiteX82-165" fmla="*/ 2633754 w 5168654"/>
              <a:gd name="connsiteY82-166" fmla="*/ 1920593 h 2436046"/>
              <a:gd name="connsiteX83-167" fmla="*/ 2633754 w 5168654"/>
              <a:gd name="connsiteY83-168" fmla="*/ 1941776 h 2436046"/>
              <a:gd name="connsiteX84-169" fmla="*/ 2732608 w 5168654"/>
              <a:gd name="connsiteY84-170" fmla="*/ 1941776 h 2436046"/>
              <a:gd name="connsiteX85-171" fmla="*/ 2771443 w 5168654"/>
              <a:gd name="connsiteY85-172" fmla="*/ 1980611 h 2436046"/>
              <a:gd name="connsiteX86-173" fmla="*/ 2782035 w 5168654"/>
              <a:gd name="connsiteY86-174" fmla="*/ 1991203 h 2436046"/>
              <a:gd name="connsiteX87-175" fmla="*/ 2838523 w 5168654"/>
              <a:gd name="connsiteY87-176" fmla="*/ 1991203 h 2436046"/>
              <a:gd name="connsiteX88-177" fmla="*/ 2838523 w 5168654"/>
              <a:gd name="connsiteY88-178" fmla="*/ 2019447 h 2436046"/>
              <a:gd name="connsiteX89-179" fmla="*/ 2852645 w 5168654"/>
              <a:gd name="connsiteY89-180" fmla="*/ 2019447 h 2436046"/>
              <a:gd name="connsiteX90-181" fmla="*/ 2852645 w 5168654"/>
              <a:gd name="connsiteY90-182" fmla="*/ 2075935 h 2436046"/>
              <a:gd name="connsiteX91-183" fmla="*/ 2891481 w 5168654"/>
              <a:gd name="connsiteY91-184" fmla="*/ 2082996 h 2436046"/>
              <a:gd name="connsiteX92-185" fmla="*/ 2905603 w 5168654"/>
              <a:gd name="connsiteY92-186" fmla="*/ 2086526 h 2436046"/>
              <a:gd name="connsiteX93-187" fmla="*/ 2955030 w 5168654"/>
              <a:gd name="connsiteY93-188" fmla="*/ 2090057 h 2436046"/>
              <a:gd name="connsiteX94-189" fmla="*/ 3216287 w 5168654"/>
              <a:gd name="connsiteY94-190" fmla="*/ 2093587 h 2436046"/>
              <a:gd name="connsiteX95-191" fmla="*/ 3216287 w 5168654"/>
              <a:gd name="connsiteY95-192" fmla="*/ 2107709 h 2436046"/>
              <a:gd name="connsiteX96-193" fmla="*/ 3230409 w 5168654"/>
              <a:gd name="connsiteY96-194" fmla="*/ 2121831 h 2436046"/>
              <a:gd name="connsiteX97-195" fmla="*/ 3230409 w 5168654"/>
              <a:gd name="connsiteY97-196" fmla="*/ 2181850 h 2436046"/>
              <a:gd name="connsiteX98-197" fmla="*/ 3438709 w 5168654"/>
              <a:gd name="connsiteY98-198" fmla="*/ 2181850 h 2436046"/>
              <a:gd name="connsiteX99-199" fmla="*/ 3438709 w 5168654"/>
              <a:gd name="connsiteY99-200" fmla="*/ 2199502 h 2436046"/>
              <a:gd name="connsiteX100-201" fmla="*/ 3565807 w 5168654"/>
              <a:gd name="connsiteY100-202" fmla="*/ 2199502 h 2436046"/>
              <a:gd name="connsiteX101-203" fmla="*/ 3565807 w 5168654"/>
              <a:gd name="connsiteY101-204" fmla="*/ 2227746 h 2436046"/>
              <a:gd name="connsiteX102-205" fmla="*/ 3618764 w 5168654"/>
              <a:gd name="connsiteY102-206" fmla="*/ 2227746 h 2436046"/>
              <a:gd name="connsiteX103-207" fmla="*/ 3618764 w 5168654"/>
              <a:gd name="connsiteY103-208" fmla="*/ 2252460 h 2436046"/>
              <a:gd name="connsiteX104-209" fmla="*/ 3890613 w 5168654"/>
              <a:gd name="connsiteY104-210" fmla="*/ 2252460 h 2436046"/>
              <a:gd name="connsiteX105-211" fmla="*/ 3890613 w 5168654"/>
              <a:gd name="connsiteY105-212" fmla="*/ 2287765 h 2436046"/>
              <a:gd name="connsiteX106-213" fmla="*/ 3975345 w 5168654"/>
              <a:gd name="connsiteY106-214" fmla="*/ 2287765 h 2436046"/>
              <a:gd name="connsiteX107-215" fmla="*/ 3975345 w 5168654"/>
              <a:gd name="connsiteY107-216" fmla="*/ 2316009 h 2436046"/>
              <a:gd name="connsiteX108-217" fmla="*/ 4007119 w 5168654"/>
              <a:gd name="connsiteY108-218" fmla="*/ 2316009 h 2436046"/>
              <a:gd name="connsiteX109-219" fmla="*/ 4007119 w 5168654"/>
              <a:gd name="connsiteY109-220" fmla="*/ 2368967 h 2436046"/>
              <a:gd name="connsiteX110-221" fmla="*/ 4614366 w 5168654"/>
              <a:gd name="connsiteY110-222" fmla="*/ 2368967 h 2436046"/>
              <a:gd name="connsiteX111-223" fmla="*/ 4614366 w 5168654"/>
              <a:gd name="connsiteY111-224" fmla="*/ 2436046 h 2436046"/>
              <a:gd name="connsiteX112-225" fmla="*/ 5168654 w 5168654"/>
              <a:gd name="connsiteY112-226" fmla="*/ 2436046 h 2436046"/>
              <a:gd name="connsiteX0-227" fmla="*/ 0 w 5168654"/>
              <a:gd name="connsiteY0-228" fmla="*/ 0 h 2436046"/>
              <a:gd name="connsiteX1-229" fmla="*/ 144750 w 5168654"/>
              <a:gd name="connsiteY1-230" fmla="*/ 0 h 2436046"/>
              <a:gd name="connsiteX2-231" fmla="*/ 144750 w 5168654"/>
              <a:gd name="connsiteY2-232" fmla="*/ 42366 h 2436046"/>
              <a:gd name="connsiteX3-233" fmla="*/ 158872 w 5168654"/>
              <a:gd name="connsiteY3-234" fmla="*/ 42366 h 2436046"/>
              <a:gd name="connsiteX4-235" fmla="*/ 158872 w 5168654"/>
              <a:gd name="connsiteY4-236" fmla="*/ 81201 h 2436046"/>
              <a:gd name="connsiteX5-237" fmla="*/ 162403 w 5168654"/>
              <a:gd name="connsiteY5-238" fmla="*/ 84732 h 2436046"/>
              <a:gd name="connsiteX6-239" fmla="*/ 162403 w 5168654"/>
              <a:gd name="connsiteY6-240" fmla="*/ 155342 h 2436046"/>
              <a:gd name="connsiteX7-241" fmla="*/ 257726 w 5168654"/>
              <a:gd name="connsiteY7-242" fmla="*/ 155342 h 2436046"/>
              <a:gd name="connsiteX8-243" fmla="*/ 257726 w 5168654"/>
              <a:gd name="connsiteY8-244" fmla="*/ 190647 h 2436046"/>
              <a:gd name="connsiteX9-245" fmla="*/ 268318 w 5168654"/>
              <a:gd name="connsiteY9-246" fmla="*/ 190647 h 2436046"/>
              <a:gd name="connsiteX10-247" fmla="*/ 268318 w 5168654"/>
              <a:gd name="connsiteY10-248" fmla="*/ 211830 h 2436046"/>
              <a:gd name="connsiteX11-249" fmla="*/ 508392 w 5168654"/>
              <a:gd name="connsiteY11-250" fmla="*/ 211830 h 2436046"/>
              <a:gd name="connsiteX12-251" fmla="*/ 508392 w 5168654"/>
              <a:gd name="connsiteY12-252" fmla="*/ 243604 h 2436046"/>
              <a:gd name="connsiteX13-253" fmla="*/ 536636 w 5168654"/>
              <a:gd name="connsiteY13-254" fmla="*/ 243604 h 2436046"/>
              <a:gd name="connsiteX14-255" fmla="*/ 536636 w 5168654"/>
              <a:gd name="connsiteY14-256" fmla="*/ 363641 h 2436046"/>
              <a:gd name="connsiteX15-257" fmla="*/ 554288 w 5168654"/>
              <a:gd name="connsiteY15-258" fmla="*/ 363641 h 2436046"/>
              <a:gd name="connsiteX16-259" fmla="*/ 554288 w 5168654"/>
              <a:gd name="connsiteY16-260" fmla="*/ 423660 h 2436046"/>
              <a:gd name="connsiteX17-261" fmla="*/ 769649 w 5168654"/>
              <a:gd name="connsiteY17-262" fmla="*/ 423660 h 2436046"/>
              <a:gd name="connsiteX18-263" fmla="*/ 769649 w 5168654"/>
              <a:gd name="connsiteY18-264" fmla="*/ 430721 h 2436046"/>
              <a:gd name="connsiteX19-265" fmla="*/ 776710 w 5168654"/>
              <a:gd name="connsiteY19-266" fmla="*/ 437782 h 2436046"/>
              <a:gd name="connsiteX20-267" fmla="*/ 776710 w 5168654"/>
              <a:gd name="connsiteY20-268" fmla="*/ 455434 h 2436046"/>
              <a:gd name="connsiteX21-269" fmla="*/ 794363 w 5168654"/>
              <a:gd name="connsiteY21-270" fmla="*/ 455434 h 2436046"/>
              <a:gd name="connsiteX22-271" fmla="*/ 794363 w 5168654"/>
              <a:gd name="connsiteY22-272" fmla="*/ 497801 h 2436046"/>
              <a:gd name="connsiteX23-273" fmla="*/ 808485 w 5168654"/>
              <a:gd name="connsiteY23-274" fmla="*/ 497801 h 2436046"/>
              <a:gd name="connsiteX24-275" fmla="*/ 808485 w 5168654"/>
              <a:gd name="connsiteY24-276" fmla="*/ 621368 h 2436046"/>
              <a:gd name="connsiteX25-277" fmla="*/ 822607 w 5168654"/>
              <a:gd name="connsiteY25-278" fmla="*/ 621368 h 2436046"/>
              <a:gd name="connsiteX26-279" fmla="*/ 822607 w 5168654"/>
              <a:gd name="connsiteY26-280" fmla="*/ 639021 h 2436046"/>
              <a:gd name="connsiteX27-281" fmla="*/ 1045028 w 5168654"/>
              <a:gd name="connsiteY27-282" fmla="*/ 639021 h 2436046"/>
              <a:gd name="connsiteX28-283" fmla="*/ 1045028 w 5168654"/>
              <a:gd name="connsiteY28-284" fmla="*/ 790832 h 2436046"/>
              <a:gd name="connsiteX29-285" fmla="*/ 1059150 w 5168654"/>
              <a:gd name="connsiteY29-286" fmla="*/ 790832 h 2436046"/>
              <a:gd name="connsiteX30-287" fmla="*/ 1059150 w 5168654"/>
              <a:gd name="connsiteY30-288" fmla="*/ 889686 h 2436046"/>
              <a:gd name="connsiteX31-289" fmla="*/ 1083864 w 5168654"/>
              <a:gd name="connsiteY31-290" fmla="*/ 889686 h 2436046"/>
              <a:gd name="connsiteX32-291" fmla="*/ 1101516 w 5168654"/>
              <a:gd name="connsiteY32-292" fmla="*/ 889686 h 2436046"/>
              <a:gd name="connsiteX33-293" fmla="*/ 1158004 w 5168654"/>
              <a:gd name="connsiteY33-294" fmla="*/ 889686 h 2436046"/>
              <a:gd name="connsiteX34-295" fmla="*/ 1158004 w 5168654"/>
              <a:gd name="connsiteY34-296" fmla="*/ 917930 h 2436046"/>
              <a:gd name="connsiteX35-297" fmla="*/ 1302755 w 5168654"/>
              <a:gd name="connsiteY35-298" fmla="*/ 917930 h 2436046"/>
              <a:gd name="connsiteX36-299" fmla="*/ 1302755 w 5168654"/>
              <a:gd name="connsiteY36-300" fmla="*/ 942644 h 2436046"/>
              <a:gd name="connsiteX37-301" fmla="*/ 1313346 w 5168654"/>
              <a:gd name="connsiteY37-302" fmla="*/ 942644 h 2436046"/>
              <a:gd name="connsiteX38-303" fmla="*/ 1313346 w 5168654"/>
              <a:gd name="connsiteY38-304" fmla="*/ 1034437 h 2436046"/>
              <a:gd name="connsiteX39-305" fmla="*/ 1316877 w 5168654"/>
              <a:gd name="connsiteY39-306" fmla="*/ 1034437 h 2436046"/>
              <a:gd name="connsiteX40-307" fmla="*/ 1316877 w 5168654"/>
              <a:gd name="connsiteY40-308" fmla="*/ 1080333 h 2436046"/>
              <a:gd name="connsiteX41-309" fmla="*/ 1489871 w 5168654"/>
              <a:gd name="connsiteY41-310" fmla="*/ 1080333 h 2436046"/>
              <a:gd name="connsiteX42-311" fmla="*/ 1489871 w 5168654"/>
              <a:gd name="connsiteY42-312" fmla="*/ 1097986 h 2436046"/>
              <a:gd name="connsiteX43-313" fmla="*/ 1518115 w 5168654"/>
              <a:gd name="connsiteY43-314" fmla="*/ 1097986 h 2436046"/>
              <a:gd name="connsiteX44-315" fmla="*/ 1518115 w 5168654"/>
              <a:gd name="connsiteY44-316" fmla="*/ 1122699 h 2436046"/>
              <a:gd name="connsiteX45-317" fmla="*/ 1532237 w 5168654"/>
              <a:gd name="connsiteY45-318" fmla="*/ 1122699 h 2436046"/>
              <a:gd name="connsiteX46-319" fmla="*/ 1539298 w 5168654"/>
              <a:gd name="connsiteY46-320" fmla="*/ 1129760 h 2436046"/>
              <a:gd name="connsiteX47-321" fmla="*/ 1553420 w 5168654"/>
              <a:gd name="connsiteY47-322" fmla="*/ 1143882 h 2436046"/>
              <a:gd name="connsiteX48-323" fmla="*/ 1553420 w 5168654"/>
              <a:gd name="connsiteY48-324" fmla="*/ 1189779 h 2436046"/>
              <a:gd name="connsiteX49-325" fmla="*/ 1564012 w 5168654"/>
              <a:gd name="connsiteY49-326" fmla="*/ 1189779 h 2436046"/>
              <a:gd name="connsiteX50-327" fmla="*/ 1564012 w 5168654"/>
              <a:gd name="connsiteY50-328" fmla="*/ 1253328 h 2436046"/>
              <a:gd name="connsiteX51-329" fmla="*/ 1578134 w 5168654"/>
              <a:gd name="connsiteY51-330" fmla="*/ 1253328 h 2436046"/>
              <a:gd name="connsiteX52-331" fmla="*/ 1578134 w 5168654"/>
              <a:gd name="connsiteY52-332" fmla="*/ 1345121 h 2436046"/>
              <a:gd name="connsiteX53-333" fmla="*/ 1588726 w 5168654"/>
              <a:gd name="connsiteY53-334" fmla="*/ 1345121 h 2436046"/>
              <a:gd name="connsiteX54-335" fmla="*/ 1588726 w 5168654"/>
              <a:gd name="connsiteY54-336" fmla="*/ 1380426 h 2436046"/>
              <a:gd name="connsiteX55-337" fmla="*/ 1588726 w 5168654"/>
              <a:gd name="connsiteY55-338" fmla="*/ 1380426 h 2436046"/>
              <a:gd name="connsiteX56-339" fmla="*/ 1627561 w 5168654"/>
              <a:gd name="connsiteY56-340" fmla="*/ 1380426 h 2436046"/>
              <a:gd name="connsiteX57-341" fmla="*/ 1797025 w 5168654"/>
              <a:gd name="connsiteY57-342" fmla="*/ 1380426 h 2436046"/>
              <a:gd name="connsiteX58-343" fmla="*/ 1797025 w 5168654"/>
              <a:gd name="connsiteY58-344" fmla="*/ 1472219 h 2436046"/>
              <a:gd name="connsiteX59-345" fmla="*/ 1828800 w 5168654"/>
              <a:gd name="connsiteY59-346" fmla="*/ 1472219 h 2436046"/>
              <a:gd name="connsiteX60-347" fmla="*/ 1828800 w 5168654"/>
              <a:gd name="connsiteY60-348" fmla="*/ 1489872 h 2436046"/>
              <a:gd name="connsiteX61-349" fmla="*/ 1828800 w 5168654"/>
              <a:gd name="connsiteY61-350" fmla="*/ 1503994 h 2436046"/>
              <a:gd name="connsiteX62-351" fmla="*/ 1846452 w 5168654"/>
              <a:gd name="connsiteY62-352" fmla="*/ 1503994 h 2436046"/>
              <a:gd name="connsiteX63-353" fmla="*/ 1846452 w 5168654"/>
              <a:gd name="connsiteY63-354" fmla="*/ 1564012 h 2436046"/>
              <a:gd name="connsiteX64-355" fmla="*/ 1878227 w 5168654"/>
              <a:gd name="connsiteY64-356" fmla="*/ 1564012 h 2436046"/>
              <a:gd name="connsiteX65-357" fmla="*/ 1878227 w 5168654"/>
              <a:gd name="connsiteY65-358" fmla="*/ 1595787 h 2436046"/>
              <a:gd name="connsiteX66-359" fmla="*/ 2072404 w 5168654"/>
              <a:gd name="connsiteY66-360" fmla="*/ 1595787 h 2436046"/>
              <a:gd name="connsiteX67-361" fmla="*/ 2072404 w 5168654"/>
              <a:gd name="connsiteY67-362" fmla="*/ 1673458 h 2436046"/>
              <a:gd name="connsiteX68-363" fmla="*/ 2093587 w 5168654"/>
              <a:gd name="connsiteY68-364" fmla="*/ 1673458 h 2436046"/>
              <a:gd name="connsiteX69-365" fmla="*/ 2093587 w 5168654"/>
              <a:gd name="connsiteY69-366" fmla="*/ 1684049 h 2436046"/>
              <a:gd name="connsiteX70-367" fmla="*/ 2097118 w 5168654"/>
              <a:gd name="connsiteY70-368" fmla="*/ 1684049 h 2436046"/>
              <a:gd name="connsiteX71-369" fmla="*/ 2097118 w 5168654"/>
              <a:gd name="connsiteY71-370" fmla="*/ 1701702 h 2436046"/>
              <a:gd name="connsiteX72-371" fmla="*/ 2111240 w 5168654"/>
              <a:gd name="connsiteY72-372" fmla="*/ 1701702 h 2436046"/>
              <a:gd name="connsiteX73-373" fmla="*/ 2111240 w 5168654"/>
              <a:gd name="connsiteY73-374" fmla="*/ 1701702 h 2436046"/>
              <a:gd name="connsiteX74-375" fmla="*/ 2418393 w 5168654"/>
              <a:gd name="connsiteY74-376" fmla="*/ 1701702 h 2436046"/>
              <a:gd name="connsiteX75-377" fmla="*/ 2418393 w 5168654"/>
              <a:gd name="connsiteY75-378" fmla="*/ 1744068 h 2436046"/>
              <a:gd name="connsiteX76-379" fmla="*/ 2418393 w 5168654"/>
              <a:gd name="connsiteY76-380" fmla="*/ 1744068 h 2436046"/>
              <a:gd name="connsiteX77-381" fmla="*/ 2446637 w 5168654"/>
              <a:gd name="connsiteY77-382" fmla="*/ 1772312 h 2436046"/>
              <a:gd name="connsiteX78-383" fmla="*/ 2460759 w 5168654"/>
              <a:gd name="connsiteY78-384" fmla="*/ 1772312 h 2436046"/>
              <a:gd name="connsiteX79-385" fmla="*/ 2460759 w 5168654"/>
              <a:gd name="connsiteY79-386" fmla="*/ 1821739 h 2436046"/>
              <a:gd name="connsiteX80-387" fmla="*/ 2478412 w 5168654"/>
              <a:gd name="connsiteY80-388" fmla="*/ 1821739 h 2436046"/>
              <a:gd name="connsiteX81-389" fmla="*/ 2478412 w 5168654"/>
              <a:gd name="connsiteY81-390" fmla="*/ 1920593 h 2436046"/>
              <a:gd name="connsiteX82-391" fmla="*/ 2633754 w 5168654"/>
              <a:gd name="connsiteY82-392" fmla="*/ 1920593 h 2436046"/>
              <a:gd name="connsiteX83-393" fmla="*/ 2633754 w 5168654"/>
              <a:gd name="connsiteY83-394" fmla="*/ 1941776 h 2436046"/>
              <a:gd name="connsiteX84-395" fmla="*/ 2732608 w 5168654"/>
              <a:gd name="connsiteY84-396" fmla="*/ 1941776 h 2436046"/>
              <a:gd name="connsiteX85-397" fmla="*/ 2771443 w 5168654"/>
              <a:gd name="connsiteY85-398" fmla="*/ 1980611 h 2436046"/>
              <a:gd name="connsiteX86-399" fmla="*/ 2782035 w 5168654"/>
              <a:gd name="connsiteY86-400" fmla="*/ 1991203 h 2436046"/>
              <a:gd name="connsiteX87-401" fmla="*/ 2838523 w 5168654"/>
              <a:gd name="connsiteY87-402" fmla="*/ 1991203 h 2436046"/>
              <a:gd name="connsiteX88-403" fmla="*/ 2838523 w 5168654"/>
              <a:gd name="connsiteY88-404" fmla="*/ 2019447 h 2436046"/>
              <a:gd name="connsiteX89-405" fmla="*/ 2852645 w 5168654"/>
              <a:gd name="connsiteY89-406" fmla="*/ 2019447 h 2436046"/>
              <a:gd name="connsiteX90-407" fmla="*/ 2852645 w 5168654"/>
              <a:gd name="connsiteY90-408" fmla="*/ 2075935 h 2436046"/>
              <a:gd name="connsiteX91-409" fmla="*/ 2891481 w 5168654"/>
              <a:gd name="connsiteY91-410" fmla="*/ 2082996 h 2436046"/>
              <a:gd name="connsiteX92-411" fmla="*/ 2905603 w 5168654"/>
              <a:gd name="connsiteY92-412" fmla="*/ 2086526 h 2436046"/>
              <a:gd name="connsiteX93-413" fmla="*/ 2955030 w 5168654"/>
              <a:gd name="connsiteY93-414" fmla="*/ 2090057 h 2436046"/>
              <a:gd name="connsiteX94-415" fmla="*/ 3216287 w 5168654"/>
              <a:gd name="connsiteY94-416" fmla="*/ 2079465 h 2436046"/>
              <a:gd name="connsiteX95-417" fmla="*/ 3216287 w 5168654"/>
              <a:gd name="connsiteY95-418" fmla="*/ 2107709 h 2436046"/>
              <a:gd name="connsiteX96-419" fmla="*/ 3230409 w 5168654"/>
              <a:gd name="connsiteY96-420" fmla="*/ 2121831 h 2436046"/>
              <a:gd name="connsiteX97-421" fmla="*/ 3230409 w 5168654"/>
              <a:gd name="connsiteY97-422" fmla="*/ 2181850 h 2436046"/>
              <a:gd name="connsiteX98-423" fmla="*/ 3438709 w 5168654"/>
              <a:gd name="connsiteY98-424" fmla="*/ 2181850 h 2436046"/>
              <a:gd name="connsiteX99-425" fmla="*/ 3438709 w 5168654"/>
              <a:gd name="connsiteY99-426" fmla="*/ 2199502 h 2436046"/>
              <a:gd name="connsiteX100-427" fmla="*/ 3565807 w 5168654"/>
              <a:gd name="connsiteY100-428" fmla="*/ 2199502 h 2436046"/>
              <a:gd name="connsiteX101-429" fmla="*/ 3565807 w 5168654"/>
              <a:gd name="connsiteY101-430" fmla="*/ 2227746 h 2436046"/>
              <a:gd name="connsiteX102-431" fmla="*/ 3618764 w 5168654"/>
              <a:gd name="connsiteY102-432" fmla="*/ 2227746 h 2436046"/>
              <a:gd name="connsiteX103-433" fmla="*/ 3618764 w 5168654"/>
              <a:gd name="connsiteY103-434" fmla="*/ 2252460 h 2436046"/>
              <a:gd name="connsiteX104-435" fmla="*/ 3890613 w 5168654"/>
              <a:gd name="connsiteY104-436" fmla="*/ 2252460 h 2436046"/>
              <a:gd name="connsiteX105-437" fmla="*/ 3890613 w 5168654"/>
              <a:gd name="connsiteY105-438" fmla="*/ 2287765 h 2436046"/>
              <a:gd name="connsiteX106-439" fmla="*/ 3975345 w 5168654"/>
              <a:gd name="connsiteY106-440" fmla="*/ 2287765 h 2436046"/>
              <a:gd name="connsiteX107-441" fmla="*/ 3975345 w 5168654"/>
              <a:gd name="connsiteY107-442" fmla="*/ 2316009 h 2436046"/>
              <a:gd name="connsiteX108-443" fmla="*/ 4007119 w 5168654"/>
              <a:gd name="connsiteY108-444" fmla="*/ 2316009 h 2436046"/>
              <a:gd name="connsiteX109-445" fmla="*/ 4007119 w 5168654"/>
              <a:gd name="connsiteY109-446" fmla="*/ 2368967 h 2436046"/>
              <a:gd name="connsiteX110-447" fmla="*/ 4614366 w 5168654"/>
              <a:gd name="connsiteY110-448" fmla="*/ 2368967 h 2436046"/>
              <a:gd name="connsiteX111-449" fmla="*/ 4614366 w 5168654"/>
              <a:gd name="connsiteY111-450" fmla="*/ 2436046 h 2436046"/>
              <a:gd name="connsiteX112-451" fmla="*/ 5168654 w 5168654"/>
              <a:gd name="connsiteY112-452" fmla="*/ 2436046 h 2436046"/>
              <a:gd name="connsiteX0-453" fmla="*/ 0 w 5168654"/>
              <a:gd name="connsiteY0-454" fmla="*/ 0 h 2436046"/>
              <a:gd name="connsiteX1-455" fmla="*/ 144750 w 5168654"/>
              <a:gd name="connsiteY1-456" fmla="*/ 0 h 2436046"/>
              <a:gd name="connsiteX2-457" fmla="*/ 144750 w 5168654"/>
              <a:gd name="connsiteY2-458" fmla="*/ 42366 h 2436046"/>
              <a:gd name="connsiteX3-459" fmla="*/ 158872 w 5168654"/>
              <a:gd name="connsiteY3-460" fmla="*/ 42366 h 2436046"/>
              <a:gd name="connsiteX4-461" fmla="*/ 158872 w 5168654"/>
              <a:gd name="connsiteY4-462" fmla="*/ 81201 h 2436046"/>
              <a:gd name="connsiteX5-463" fmla="*/ 162403 w 5168654"/>
              <a:gd name="connsiteY5-464" fmla="*/ 84732 h 2436046"/>
              <a:gd name="connsiteX6-465" fmla="*/ 162403 w 5168654"/>
              <a:gd name="connsiteY6-466" fmla="*/ 155342 h 2436046"/>
              <a:gd name="connsiteX7-467" fmla="*/ 257726 w 5168654"/>
              <a:gd name="connsiteY7-468" fmla="*/ 155342 h 2436046"/>
              <a:gd name="connsiteX8-469" fmla="*/ 257726 w 5168654"/>
              <a:gd name="connsiteY8-470" fmla="*/ 190647 h 2436046"/>
              <a:gd name="connsiteX9-471" fmla="*/ 268318 w 5168654"/>
              <a:gd name="connsiteY9-472" fmla="*/ 190647 h 2436046"/>
              <a:gd name="connsiteX10-473" fmla="*/ 268318 w 5168654"/>
              <a:gd name="connsiteY10-474" fmla="*/ 211830 h 2436046"/>
              <a:gd name="connsiteX11-475" fmla="*/ 508392 w 5168654"/>
              <a:gd name="connsiteY11-476" fmla="*/ 211830 h 2436046"/>
              <a:gd name="connsiteX12-477" fmla="*/ 508392 w 5168654"/>
              <a:gd name="connsiteY12-478" fmla="*/ 243604 h 2436046"/>
              <a:gd name="connsiteX13-479" fmla="*/ 536636 w 5168654"/>
              <a:gd name="connsiteY13-480" fmla="*/ 243604 h 2436046"/>
              <a:gd name="connsiteX14-481" fmla="*/ 536636 w 5168654"/>
              <a:gd name="connsiteY14-482" fmla="*/ 363641 h 2436046"/>
              <a:gd name="connsiteX15-483" fmla="*/ 554288 w 5168654"/>
              <a:gd name="connsiteY15-484" fmla="*/ 363641 h 2436046"/>
              <a:gd name="connsiteX16-485" fmla="*/ 554288 w 5168654"/>
              <a:gd name="connsiteY16-486" fmla="*/ 423660 h 2436046"/>
              <a:gd name="connsiteX17-487" fmla="*/ 769649 w 5168654"/>
              <a:gd name="connsiteY17-488" fmla="*/ 423660 h 2436046"/>
              <a:gd name="connsiteX18-489" fmla="*/ 769649 w 5168654"/>
              <a:gd name="connsiteY18-490" fmla="*/ 430721 h 2436046"/>
              <a:gd name="connsiteX19-491" fmla="*/ 776710 w 5168654"/>
              <a:gd name="connsiteY19-492" fmla="*/ 437782 h 2436046"/>
              <a:gd name="connsiteX20-493" fmla="*/ 776710 w 5168654"/>
              <a:gd name="connsiteY20-494" fmla="*/ 455434 h 2436046"/>
              <a:gd name="connsiteX21-495" fmla="*/ 794363 w 5168654"/>
              <a:gd name="connsiteY21-496" fmla="*/ 455434 h 2436046"/>
              <a:gd name="connsiteX22-497" fmla="*/ 794363 w 5168654"/>
              <a:gd name="connsiteY22-498" fmla="*/ 497801 h 2436046"/>
              <a:gd name="connsiteX23-499" fmla="*/ 808485 w 5168654"/>
              <a:gd name="connsiteY23-500" fmla="*/ 497801 h 2436046"/>
              <a:gd name="connsiteX24-501" fmla="*/ 808485 w 5168654"/>
              <a:gd name="connsiteY24-502" fmla="*/ 621368 h 2436046"/>
              <a:gd name="connsiteX25-503" fmla="*/ 822607 w 5168654"/>
              <a:gd name="connsiteY25-504" fmla="*/ 621368 h 2436046"/>
              <a:gd name="connsiteX26-505" fmla="*/ 822607 w 5168654"/>
              <a:gd name="connsiteY26-506" fmla="*/ 639021 h 2436046"/>
              <a:gd name="connsiteX27-507" fmla="*/ 1045028 w 5168654"/>
              <a:gd name="connsiteY27-508" fmla="*/ 639021 h 2436046"/>
              <a:gd name="connsiteX28-509" fmla="*/ 1045028 w 5168654"/>
              <a:gd name="connsiteY28-510" fmla="*/ 790832 h 2436046"/>
              <a:gd name="connsiteX29-511" fmla="*/ 1059150 w 5168654"/>
              <a:gd name="connsiteY29-512" fmla="*/ 790832 h 2436046"/>
              <a:gd name="connsiteX30-513" fmla="*/ 1059150 w 5168654"/>
              <a:gd name="connsiteY30-514" fmla="*/ 889686 h 2436046"/>
              <a:gd name="connsiteX31-515" fmla="*/ 1083864 w 5168654"/>
              <a:gd name="connsiteY31-516" fmla="*/ 889686 h 2436046"/>
              <a:gd name="connsiteX32-517" fmla="*/ 1101516 w 5168654"/>
              <a:gd name="connsiteY32-518" fmla="*/ 889686 h 2436046"/>
              <a:gd name="connsiteX33-519" fmla="*/ 1158004 w 5168654"/>
              <a:gd name="connsiteY33-520" fmla="*/ 889686 h 2436046"/>
              <a:gd name="connsiteX34-521" fmla="*/ 1158004 w 5168654"/>
              <a:gd name="connsiteY34-522" fmla="*/ 917930 h 2436046"/>
              <a:gd name="connsiteX35-523" fmla="*/ 1302755 w 5168654"/>
              <a:gd name="connsiteY35-524" fmla="*/ 917930 h 2436046"/>
              <a:gd name="connsiteX36-525" fmla="*/ 1302755 w 5168654"/>
              <a:gd name="connsiteY36-526" fmla="*/ 942644 h 2436046"/>
              <a:gd name="connsiteX37-527" fmla="*/ 1313346 w 5168654"/>
              <a:gd name="connsiteY37-528" fmla="*/ 942644 h 2436046"/>
              <a:gd name="connsiteX38-529" fmla="*/ 1313346 w 5168654"/>
              <a:gd name="connsiteY38-530" fmla="*/ 1034437 h 2436046"/>
              <a:gd name="connsiteX39-531" fmla="*/ 1316877 w 5168654"/>
              <a:gd name="connsiteY39-532" fmla="*/ 1034437 h 2436046"/>
              <a:gd name="connsiteX40-533" fmla="*/ 1316877 w 5168654"/>
              <a:gd name="connsiteY40-534" fmla="*/ 1080333 h 2436046"/>
              <a:gd name="connsiteX41-535" fmla="*/ 1489871 w 5168654"/>
              <a:gd name="connsiteY41-536" fmla="*/ 1080333 h 2436046"/>
              <a:gd name="connsiteX42-537" fmla="*/ 1489871 w 5168654"/>
              <a:gd name="connsiteY42-538" fmla="*/ 1097986 h 2436046"/>
              <a:gd name="connsiteX43-539" fmla="*/ 1518115 w 5168654"/>
              <a:gd name="connsiteY43-540" fmla="*/ 1097986 h 2436046"/>
              <a:gd name="connsiteX44-541" fmla="*/ 1518115 w 5168654"/>
              <a:gd name="connsiteY44-542" fmla="*/ 1122699 h 2436046"/>
              <a:gd name="connsiteX45-543" fmla="*/ 1532237 w 5168654"/>
              <a:gd name="connsiteY45-544" fmla="*/ 1122699 h 2436046"/>
              <a:gd name="connsiteX46-545" fmla="*/ 1539298 w 5168654"/>
              <a:gd name="connsiteY46-546" fmla="*/ 1129760 h 2436046"/>
              <a:gd name="connsiteX47-547" fmla="*/ 1553420 w 5168654"/>
              <a:gd name="connsiteY47-548" fmla="*/ 1143882 h 2436046"/>
              <a:gd name="connsiteX48-549" fmla="*/ 1553420 w 5168654"/>
              <a:gd name="connsiteY48-550" fmla="*/ 1189779 h 2436046"/>
              <a:gd name="connsiteX49-551" fmla="*/ 1564012 w 5168654"/>
              <a:gd name="connsiteY49-552" fmla="*/ 1189779 h 2436046"/>
              <a:gd name="connsiteX50-553" fmla="*/ 1564012 w 5168654"/>
              <a:gd name="connsiteY50-554" fmla="*/ 1253328 h 2436046"/>
              <a:gd name="connsiteX51-555" fmla="*/ 1578134 w 5168654"/>
              <a:gd name="connsiteY51-556" fmla="*/ 1253328 h 2436046"/>
              <a:gd name="connsiteX52-557" fmla="*/ 1578134 w 5168654"/>
              <a:gd name="connsiteY52-558" fmla="*/ 1345121 h 2436046"/>
              <a:gd name="connsiteX53-559" fmla="*/ 1588726 w 5168654"/>
              <a:gd name="connsiteY53-560" fmla="*/ 1345121 h 2436046"/>
              <a:gd name="connsiteX54-561" fmla="*/ 1588726 w 5168654"/>
              <a:gd name="connsiteY54-562" fmla="*/ 1380426 h 2436046"/>
              <a:gd name="connsiteX55-563" fmla="*/ 1588726 w 5168654"/>
              <a:gd name="connsiteY55-564" fmla="*/ 1380426 h 2436046"/>
              <a:gd name="connsiteX56-565" fmla="*/ 1627561 w 5168654"/>
              <a:gd name="connsiteY56-566" fmla="*/ 1380426 h 2436046"/>
              <a:gd name="connsiteX57-567" fmla="*/ 1797025 w 5168654"/>
              <a:gd name="connsiteY57-568" fmla="*/ 1380426 h 2436046"/>
              <a:gd name="connsiteX58-569" fmla="*/ 1797025 w 5168654"/>
              <a:gd name="connsiteY58-570" fmla="*/ 1472219 h 2436046"/>
              <a:gd name="connsiteX59-571" fmla="*/ 1828800 w 5168654"/>
              <a:gd name="connsiteY59-572" fmla="*/ 1472219 h 2436046"/>
              <a:gd name="connsiteX60-573" fmla="*/ 1828800 w 5168654"/>
              <a:gd name="connsiteY60-574" fmla="*/ 1489872 h 2436046"/>
              <a:gd name="connsiteX61-575" fmla="*/ 1828800 w 5168654"/>
              <a:gd name="connsiteY61-576" fmla="*/ 1503994 h 2436046"/>
              <a:gd name="connsiteX62-577" fmla="*/ 1846452 w 5168654"/>
              <a:gd name="connsiteY62-578" fmla="*/ 1503994 h 2436046"/>
              <a:gd name="connsiteX63-579" fmla="*/ 1846452 w 5168654"/>
              <a:gd name="connsiteY63-580" fmla="*/ 1564012 h 2436046"/>
              <a:gd name="connsiteX64-581" fmla="*/ 1878227 w 5168654"/>
              <a:gd name="connsiteY64-582" fmla="*/ 1564012 h 2436046"/>
              <a:gd name="connsiteX65-583" fmla="*/ 1878227 w 5168654"/>
              <a:gd name="connsiteY65-584" fmla="*/ 1595787 h 2436046"/>
              <a:gd name="connsiteX66-585" fmla="*/ 2072404 w 5168654"/>
              <a:gd name="connsiteY66-586" fmla="*/ 1595787 h 2436046"/>
              <a:gd name="connsiteX67-587" fmla="*/ 2072404 w 5168654"/>
              <a:gd name="connsiteY67-588" fmla="*/ 1673458 h 2436046"/>
              <a:gd name="connsiteX68-589" fmla="*/ 2093587 w 5168654"/>
              <a:gd name="connsiteY68-590" fmla="*/ 1673458 h 2436046"/>
              <a:gd name="connsiteX69-591" fmla="*/ 2093587 w 5168654"/>
              <a:gd name="connsiteY69-592" fmla="*/ 1684049 h 2436046"/>
              <a:gd name="connsiteX70-593" fmla="*/ 2097118 w 5168654"/>
              <a:gd name="connsiteY70-594" fmla="*/ 1684049 h 2436046"/>
              <a:gd name="connsiteX71-595" fmla="*/ 2097118 w 5168654"/>
              <a:gd name="connsiteY71-596" fmla="*/ 1701702 h 2436046"/>
              <a:gd name="connsiteX72-597" fmla="*/ 2111240 w 5168654"/>
              <a:gd name="connsiteY72-598" fmla="*/ 1701702 h 2436046"/>
              <a:gd name="connsiteX73-599" fmla="*/ 2111240 w 5168654"/>
              <a:gd name="connsiteY73-600" fmla="*/ 1701702 h 2436046"/>
              <a:gd name="connsiteX74-601" fmla="*/ 2418393 w 5168654"/>
              <a:gd name="connsiteY74-602" fmla="*/ 1701702 h 2436046"/>
              <a:gd name="connsiteX75-603" fmla="*/ 2418393 w 5168654"/>
              <a:gd name="connsiteY75-604" fmla="*/ 1744068 h 2436046"/>
              <a:gd name="connsiteX76-605" fmla="*/ 2418393 w 5168654"/>
              <a:gd name="connsiteY76-606" fmla="*/ 1744068 h 2436046"/>
              <a:gd name="connsiteX77-607" fmla="*/ 2446637 w 5168654"/>
              <a:gd name="connsiteY77-608" fmla="*/ 1772312 h 2436046"/>
              <a:gd name="connsiteX78-609" fmla="*/ 2460759 w 5168654"/>
              <a:gd name="connsiteY78-610" fmla="*/ 1772312 h 2436046"/>
              <a:gd name="connsiteX79-611" fmla="*/ 2460759 w 5168654"/>
              <a:gd name="connsiteY79-612" fmla="*/ 1821739 h 2436046"/>
              <a:gd name="connsiteX80-613" fmla="*/ 2478412 w 5168654"/>
              <a:gd name="connsiteY80-614" fmla="*/ 1821739 h 2436046"/>
              <a:gd name="connsiteX81-615" fmla="*/ 2478412 w 5168654"/>
              <a:gd name="connsiteY81-616" fmla="*/ 1920593 h 2436046"/>
              <a:gd name="connsiteX82-617" fmla="*/ 2633754 w 5168654"/>
              <a:gd name="connsiteY82-618" fmla="*/ 1920593 h 2436046"/>
              <a:gd name="connsiteX83-619" fmla="*/ 2633754 w 5168654"/>
              <a:gd name="connsiteY83-620" fmla="*/ 1941776 h 2436046"/>
              <a:gd name="connsiteX84-621" fmla="*/ 2732608 w 5168654"/>
              <a:gd name="connsiteY84-622" fmla="*/ 1941776 h 2436046"/>
              <a:gd name="connsiteX85-623" fmla="*/ 2771443 w 5168654"/>
              <a:gd name="connsiteY85-624" fmla="*/ 1980611 h 2436046"/>
              <a:gd name="connsiteX86-625" fmla="*/ 2782035 w 5168654"/>
              <a:gd name="connsiteY86-626" fmla="*/ 1991203 h 2436046"/>
              <a:gd name="connsiteX87-627" fmla="*/ 2838523 w 5168654"/>
              <a:gd name="connsiteY87-628" fmla="*/ 1991203 h 2436046"/>
              <a:gd name="connsiteX88-629" fmla="*/ 2838523 w 5168654"/>
              <a:gd name="connsiteY88-630" fmla="*/ 2019447 h 2436046"/>
              <a:gd name="connsiteX89-631" fmla="*/ 2852645 w 5168654"/>
              <a:gd name="connsiteY89-632" fmla="*/ 2019447 h 2436046"/>
              <a:gd name="connsiteX90-633" fmla="*/ 2852645 w 5168654"/>
              <a:gd name="connsiteY90-634" fmla="*/ 2075935 h 2436046"/>
              <a:gd name="connsiteX91-635" fmla="*/ 2891481 w 5168654"/>
              <a:gd name="connsiteY91-636" fmla="*/ 2082996 h 2436046"/>
              <a:gd name="connsiteX92-637" fmla="*/ 2905603 w 5168654"/>
              <a:gd name="connsiteY92-638" fmla="*/ 2086526 h 2436046"/>
              <a:gd name="connsiteX93-639" fmla="*/ 3216287 w 5168654"/>
              <a:gd name="connsiteY93-640" fmla="*/ 2079465 h 2436046"/>
              <a:gd name="connsiteX94-641" fmla="*/ 3216287 w 5168654"/>
              <a:gd name="connsiteY94-642" fmla="*/ 2107709 h 2436046"/>
              <a:gd name="connsiteX95-643" fmla="*/ 3230409 w 5168654"/>
              <a:gd name="connsiteY95-644" fmla="*/ 2121831 h 2436046"/>
              <a:gd name="connsiteX96-645" fmla="*/ 3230409 w 5168654"/>
              <a:gd name="connsiteY96-646" fmla="*/ 2181850 h 2436046"/>
              <a:gd name="connsiteX97-647" fmla="*/ 3438709 w 5168654"/>
              <a:gd name="connsiteY97-648" fmla="*/ 2181850 h 2436046"/>
              <a:gd name="connsiteX98-649" fmla="*/ 3438709 w 5168654"/>
              <a:gd name="connsiteY98-650" fmla="*/ 2199502 h 2436046"/>
              <a:gd name="connsiteX99-651" fmla="*/ 3565807 w 5168654"/>
              <a:gd name="connsiteY99-652" fmla="*/ 2199502 h 2436046"/>
              <a:gd name="connsiteX100-653" fmla="*/ 3565807 w 5168654"/>
              <a:gd name="connsiteY100-654" fmla="*/ 2227746 h 2436046"/>
              <a:gd name="connsiteX101-655" fmla="*/ 3618764 w 5168654"/>
              <a:gd name="connsiteY101-656" fmla="*/ 2227746 h 2436046"/>
              <a:gd name="connsiteX102-657" fmla="*/ 3618764 w 5168654"/>
              <a:gd name="connsiteY102-658" fmla="*/ 2252460 h 2436046"/>
              <a:gd name="connsiteX103-659" fmla="*/ 3890613 w 5168654"/>
              <a:gd name="connsiteY103-660" fmla="*/ 2252460 h 2436046"/>
              <a:gd name="connsiteX104-661" fmla="*/ 3890613 w 5168654"/>
              <a:gd name="connsiteY104-662" fmla="*/ 2287765 h 2436046"/>
              <a:gd name="connsiteX105-663" fmla="*/ 3975345 w 5168654"/>
              <a:gd name="connsiteY105-664" fmla="*/ 2287765 h 2436046"/>
              <a:gd name="connsiteX106-665" fmla="*/ 3975345 w 5168654"/>
              <a:gd name="connsiteY106-666" fmla="*/ 2316009 h 2436046"/>
              <a:gd name="connsiteX107-667" fmla="*/ 4007119 w 5168654"/>
              <a:gd name="connsiteY107-668" fmla="*/ 2316009 h 2436046"/>
              <a:gd name="connsiteX108-669" fmla="*/ 4007119 w 5168654"/>
              <a:gd name="connsiteY108-670" fmla="*/ 2368967 h 2436046"/>
              <a:gd name="connsiteX109-671" fmla="*/ 4614366 w 5168654"/>
              <a:gd name="connsiteY109-672" fmla="*/ 2368967 h 2436046"/>
              <a:gd name="connsiteX110-673" fmla="*/ 4614366 w 5168654"/>
              <a:gd name="connsiteY110-674" fmla="*/ 2436046 h 2436046"/>
              <a:gd name="connsiteX111-675" fmla="*/ 5168654 w 5168654"/>
              <a:gd name="connsiteY111-676" fmla="*/ 2436046 h 2436046"/>
              <a:gd name="connsiteX0-677" fmla="*/ 0 w 5168654"/>
              <a:gd name="connsiteY0-678" fmla="*/ 0 h 2436046"/>
              <a:gd name="connsiteX1-679" fmla="*/ 144750 w 5168654"/>
              <a:gd name="connsiteY1-680" fmla="*/ 0 h 2436046"/>
              <a:gd name="connsiteX2-681" fmla="*/ 144750 w 5168654"/>
              <a:gd name="connsiteY2-682" fmla="*/ 42366 h 2436046"/>
              <a:gd name="connsiteX3-683" fmla="*/ 158872 w 5168654"/>
              <a:gd name="connsiteY3-684" fmla="*/ 42366 h 2436046"/>
              <a:gd name="connsiteX4-685" fmla="*/ 158872 w 5168654"/>
              <a:gd name="connsiteY4-686" fmla="*/ 81201 h 2436046"/>
              <a:gd name="connsiteX5-687" fmla="*/ 162403 w 5168654"/>
              <a:gd name="connsiteY5-688" fmla="*/ 84732 h 2436046"/>
              <a:gd name="connsiteX6-689" fmla="*/ 162403 w 5168654"/>
              <a:gd name="connsiteY6-690" fmla="*/ 155342 h 2436046"/>
              <a:gd name="connsiteX7-691" fmla="*/ 257726 w 5168654"/>
              <a:gd name="connsiteY7-692" fmla="*/ 155342 h 2436046"/>
              <a:gd name="connsiteX8-693" fmla="*/ 257726 w 5168654"/>
              <a:gd name="connsiteY8-694" fmla="*/ 190647 h 2436046"/>
              <a:gd name="connsiteX9-695" fmla="*/ 268318 w 5168654"/>
              <a:gd name="connsiteY9-696" fmla="*/ 190647 h 2436046"/>
              <a:gd name="connsiteX10-697" fmla="*/ 268318 w 5168654"/>
              <a:gd name="connsiteY10-698" fmla="*/ 211830 h 2436046"/>
              <a:gd name="connsiteX11-699" fmla="*/ 508392 w 5168654"/>
              <a:gd name="connsiteY11-700" fmla="*/ 211830 h 2436046"/>
              <a:gd name="connsiteX12-701" fmla="*/ 508392 w 5168654"/>
              <a:gd name="connsiteY12-702" fmla="*/ 243604 h 2436046"/>
              <a:gd name="connsiteX13-703" fmla="*/ 536636 w 5168654"/>
              <a:gd name="connsiteY13-704" fmla="*/ 243604 h 2436046"/>
              <a:gd name="connsiteX14-705" fmla="*/ 536636 w 5168654"/>
              <a:gd name="connsiteY14-706" fmla="*/ 363641 h 2436046"/>
              <a:gd name="connsiteX15-707" fmla="*/ 554288 w 5168654"/>
              <a:gd name="connsiteY15-708" fmla="*/ 363641 h 2436046"/>
              <a:gd name="connsiteX16-709" fmla="*/ 554288 w 5168654"/>
              <a:gd name="connsiteY16-710" fmla="*/ 423660 h 2436046"/>
              <a:gd name="connsiteX17-711" fmla="*/ 769649 w 5168654"/>
              <a:gd name="connsiteY17-712" fmla="*/ 423660 h 2436046"/>
              <a:gd name="connsiteX18-713" fmla="*/ 769649 w 5168654"/>
              <a:gd name="connsiteY18-714" fmla="*/ 430721 h 2436046"/>
              <a:gd name="connsiteX19-715" fmla="*/ 776710 w 5168654"/>
              <a:gd name="connsiteY19-716" fmla="*/ 437782 h 2436046"/>
              <a:gd name="connsiteX20-717" fmla="*/ 776710 w 5168654"/>
              <a:gd name="connsiteY20-718" fmla="*/ 455434 h 2436046"/>
              <a:gd name="connsiteX21-719" fmla="*/ 794363 w 5168654"/>
              <a:gd name="connsiteY21-720" fmla="*/ 455434 h 2436046"/>
              <a:gd name="connsiteX22-721" fmla="*/ 794363 w 5168654"/>
              <a:gd name="connsiteY22-722" fmla="*/ 497801 h 2436046"/>
              <a:gd name="connsiteX23-723" fmla="*/ 808485 w 5168654"/>
              <a:gd name="connsiteY23-724" fmla="*/ 497801 h 2436046"/>
              <a:gd name="connsiteX24-725" fmla="*/ 808485 w 5168654"/>
              <a:gd name="connsiteY24-726" fmla="*/ 621368 h 2436046"/>
              <a:gd name="connsiteX25-727" fmla="*/ 822607 w 5168654"/>
              <a:gd name="connsiteY25-728" fmla="*/ 621368 h 2436046"/>
              <a:gd name="connsiteX26-729" fmla="*/ 822607 w 5168654"/>
              <a:gd name="connsiteY26-730" fmla="*/ 639021 h 2436046"/>
              <a:gd name="connsiteX27-731" fmla="*/ 1045028 w 5168654"/>
              <a:gd name="connsiteY27-732" fmla="*/ 639021 h 2436046"/>
              <a:gd name="connsiteX28-733" fmla="*/ 1045028 w 5168654"/>
              <a:gd name="connsiteY28-734" fmla="*/ 790832 h 2436046"/>
              <a:gd name="connsiteX29-735" fmla="*/ 1059150 w 5168654"/>
              <a:gd name="connsiteY29-736" fmla="*/ 790832 h 2436046"/>
              <a:gd name="connsiteX30-737" fmla="*/ 1059150 w 5168654"/>
              <a:gd name="connsiteY30-738" fmla="*/ 889686 h 2436046"/>
              <a:gd name="connsiteX31-739" fmla="*/ 1083864 w 5168654"/>
              <a:gd name="connsiteY31-740" fmla="*/ 889686 h 2436046"/>
              <a:gd name="connsiteX32-741" fmla="*/ 1101516 w 5168654"/>
              <a:gd name="connsiteY32-742" fmla="*/ 889686 h 2436046"/>
              <a:gd name="connsiteX33-743" fmla="*/ 1158004 w 5168654"/>
              <a:gd name="connsiteY33-744" fmla="*/ 889686 h 2436046"/>
              <a:gd name="connsiteX34-745" fmla="*/ 1158004 w 5168654"/>
              <a:gd name="connsiteY34-746" fmla="*/ 917930 h 2436046"/>
              <a:gd name="connsiteX35-747" fmla="*/ 1302755 w 5168654"/>
              <a:gd name="connsiteY35-748" fmla="*/ 917930 h 2436046"/>
              <a:gd name="connsiteX36-749" fmla="*/ 1302755 w 5168654"/>
              <a:gd name="connsiteY36-750" fmla="*/ 942644 h 2436046"/>
              <a:gd name="connsiteX37-751" fmla="*/ 1313346 w 5168654"/>
              <a:gd name="connsiteY37-752" fmla="*/ 942644 h 2436046"/>
              <a:gd name="connsiteX38-753" fmla="*/ 1313346 w 5168654"/>
              <a:gd name="connsiteY38-754" fmla="*/ 1034437 h 2436046"/>
              <a:gd name="connsiteX39-755" fmla="*/ 1316877 w 5168654"/>
              <a:gd name="connsiteY39-756" fmla="*/ 1034437 h 2436046"/>
              <a:gd name="connsiteX40-757" fmla="*/ 1316877 w 5168654"/>
              <a:gd name="connsiteY40-758" fmla="*/ 1080333 h 2436046"/>
              <a:gd name="connsiteX41-759" fmla="*/ 1489871 w 5168654"/>
              <a:gd name="connsiteY41-760" fmla="*/ 1080333 h 2436046"/>
              <a:gd name="connsiteX42-761" fmla="*/ 1489871 w 5168654"/>
              <a:gd name="connsiteY42-762" fmla="*/ 1097986 h 2436046"/>
              <a:gd name="connsiteX43-763" fmla="*/ 1518115 w 5168654"/>
              <a:gd name="connsiteY43-764" fmla="*/ 1097986 h 2436046"/>
              <a:gd name="connsiteX44-765" fmla="*/ 1518115 w 5168654"/>
              <a:gd name="connsiteY44-766" fmla="*/ 1122699 h 2436046"/>
              <a:gd name="connsiteX45-767" fmla="*/ 1532237 w 5168654"/>
              <a:gd name="connsiteY45-768" fmla="*/ 1122699 h 2436046"/>
              <a:gd name="connsiteX46-769" fmla="*/ 1539298 w 5168654"/>
              <a:gd name="connsiteY46-770" fmla="*/ 1129760 h 2436046"/>
              <a:gd name="connsiteX47-771" fmla="*/ 1553420 w 5168654"/>
              <a:gd name="connsiteY47-772" fmla="*/ 1143882 h 2436046"/>
              <a:gd name="connsiteX48-773" fmla="*/ 1553420 w 5168654"/>
              <a:gd name="connsiteY48-774" fmla="*/ 1189779 h 2436046"/>
              <a:gd name="connsiteX49-775" fmla="*/ 1564012 w 5168654"/>
              <a:gd name="connsiteY49-776" fmla="*/ 1189779 h 2436046"/>
              <a:gd name="connsiteX50-777" fmla="*/ 1564012 w 5168654"/>
              <a:gd name="connsiteY50-778" fmla="*/ 1253328 h 2436046"/>
              <a:gd name="connsiteX51-779" fmla="*/ 1578134 w 5168654"/>
              <a:gd name="connsiteY51-780" fmla="*/ 1253328 h 2436046"/>
              <a:gd name="connsiteX52-781" fmla="*/ 1578134 w 5168654"/>
              <a:gd name="connsiteY52-782" fmla="*/ 1345121 h 2436046"/>
              <a:gd name="connsiteX53-783" fmla="*/ 1588726 w 5168654"/>
              <a:gd name="connsiteY53-784" fmla="*/ 1345121 h 2436046"/>
              <a:gd name="connsiteX54-785" fmla="*/ 1588726 w 5168654"/>
              <a:gd name="connsiteY54-786" fmla="*/ 1380426 h 2436046"/>
              <a:gd name="connsiteX55-787" fmla="*/ 1588726 w 5168654"/>
              <a:gd name="connsiteY55-788" fmla="*/ 1380426 h 2436046"/>
              <a:gd name="connsiteX56-789" fmla="*/ 1627561 w 5168654"/>
              <a:gd name="connsiteY56-790" fmla="*/ 1380426 h 2436046"/>
              <a:gd name="connsiteX57-791" fmla="*/ 1797025 w 5168654"/>
              <a:gd name="connsiteY57-792" fmla="*/ 1380426 h 2436046"/>
              <a:gd name="connsiteX58-793" fmla="*/ 1797025 w 5168654"/>
              <a:gd name="connsiteY58-794" fmla="*/ 1472219 h 2436046"/>
              <a:gd name="connsiteX59-795" fmla="*/ 1828800 w 5168654"/>
              <a:gd name="connsiteY59-796" fmla="*/ 1472219 h 2436046"/>
              <a:gd name="connsiteX60-797" fmla="*/ 1828800 w 5168654"/>
              <a:gd name="connsiteY60-798" fmla="*/ 1489872 h 2436046"/>
              <a:gd name="connsiteX61-799" fmla="*/ 1828800 w 5168654"/>
              <a:gd name="connsiteY61-800" fmla="*/ 1503994 h 2436046"/>
              <a:gd name="connsiteX62-801" fmla="*/ 1846452 w 5168654"/>
              <a:gd name="connsiteY62-802" fmla="*/ 1503994 h 2436046"/>
              <a:gd name="connsiteX63-803" fmla="*/ 1846452 w 5168654"/>
              <a:gd name="connsiteY63-804" fmla="*/ 1564012 h 2436046"/>
              <a:gd name="connsiteX64-805" fmla="*/ 1878227 w 5168654"/>
              <a:gd name="connsiteY64-806" fmla="*/ 1564012 h 2436046"/>
              <a:gd name="connsiteX65-807" fmla="*/ 1878227 w 5168654"/>
              <a:gd name="connsiteY65-808" fmla="*/ 1595787 h 2436046"/>
              <a:gd name="connsiteX66-809" fmla="*/ 2072404 w 5168654"/>
              <a:gd name="connsiteY66-810" fmla="*/ 1595787 h 2436046"/>
              <a:gd name="connsiteX67-811" fmla="*/ 2072404 w 5168654"/>
              <a:gd name="connsiteY67-812" fmla="*/ 1673458 h 2436046"/>
              <a:gd name="connsiteX68-813" fmla="*/ 2093587 w 5168654"/>
              <a:gd name="connsiteY68-814" fmla="*/ 1673458 h 2436046"/>
              <a:gd name="connsiteX69-815" fmla="*/ 2093587 w 5168654"/>
              <a:gd name="connsiteY69-816" fmla="*/ 1684049 h 2436046"/>
              <a:gd name="connsiteX70-817" fmla="*/ 2097118 w 5168654"/>
              <a:gd name="connsiteY70-818" fmla="*/ 1684049 h 2436046"/>
              <a:gd name="connsiteX71-819" fmla="*/ 2097118 w 5168654"/>
              <a:gd name="connsiteY71-820" fmla="*/ 1701702 h 2436046"/>
              <a:gd name="connsiteX72-821" fmla="*/ 2111240 w 5168654"/>
              <a:gd name="connsiteY72-822" fmla="*/ 1701702 h 2436046"/>
              <a:gd name="connsiteX73-823" fmla="*/ 2111240 w 5168654"/>
              <a:gd name="connsiteY73-824" fmla="*/ 1701702 h 2436046"/>
              <a:gd name="connsiteX74-825" fmla="*/ 2418393 w 5168654"/>
              <a:gd name="connsiteY74-826" fmla="*/ 1701702 h 2436046"/>
              <a:gd name="connsiteX75-827" fmla="*/ 2418393 w 5168654"/>
              <a:gd name="connsiteY75-828" fmla="*/ 1744068 h 2436046"/>
              <a:gd name="connsiteX76-829" fmla="*/ 2418393 w 5168654"/>
              <a:gd name="connsiteY76-830" fmla="*/ 1744068 h 2436046"/>
              <a:gd name="connsiteX77-831" fmla="*/ 2446637 w 5168654"/>
              <a:gd name="connsiteY77-832" fmla="*/ 1772312 h 2436046"/>
              <a:gd name="connsiteX78-833" fmla="*/ 2460759 w 5168654"/>
              <a:gd name="connsiteY78-834" fmla="*/ 1772312 h 2436046"/>
              <a:gd name="connsiteX79-835" fmla="*/ 2460759 w 5168654"/>
              <a:gd name="connsiteY79-836" fmla="*/ 1821739 h 2436046"/>
              <a:gd name="connsiteX80-837" fmla="*/ 2478412 w 5168654"/>
              <a:gd name="connsiteY80-838" fmla="*/ 1821739 h 2436046"/>
              <a:gd name="connsiteX81-839" fmla="*/ 2478412 w 5168654"/>
              <a:gd name="connsiteY81-840" fmla="*/ 1920593 h 2436046"/>
              <a:gd name="connsiteX82-841" fmla="*/ 2633754 w 5168654"/>
              <a:gd name="connsiteY82-842" fmla="*/ 1920593 h 2436046"/>
              <a:gd name="connsiteX83-843" fmla="*/ 2633754 w 5168654"/>
              <a:gd name="connsiteY83-844" fmla="*/ 1941776 h 2436046"/>
              <a:gd name="connsiteX84-845" fmla="*/ 2732608 w 5168654"/>
              <a:gd name="connsiteY84-846" fmla="*/ 1941776 h 2436046"/>
              <a:gd name="connsiteX85-847" fmla="*/ 2771443 w 5168654"/>
              <a:gd name="connsiteY85-848" fmla="*/ 1980611 h 2436046"/>
              <a:gd name="connsiteX86-849" fmla="*/ 2782035 w 5168654"/>
              <a:gd name="connsiteY86-850" fmla="*/ 1991203 h 2436046"/>
              <a:gd name="connsiteX87-851" fmla="*/ 2838523 w 5168654"/>
              <a:gd name="connsiteY87-852" fmla="*/ 1991203 h 2436046"/>
              <a:gd name="connsiteX88-853" fmla="*/ 2838523 w 5168654"/>
              <a:gd name="connsiteY88-854" fmla="*/ 2019447 h 2436046"/>
              <a:gd name="connsiteX89-855" fmla="*/ 2852645 w 5168654"/>
              <a:gd name="connsiteY89-856" fmla="*/ 2019447 h 2436046"/>
              <a:gd name="connsiteX90-857" fmla="*/ 2852645 w 5168654"/>
              <a:gd name="connsiteY90-858" fmla="*/ 2075935 h 2436046"/>
              <a:gd name="connsiteX91-859" fmla="*/ 2891481 w 5168654"/>
              <a:gd name="connsiteY91-860" fmla="*/ 2082996 h 2436046"/>
              <a:gd name="connsiteX92-861" fmla="*/ 3216287 w 5168654"/>
              <a:gd name="connsiteY92-862" fmla="*/ 2079465 h 2436046"/>
              <a:gd name="connsiteX93-863" fmla="*/ 3216287 w 5168654"/>
              <a:gd name="connsiteY93-864" fmla="*/ 2107709 h 2436046"/>
              <a:gd name="connsiteX94-865" fmla="*/ 3230409 w 5168654"/>
              <a:gd name="connsiteY94-866" fmla="*/ 2121831 h 2436046"/>
              <a:gd name="connsiteX95-867" fmla="*/ 3230409 w 5168654"/>
              <a:gd name="connsiteY95-868" fmla="*/ 2181850 h 2436046"/>
              <a:gd name="connsiteX96-869" fmla="*/ 3438709 w 5168654"/>
              <a:gd name="connsiteY96-870" fmla="*/ 2181850 h 2436046"/>
              <a:gd name="connsiteX97-871" fmla="*/ 3438709 w 5168654"/>
              <a:gd name="connsiteY97-872" fmla="*/ 2199502 h 2436046"/>
              <a:gd name="connsiteX98-873" fmla="*/ 3565807 w 5168654"/>
              <a:gd name="connsiteY98-874" fmla="*/ 2199502 h 2436046"/>
              <a:gd name="connsiteX99-875" fmla="*/ 3565807 w 5168654"/>
              <a:gd name="connsiteY99-876" fmla="*/ 2227746 h 2436046"/>
              <a:gd name="connsiteX100-877" fmla="*/ 3618764 w 5168654"/>
              <a:gd name="connsiteY100-878" fmla="*/ 2227746 h 2436046"/>
              <a:gd name="connsiteX101-879" fmla="*/ 3618764 w 5168654"/>
              <a:gd name="connsiteY101-880" fmla="*/ 2252460 h 2436046"/>
              <a:gd name="connsiteX102-881" fmla="*/ 3890613 w 5168654"/>
              <a:gd name="connsiteY102-882" fmla="*/ 2252460 h 2436046"/>
              <a:gd name="connsiteX103-883" fmla="*/ 3890613 w 5168654"/>
              <a:gd name="connsiteY103-884" fmla="*/ 2287765 h 2436046"/>
              <a:gd name="connsiteX104-885" fmla="*/ 3975345 w 5168654"/>
              <a:gd name="connsiteY104-886" fmla="*/ 2287765 h 2436046"/>
              <a:gd name="connsiteX105-887" fmla="*/ 3975345 w 5168654"/>
              <a:gd name="connsiteY105-888" fmla="*/ 2316009 h 2436046"/>
              <a:gd name="connsiteX106-889" fmla="*/ 4007119 w 5168654"/>
              <a:gd name="connsiteY106-890" fmla="*/ 2316009 h 2436046"/>
              <a:gd name="connsiteX107-891" fmla="*/ 4007119 w 5168654"/>
              <a:gd name="connsiteY107-892" fmla="*/ 2368967 h 2436046"/>
              <a:gd name="connsiteX108-893" fmla="*/ 4614366 w 5168654"/>
              <a:gd name="connsiteY108-894" fmla="*/ 2368967 h 2436046"/>
              <a:gd name="connsiteX109-895" fmla="*/ 4614366 w 5168654"/>
              <a:gd name="connsiteY109-896" fmla="*/ 2436046 h 2436046"/>
              <a:gd name="connsiteX110-897" fmla="*/ 5168654 w 5168654"/>
              <a:gd name="connsiteY110-898" fmla="*/ 2436046 h 2436046"/>
              <a:gd name="connsiteX0-899" fmla="*/ 0 w 5168654"/>
              <a:gd name="connsiteY0-900" fmla="*/ 0 h 2436046"/>
              <a:gd name="connsiteX1-901" fmla="*/ 144750 w 5168654"/>
              <a:gd name="connsiteY1-902" fmla="*/ 0 h 2436046"/>
              <a:gd name="connsiteX2-903" fmla="*/ 144750 w 5168654"/>
              <a:gd name="connsiteY2-904" fmla="*/ 42366 h 2436046"/>
              <a:gd name="connsiteX3-905" fmla="*/ 158872 w 5168654"/>
              <a:gd name="connsiteY3-906" fmla="*/ 42366 h 2436046"/>
              <a:gd name="connsiteX4-907" fmla="*/ 158872 w 5168654"/>
              <a:gd name="connsiteY4-908" fmla="*/ 81201 h 2436046"/>
              <a:gd name="connsiteX5-909" fmla="*/ 162403 w 5168654"/>
              <a:gd name="connsiteY5-910" fmla="*/ 84732 h 2436046"/>
              <a:gd name="connsiteX6-911" fmla="*/ 162403 w 5168654"/>
              <a:gd name="connsiteY6-912" fmla="*/ 155342 h 2436046"/>
              <a:gd name="connsiteX7-913" fmla="*/ 257726 w 5168654"/>
              <a:gd name="connsiteY7-914" fmla="*/ 155342 h 2436046"/>
              <a:gd name="connsiteX8-915" fmla="*/ 257726 w 5168654"/>
              <a:gd name="connsiteY8-916" fmla="*/ 190647 h 2436046"/>
              <a:gd name="connsiteX9-917" fmla="*/ 268318 w 5168654"/>
              <a:gd name="connsiteY9-918" fmla="*/ 190647 h 2436046"/>
              <a:gd name="connsiteX10-919" fmla="*/ 268318 w 5168654"/>
              <a:gd name="connsiteY10-920" fmla="*/ 211830 h 2436046"/>
              <a:gd name="connsiteX11-921" fmla="*/ 508392 w 5168654"/>
              <a:gd name="connsiteY11-922" fmla="*/ 211830 h 2436046"/>
              <a:gd name="connsiteX12-923" fmla="*/ 508392 w 5168654"/>
              <a:gd name="connsiteY12-924" fmla="*/ 243604 h 2436046"/>
              <a:gd name="connsiteX13-925" fmla="*/ 536636 w 5168654"/>
              <a:gd name="connsiteY13-926" fmla="*/ 243604 h 2436046"/>
              <a:gd name="connsiteX14-927" fmla="*/ 536636 w 5168654"/>
              <a:gd name="connsiteY14-928" fmla="*/ 363641 h 2436046"/>
              <a:gd name="connsiteX15-929" fmla="*/ 554288 w 5168654"/>
              <a:gd name="connsiteY15-930" fmla="*/ 363641 h 2436046"/>
              <a:gd name="connsiteX16-931" fmla="*/ 554288 w 5168654"/>
              <a:gd name="connsiteY16-932" fmla="*/ 423660 h 2436046"/>
              <a:gd name="connsiteX17-933" fmla="*/ 769649 w 5168654"/>
              <a:gd name="connsiteY17-934" fmla="*/ 423660 h 2436046"/>
              <a:gd name="connsiteX18-935" fmla="*/ 769649 w 5168654"/>
              <a:gd name="connsiteY18-936" fmla="*/ 430721 h 2436046"/>
              <a:gd name="connsiteX19-937" fmla="*/ 776710 w 5168654"/>
              <a:gd name="connsiteY19-938" fmla="*/ 437782 h 2436046"/>
              <a:gd name="connsiteX20-939" fmla="*/ 776710 w 5168654"/>
              <a:gd name="connsiteY20-940" fmla="*/ 455434 h 2436046"/>
              <a:gd name="connsiteX21-941" fmla="*/ 794363 w 5168654"/>
              <a:gd name="connsiteY21-942" fmla="*/ 455434 h 2436046"/>
              <a:gd name="connsiteX22-943" fmla="*/ 794363 w 5168654"/>
              <a:gd name="connsiteY22-944" fmla="*/ 497801 h 2436046"/>
              <a:gd name="connsiteX23-945" fmla="*/ 808485 w 5168654"/>
              <a:gd name="connsiteY23-946" fmla="*/ 497801 h 2436046"/>
              <a:gd name="connsiteX24-947" fmla="*/ 808485 w 5168654"/>
              <a:gd name="connsiteY24-948" fmla="*/ 621368 h 2436046"/>
              <a:gd name="connsiteX25-949" fmla="*/ 822607 w 5168654"/>
              <a:gd name="connsiteY25-950" fmla="*/ 621368 h 2436046"/>
              <a:gd name="connsiteX26-951" fmla="*/ 822607 w 5168654"/>
              <a:gd name="connsiteY26-952" fmla="*/ 639021 h 2436046"/>
              <a:gd name="connsiteX27-953" fmla="*/ 1045028 w 5168654"/>
              <a:gd name="connsiteY27-954" fmla="*/ 639021 h 2436046"/>
              <a:gd name="connsiteX28-955" fmla="*/ 1045028 w 5168654"/>
              <a:gd name="connsiteY28-956" fmla="*/ 790832 h 2436046"/>
              <a:gd name="connsiteX29-957" fmla="*/ 1059150 w 5168654"/>
              <a:gd name="connsiteY29-958" fmla="*/ 790832 h 2436046"/>
              <a:gd name="connsiteX30-959" fmla="*/ 1059150 w 5168654"/>
              <a:gd name="connsiteY30-960" fmla="*/ 889686 h 2436046"/>
              <a:gd name="connsiteX31-961" fmla="*/ 1083864 w 5168654"/>
              <a:gd name="connsiteY31-962" fmla="*/ 889686 h 2436046"/>
              <a:gd name="connsiteX32-963" fmla="*/ 1101516 w 5168654"/>
              <a:gd name="connsiteY32-964" fmla="*/ 889686 h 2436046"/>
              <a:gd name="connsiteX33-965" fmla="*/ 1158004 w 5168654"/>
              <a:gd name="connsiteY33-966" fmla="*/ 889686 h 2436046"/>
              <a:gd name="connsiteX34-967" fmla="*/ 1158004 w 5168654"/>
              <a:gd name="connsiteY34-968" fmla="*/ 917930 h 2436046"/>
              <a:gd name="connsiteX35-969" fmla="*/ 1302755 w 5168654"/>
              <a:gd name="connsiteY35-970" fmla="*/ 917930 h 2436046"/>
              <a:gd name="connsiteX36-971" fmla="*/ 1302755 w 5168654"/>
              <a:gd name="connsiteY36-972" fmla="*/ 942644 h 2436046"/>
              <a:gd name="connsiteX37-973" fmla="*/ 1313346 w 5168654"/>
              <a:gd name="connsiteY37-974" fmla="*/ 942644 h 2436046"/>
              <a:gd name="connsiteX38-975" fmla="*/ 1313346 w 5168654"/>
              <a:gd name="connsiteY38-976" fmla="*/ 1034437 h 2436046"/>
              <a:gd name="connsiteX39-977" fmla="*/ 1316877 w 5168654"/>
              <a:gd name="connsiteY39-978" fmla="*/ 1034437 h 2436046"/>
              <a:gd name="connsiteX40-979" fmla="*/ 1316877 w 5168654"/>
              <a:gd name="connsiteY40-980" fmla="*/ 1080333 h 2436046"/>
              <a:gd name="connsiteX41-981" fmla="*/ 1489871 w 5168654"/>
              <a:gd name="connsiteY41-982" fmla="*/ 1080333 h 2436046"/>
              <a:gd name="connsiteX42-983" fmla="*/ 1489871 w 5168654"/>
              <a:gd name="connsiteY42-984" fmla="*/ 1097986 h 2436046"/>
              <a:gd name="connsiteX43-985" fmla="*/ 1518115 w 5168654"/>
              <a:gd name="connsiteY43-986" fmla="*/ 1097986 h 2436046"/>
              <a:gd name="connsiteX44-987" fmla="*/ 1518115 w 5168654"/>
              <a:gd name="connsiteY44-988" fmla="*/ 1122699 h 2436046"/>
              <a:gd name="connsiteX45-989" fmla="*/ 1532237 w 5168654"/>
              <a:gd name="connsiteY45-990" fmla="*/ 1122699 h 2436046"/>
              <a:gd name="connsiteX46-991" fmla="*/ 1539298 w 5168654"/>
              <a:gd name="connsiteY46-992" fmla="*/ 1129760 h 2436046"/>
              <a:gd name="connsiteX47-993" fmla="*/ 1553420 w 5168654"/>
              <a:gd name="connsiteY47-994" fmla="*/ 1143882 h 2436046"/>
              <a:gd name="connsiteX48-995" fmla="*/ 1553420 w 5168654"/>
              <a:gd name="connsiteY48-996" fmla="*/ 1189779 h 2436046"/>
              <a:gd name="connsiteX49-997" fmla="*/ 1564012 w 5168654"/>
              <a:gd name="connsiteY49-998" fmla="*/ 1189779 h 2436046"/>
              <a:gd name="connsiteX50-999" fmla="*/ 1564012 w 5168654"/>
              <a:gd name="connsiteY50-1000" fmla="*/ 1253328 h 2436046"/>
              <a:gd name="connsiteX51-1001" fmla="*/ 1578134 w 5168654"/>
              <a:gd name="connsiteY51-1002" fmla="*/ 1253328 h 2436046"/>
              <a:gd name="connsiteX52-1003" fmla="*/ 1578134 w 5168654"/>
              <a:gd name="connsiteY52-1004" fmla="*/ 1345121 h 2436046"/>
              <a:gd name="connsiteX53-1005" fmla="*/ 1588726 w 5168654"/>
              <a:gd name="connsiteY53-1006" fmla="*/ 1345121 h 2436046"/>
              <a:gd name="connsiteX54-1007" fmla="*/ 1588726 w 5168654"/>
              <a:gd name="connsiteY54-1008" fmla="*/ 1380426 h 2436046"/>
              <a:gd name="connsiteX55-1009" fmla="*/ 1588726 w 5168654"/>
              <a:gd name="connsiteY55-1010" fmla="*/ 1380426 h 2436046"/>
              <a:gd name="connsiteX56-1011" fmla="*/ 1627561 w 5168654"/>
              <a:gd name="connsiteY56-1012" fmla="*/ 1380426 h 2436046"/>
              <a:gd name="connsiteX57-1013" fmla="*/ 1797025 w 5168654"/>
              <a:gd name="connsiteY57-1014" fmla="*/ 1380426 h 2436046"/>
              <a:gd name="connsiteX58-1015" fmla="*/ 1797025 w 5168654"/>
              <a:gd name="connsiteY58-1016" fmla="*/ 1472219 h 2436046"/>
              <a:gd name="connsiteX59-1017" fmla="*/ 1828800 w 5168654"/>
              <a:gd name="connsiteY59-1018" fmla="*/ 1472219 h 2436046"/>
              <a:gd name="connsiteX60-1019" fmla="*/ 1828800 w 5168654"/>
              <a:gd name="connsiteY60-1020" fmla="*/ 1489872 h 2436046"/>
              <a:gd name="connsiteX61-1021" fmla="*/ 1828800 w 5168654"/>
              <a:gd name="connsiteY61-1022" fmla="*/ 1503994 h 2436046"/>
              <a:gd name="connsiteX62-1023" fmla="*/ 1846452 w 5168654"/>
              <a:gd name="connsiteY62-1024" fmla="*/ 1503994 h 2436046"/>
              <a:gd name="connsiteX63-1025" fmla="*/ 1846452 w 5168654"/>
              <a:gd name="connsiteY63-1026" fmla="*/ 1564012 h 2436046"/>
              <a:gd name="connsiteX64-1027" fmla="*/ 1878227 w 5168654"/>
              <a:gd name="connsiteY64-1028" fmla="*/ 1564012 h 2436046"/>
              <a:gd name="connsiteX65-1029" fmla="*/ 1878227 w 5168654"/>
              <a:gd name="connsiteY65-1030" fmla="*/ 1595787 h 2436046"/>
              <a:gd name="connsiteX66-1031" fmla="*/ 2072404 w 5168654"/>
              <a:gd name="connsiteY66-1032" fmla="*/ 1595787 h 2436046"/>
              <a:gd name="connsiteX67-1033" fmla="*/ 2072404 w 5168654"/>
              <a:gd name="connsiteY67-1034" fmla="*/ 1673458 h 2436046"/>
              <a:gd name="connsiteX68-1035" fmla="*/ 2093587 w 5168654"/>
              <a:gd name="connsiteY68-1036" fmla="*/ 1673458 h 2436046"/>
              <a:gd name="connsiteX69-1037" fmla="*/ 2093587 w 5168654"/>
              <a:gd name="connsiteY69-1038" fmla="*/ 1684049 h 2436046"/>
              <a:gd name="connsiteX70-1039" fmla="*/ 2097118 w 5168654"/>
              <a:gd name="connsiteY70-1040" fmla="*/ 1684049 h 2436046"/>
              <a:gd name="connsiteX71-1041" fmla="*/ 2097118 w 5168654"/>
              <a:gd name="connsiteY71-1042" fmla="*/ 1701702 h 2436046"/>
              <a:gd name="connsiteX72-1043" fmla="*/ 2111240 w 5168654"/>
              <a:gd name="connsiteY72-1044" fmla="*/ 1701702 h 2436046"/>
              <a:gd name="connsiteX73-1045" fmla="*/ 2111240 w 5168654"/>
              <a:gd name="connsiteY73-1046" fmla="*/ 1701702 h 2436046"/>
              <a:gd name="connsiteX74-1047" fmla="*/ 2418393 w 5168654"/>
              <a:gd name="connsiteY74-1048" fmla="*/ 1701702 h 2436046"/>
              <a:gd name="connsiteX75-1049" fmla="*/ 2418393 w 5168654"/>
              <a:gd name="connsiteY75-1050" fmla="*/ 1744068 h 2436046"/>
              <a:gd name="connsiteX76-1051" fmla="*/ 2418393 w 5168654"/>
              <a:gd name="connsiteY76-1052" fmla="*/ 1744068 h 2436046"/>
              <a:gd name="connsiteX77-1053" fmla="*/ 2446637 w 5168654"/>
              <a:gd name="connsiteY77-1054" fmla="*/ 1772312 h 2436046"/>
              <a:gd name="connsiteX78-1055" fmla="*/ 2460759 w 5168654"/>
              <a:gd name="connsiteY78-1056" fmla="*/ 1772312 h 2436046"/>
              <a:gd name="connsiteX79-1057" fmla="*/ 2460759 w 5168654"/>
              <a:gd name="connsiteY79-1058" fmla="*/ 1821739 h 2436046"/>
              <a:gd name="connsiteX80-1059" fmla="*/ 2478412 w 5168654"/>
              <a:gd name="connsiteY80-1060" fmla="*/ 1821739 h 2436046"/>
              <a:gd name="connsiteX81-1061" fmla="*/ 2478412 w 5168654"/>
              <a:gd name="connsiteY81-1062" fmla="*/ 1920593 h 2436046"/>
              <a:gd name="connsiteX82-1063" fmla="*/ 2633754 w 5168654"/>
              <a:gd name="connsiteY82-1064" fmla="*/ 1920593 h 2436046"/>
              <a:gd name="connsiteX83-1065" fmla="*/ 2633754 w 5168654"/>
              <a:gd name="connsiteY83-1066" fmla="*/ 1941776 h 2436046"/>
              <a:gd name="connsiteX84-1067" fmla="*/ 2732608 w 5168654"/>
              <a:gd name="connsiteY84-1068" fmla="*/ 1941776 h 2436046"/>
              <a:gd name="connsiteX85-1069" fmla="*/ 2771443 w 5168654"/>
              <a:gd name="connsiteY85-1070" fmla="*/ 1980611 h 2436046"/>
              <a:gd name="connsiteX86-1071" fmla="*/ 2782035 w 5168654"/>
              <a:gd name="connsiteY86-1072" fmla="*/ 1991203 h 2436046"/>
              <a:gd name="connsiteX87-1073" fmla="*/ 2838523 w 5168654"/>
              <a:gd name="connsiteY87-1074" fmla="*/ 1991203 h 2436046"/>
              <a:gd name="connsiteX88-1075" fmla="*/ 2838523 w 5168654"/>
              <a:gd name="connsiteY88-1076" fmla="*/ 2019447 h 2436046"/>
              <a:gd name="connsiteX89-1077" fmla="*/ 2852645 w 5168654"/>
              <a:gd name="connsiteY89-1078" fmla="*/ 2019447 h 2436046"/>
              <a:gd name="connsiteX90-1079" fmla="*/ 2852645 w 5168654"/>
              <a:gd name="connsiteY90-1080" fmla="*/ 2075935 h 2436046"/>
              <a:gd name="connsiteX91-1081" fmla="*/ 3216287 w 5168654"/>
              <a:gd name="connsiteY91-1082" fmla="*/ 2079465 h 2436046"/>
              <a:gd name="connsiteX92-1083" fmla="*/ 3216287 w 5168654"/>
              <a:gd name="connsiteY92-1084" fmla="*/ 2107709 h 2436046"/>
              <a:gd name="connsiteX93-1085" fmla="*/ 3230409 w 5168654"/>
              <a:gd name="connsiteY93-1086" fmla="*/ 2121831 h 2436046"/>
              <a:gd name="connsiteX94-1087" fmla="*/ 3230409 w 5168654"/>
              <a:gd name="connsiteY94-1088" fmla="*/ 2181850 h 2436046"/>
              <a:gd name="connsiteX95-1089" fmla="*/ 3438709 w 5168654"/>
              <a:gd name="connsiteY95-1090" fmla="*/ 2181850 h 2436046"/>
              <a:gd name="connsiteX96-1091" fmla="*/ 3438709 w 5168654"/>
              <a:gd name="connsiteY96-1092" fmla="*/ 2199502 h 2436046"/>
              <a:gd name="connsiteX97-1093" fmla="*/ 3565807 w 5168654"/>
              <a:gd name="connsiteY97-1094" fmla="*/ 2199502 h 2436046"/>
              <a:gd name="connsiteX98-1095" fmla="*/ 3565807 w 5168654"/>
              <a:gd name="connsiteY98-1096" fmla="*/ 2227746 h 2436046"/>
              <a:gd name="connsiteX99-1097" fmla="*/ 3618764 w 5168654"/>
              <a:gd name="connsiteY99-1098" fmla="*/ 2227746 h 2436046"/>
              <a:gd name="connsiteX100-1099" fmla="*/ 3618764 w 5168654"/>
              <a:gd name="connsiteY100-1100" fmla="*/ 2252460 h 2436046"/>
              <a:gd name="connsiteX101-1101" fmla="*/ 3890613 w 5168654"/>
              <a:gd name="connsiteY101-1102" fmla="*/ 2252460 h 2436046"/>
              <a:gd name="connsiteX102-1103" fmla="*/ 3890613 w 5168654"/>
              <a:gd name="connsiteY102-1104" fmla="*/ 2287765 h 2436046"/>
              <a:gd name="connsiteX103-1105" fmla="*/ 3975345 w 5168654"/>
              <a:gd name="connsiteY103-1106" fmla="*/ 2287765 h 2436046"/>
              <a:gd name="connsiteX104-1107" fmla="*/ 3975345 w 5168654"/>
              <a:gd name="connsiteY104-1108" fmla="*/ 2316009 h 2436046"/>
              <a:gd name="connsiteX105-1109" fmla="*/ 4007119 w 5168654"/>
              <a:gd name="connsiteY105-1110" fmla="*/ 2316009 h 2436046"/>
              <a:gd name="connsiteX106-1111" fmla="*/ 4007119 w 5168654"/>
              <a:gd name="connsiteY106-1112" fmla="*/ 2368967 h 2436046"/>
              <a:gd name="connsiteX107-1113" fmla="*/ 4614366 w 5168654"/>
              <a:gd name="connsiteY107-1114" fmla="*/ 2368967 h 2436046"/>
              <a:gd name="connsiteX108-1115" fmla="*/ 4614366 w 5168654"/>
              <a:gd name="connsiteY108-1116" fmla="*/ 2436046 h 2436046"/>
              <a:gd name="connsiteX109-1117" fmla="*/ 5168654 w 5168654"/>
              <a:gd name="connsiteY109-1118" fmla="*/ 2436046 h 2436046"/>
              <a:gd name="connsiteX0-1119" fmla="*/ 0 w 5168654"/>
              <a:gd name="connsiteY0-1120" fmla="*/ 0 h 2436046"/>
              <a:gd name="connsiteX1-1121" fmla="*/ 144750 w 5168654"/>
              <a:gd name="connsiteY1-1122" fmla="*/ 0 h 2436046"/>
              <a:gd name="connsiteX2-1123" fmla="*/ 144750 w 5168654"/>
              <a:gd name="connsiteY2-1124" fmla="*/ 42366 h 2436046"/>
              <a:gd name="connsiteX3-1125" fmla="*/ 158872 w 5168654"/>
              <a:gd name="connsiteY3-1126" fmla="*/ 42366 h 2436046"/>
              <a:gd name="connsiteX4-1127" fmla="*/ 158872 w 5168654"/>
              <a:gd name="connsiteY4-1128" fmla="*/ 81201 h 2436046"/>
              <a:gd name="connsiteX5-1129" fmla="*/ 162403 w 5168654"/>
              <a:gd name="connsiteY5-1130" fmla="*/ 84732 h 2436046"/>
              <a:gd name="connsiteX6-1131" fmla="*/ 162403 w 5168654"/>
              <a:gd name="connsiteY6-1132" fmla="*/ 155342 h 2436046"/>
              <a:gd name="connsiteX7-1133" fmla="*/ 257726 w 5168654"/>
              <a:gd name="connsiteY7-1134" fmla="*/ 155342 h 2436046"/>
              <a:gd name="connsiteX8-1135" fmla="*/ 257726 w 5168654"/>
              <a:gd name="connsiteY8-1136" fmla="*/ 190647 h 2436046"/>
              <a:gd name="connsiteX9-1137" fmla="*/ 268318 w 5168654"/>
              <a:gd name="connsiteY9-1138" fmla="*/ 190647 h 2436046"/>
              <a:gd name="connsiteX10-1139" fmla="*/ 268318 w 5168654"/>
              <a:gd name="connsiteY10-1140" fmla="*/ 211830 h 2436046"/>
              <a:gd name="connsiteX11-1141" fmla="*/ 508392 w 5168654"/>
              <a:gd name="connsiteY11-1142" fmla="*/ 211830 h 2436046"/>
              <a:gd name="connsiteX12-1143" fmla="*/ 508392 w 5168654"/>
              <a:gd name="connsiteY12-1144" fmla="*/ 243604 h 2436046"/>
              <a:gd name="connsiteX13-1145" fmla="*/ 536636 w 5168654"/>
              <a:gd name="connsiteY13-1146" fmla="*/ 243604 h 2436046"/>
              <a:gd name="connsiteX14-1147" fmla="*/ 536636 w 5168654"/>
              <a:gd name="connsiteY14-1148" fmla="*/ 363641 h 2436046"/>
              <a:gd name="connsiteX15-1149" fmla="*/ 554288 w 5168654"/>
              <a:gd name="connsiteY15-1150" fmla="*/ 363641 h 2436046"/>
              <a:gd name="connsiteX16-1151" fmla="*/ 554288 w 5168654"/>
              <a:gd name="connsiteY16-1152" fmla="*/ 423660 h 2436046"/>
              <a:gd name="connsiteX17-1153" fmla="*/ 769649 w 5168654"/>
              <a:gd name="connsiteY17-1154" fmla="*/ 423660 h 2436046"/>
              <a:gd name="connsiteX18-1155" fmla="*/ 769649 w 5168654"/>
              <a:gd name="connsiteY18-1156" fmla="*/ 430721 h 2436046"/>
              <a:gd name="connsiteX19-1157" fmla="*/ 776710 w 5168654"/>
              <a:gd name="connsiteY19-1158" fmla="*/ 437782 h 2436046"/>
              <a:gd name="connsiteX20-1159" fmla="*/ 776710 w 5168654"/>
              <a:gd name="connsiteY20-1160" fmla="*/ 455434 h 2436046"/>
              <a:gd name="connsiteX21-1161" fmla="*/ 794363 w 5168654"/>
              <a:gd name="connsiteY21-1162" fmla="*/ 455434 h 2436046"/>
              <a:gd name="connsiteX22-1163" fmla="*/ 794363 w 5168654"/>
              <a:gd name="connsiteY22-1164" fmla="*/ 497801 h 2436046"/>
              <a:gd name="connsiteX23-1165" fmla="*/ 808485 w 5168654"/>
              <a:gd name="connsiteY23-1166" fmla="*/ 497801 h 2436046"/>
              <a:gd name="connsiteX24-1167" fmla="*/ 808485 w 5168654"/>
              <a:gd name="connsiteY24-1168" fmla="*/ 621368 h 2436046"/>
              <a:gd name="connsiteX25-1169" fmla="*/ 822607 w 5168654"/>
              <a:gd name="connsiteY25-1170" fmla="*/ 621368 h 2436046"/>
              <a:gd name="connsiteX26-1171" fmla="*/ 822607 w 5168654"/>
              <a:gd name="connsiteY26-1172" fmla="*/ 639021 h 2436046"/>
              <a:gd name="connsiteX27-1173" fmla="*/ 1045028 w 5168654"/>
              <a:gd name="connsiteY27-1174" fmla="*/ 639021 h 2436046"/>
              <a:gd name="connsiteX28-1175" fmla="*/ 1045028 w 5168654"/>
              <a:gd name="connsiteY28-1176" fmla="*/ 790832 h 2436046"/>
              <a:gd name="connsiteX29-1177" fmla="*/ 1059150 w 5168654"/>
              <a:gd name="connsiteY29-1178" fmla="*/ 790832 h 2436046"/>
              <a:gd name="connsiteX30-1179" fmla="*/ 1059150 w 5168654"/>
              <a:gd name="connsiteY30-1180" fmla="*/ 889686 h 2436046"/>
              <a:gd name="connsiteX31-1181" fmla="*/ 1083864 w 5168654"/>
              <a:gd name="connsiteY31-1182" fmla="*/ 889686 h 2436046"/>
              <a:gd name="connsiteX32-1183" fmla="*/ 1101516 w 5168654"/>
              <a:gd name="connsiteY32-1184" fmla="*/ 889686 h 2436046"/>
              <a:gd name="connsiteX33-1185" fmla="*/ 1158004 w 5168654"/>
              <a:gd name="connsiteY33-1186" fmla="*/ 889686 h 2436046"/>
              <a:gd name="connsiteX34-1187" fmla="*/ 1158004 w 5168654"/>
              <a:gd name="connsiteY34-1188" fmla="*/ 917930 h 2436046"/>
              <a:gd name="connsiteX35-1189" fmla="*/ 1302755 w 5168654"/>
              <a:gd name="connsiteY35-1190" fmla="*/ 917930 h 2436046"/>
              <a:gd name="connsiteX36-1191" fmla="*/ 1302755 w 5168654"/>
              <a:gd name="connsiteY36-1192" fmla="*/ 942644 h 2436046"/>
              <a:gd name="connsiteX37-1193" fmla="*/ 1313346 w 5168654"/>
              <a:gd name="connsiteY37-1194" fmla="*/ 942644 h 2436046"/>
              <a:gd name="connsiteX38-1195" fmla="*/ 1313346 w 5168654"/>
              <a:gd name="connsiteY38-1196" fmla="*/ 1034437 h 2436046"/>
              <a:gd name="connsiteX39-1197" fmla="*/ 1316877 w 5168654"/>
              <a:gd name="connsiteY39-1198" fmla="*/ 1034437 h 2436046"/>
              <a:gd name="connsiteX40-1199" fmla="*/ 1316877 w 5168654"/>
              <a:gd name="connsiteY40-1200" fmla="*/ 1080333 h 2436046"/>
              <a:gd name="connsiteX41-1201" fmla="*/ 1489871 w 5168654"/>
              <a:gd name="connsiteY41-1202" fmla="*/ 1080333 h 2436046"/>
              <a:gd name="connsiteX42-1203" fmla="*/ 1489871 w 5168654"/>
              <a:gd name="connsiteY42-1204" fmla="*/ 1097986 h 2436046"/>
              <a:gd name="connsiteX43-1205" fmla="*/ 1518115 w 5168654"/>
              <a:gd name="connsiteY43-1206" fmla="*/ 1097986 h 2436046"/>
              <a:gd name="connsiteX44-1207" fmla="*/ 1518115 w 5168654"/>
              <a:gd name="connsiteY44-1208" fmla="*/ 1122699 h 2436046"/>
              <a:gd name="connsiteX45-1209" fmla="*/ 1532237 w 5168654"/>
              <a:gd name="connsiteY45-1210" fmla="*/ 1122699 h 2436046"/>
              <a:gd name="connsiteX46-1211" fmla="*/ 1539298 w 5168654"/>
              <a:gd name="connsiteY46-1212" fmla="*/ 1129760 h 2436046"/>
              <a:gd name="connsiteX47-1213" fmla="*/ 1553420 w 5168654"/>
              <a:gd name="connsiteY47-1214" fmla="*/ 1143882 h 2436046"/>
              <a:gd name="connsiteX48-1215" fmla="*/ 1553420 w 5168654"/>
              <a:gd name="connsiteY48-1216" fmla="*/ 1189779 h 2436046"/>
              <a:gd name="connsiteX49-1217" fmla="*/ 1564012 w 5168654"/>
              <a:gd name="connsiteY49-1218" fmla="*/ 1189779 h 2436046"/>
              <a:gd name="connsiteX50-1219" fmla="*/ 1564012 w 5168654"/>
              <a:gd name="connsiteY50-1220" fmla="*/ 1253328 h 2436046"/>
              <a:gd name="connsiteX51-1221" fmla="*/ 1578134 w 5168654"/>
              <a:gd name="connsiteY51-1222" fmla="*/ 1253328 h 2436046"/>
              <a:gd name="connsiteX52-1223" fmla="*/ 1578134 w 5168654"/>
              <a:gd name="connsiteY52-1224" fmla="*/ 1345121 h 2436046"/>
              <a:gd name="connsiteX53-1225" fmla="*/ 1588726 w 5168654"/>
              <a:gd name="connsiteY53-1226" fmla="*/ 1345121 h 2436046"/>
              <a:gd name="connsiteX54-1227" fmla="*/ 1588726 w 5168654"/>
              <a:gd name="connsiteY54-1228" fmla="*/ 1380426 h 2436046"/>
              <a:gd name="connsiteX55-1229" fmla="*/ 1588726 w 5168654"/>
              <a:gd name="connsiteY55-1230" fmla="*/ 1380426 h 2436046"/>
              <a:gd name="connsiteX56-1231" fmla="*/ 1627561 w 5168654"/>
              <a:gd name="connsiteY56-1232" fmla="*/ 1380426 h 2436046"/>
              <a:gd name="connsiteX57-1233" fmla="*/ 1797025 w 5168654"/>
              <a:gd name="connsiteY57-1234" fmla="*/ 1380426 h 2436046"/>
              <a:gd name="connsiteX58-1235" fmla="*/ 1797025 w 5168654"/>
              <a:gd name="connsiteY58-1236" fmla="*/ 1472219 h 2436046"/>
              <a:gd name="connsiteX59-1237" fmla="*/ 1828800 w 5168654"/>
              <a:gd name="connsiteY59-1238" fmla="*/ 1472219 h 2436046"/>
              <a:gd name="connsiteX60-1239" fmla="*/ 1828800 w 5168654"/>
              <a:gd name="connsiteY60-1240" fmla="*/ 1489872 h 2436046"/>
              <a:gd name="connsiteX61-1241" fmla="*/ 1828800 w 5168654"/>
              <a:gd name="connsiteY61-1242" fmla="*/ 1503994 h 2436046"/>
              <a:gd name="connsiteX62-1243" fmla="*/ 1846452 w 5168654"/>
              <a:gd name="connsiteY62-1244" fmla="*/ 1503994 h 2436046"/>
              <a:gd name="connsiteX63-1245" fmla="*/ 1846452 w 5168654"/>
              <a:gd name="connsiteY63-1246" fmla="*/ 1564012 h 2436046"/>
              <a:gd name="connsiteX64-1247" fmla="*/ 1878227 w 5168654"/>
              <a:gd name="connsiteY64-1248" fmla="*/ 1564012 h 2436046"/>
              <a:gd name="connsiteX65-1249" fmla="*/ 1878227 w 5168654"/>
              <a:gd name="connsiteY65-1250" fmla="*/ 1595787 h 2436046"/>
              <a:gd name="connsiteX66-1251" fmla="*/ 2072404 w 5168654"/>
              <a:gd name="connsiteY66-1252" fmla="*/ 1595787 h 2436046"/>
              <a:gd name="connsiteX67-1253" fmla="*/ 2072404 w 5168654"/>
              <a:gd name="connsiteY67-1254" fmla="*/ 1673458 h 2436046"/>
              <a:gd name="connsiteX68-1255" fmla="*/ 2093587 w 5168654"/>
              <a:gd name="connsiteY68-1256" fmla="*/ 1673458 h 2436046"/>
              <a:gd name="connsiteX69-1257" fmla="*/ 2093587 w 5168654"/>
              <a:gd name="connsiteY69-1258" fmla="*/ 1684049 h 2436046"/>
              <a:gd name="connsiteX70-1259" fmla="*/ 2097118 w 5168654"/>
              <a:gd name="connsiteY70-1260" fmla="*/ 1684049 h 2436046"/>
              <a:gd name="connsiteX71-1261" fmla="*/ 2097118 w 5168654"/>
              <a:gd name="connsiteY71-1262" fmla="*/ 1701702 h 2436046"/>
              <a:gd name="connsiteX72-1263" fmla="*/ 2111240 w 5168654"/>
              <a:gd name="connsiteY72-1264" fmla="*/ 1701702 h 2436046"/>
              <a:gd name="connsiteX73-1265" fmla="*/ 2111240 w 5168654"/>
              <a:gd name="connsiteY73-1266" fmla="*/ 1701702 h 2436046"/>
              <a:gd name="connsiteX74-1267" fmla="*/ 2418393 w 5168654"/>
              <a:gd name="connsiteY74-1268" fmla="*/ 1701702 h 2436046"/>
              <a:gd name="connsiteX75-1269" fmla="*/ 2418393 w 5168654"/>
              <a:gd name="connsiteY75-1270" fmla="*/ 1744068 h 2436046"/>
              <a:gd name="connsiteX76-1271" fmla="*/ 2418393 w 5168654"/>
              <a:gd name="connsiteY76-1272" fmla="*/ 1744068 h 2436046"/>
              <a:gd name="connsiteX77-1273" fmla="*/ 2446637 w 5168654"/>
              <a:gd name="connsiteY77-1274" fmla="*/ 1772312 h 2436046"/>
              <a:gd name="connsiteX78-1275" fmla="*/ 2460759 w 5168654"/>
              <a:gd name="connsiteY78-1276" fmla="*/ 1772312 h 2436046"/>
              <a:gd name="connsiteX79-1277" fmla="*/ 2460759 w 5168654"/>
              <a:gd name="connsiteY79-1278" fmla="*/ 1821739 h 2436046"/>
              <a:gd name="connsiteX80-1279" fmla="*/ 2478412 w 5168654"/>
              <a:gd name="connsiteY80-1280" fmla="*/ 1821739 h 2436046"/>
              <a:gd name="connsiteX81-1281" fmla="*/ 2478412 w 5168654"/>
              <a:gd name="connsiteY81-1282" fmla="*/ 1920593 h 2436046"/>
              <a:gd name="connsiteX82-1283" fmla="*/ 2633754 w 5168654"/>
              <a:gd name="connsiteY82-1284" fmla="*/ 1920593 h 2436046"/>
              <a:gd name="connsiteX83-1285" fmla="*/ 2633754 w 5168654"/>
              <a:gd name="connsiteY83-1286" fmla="*/ 1941776 h 2436046"/>
              <a:gd name="connsiteX84-1287" fmla="*/ 2732608 w 5168654"/>
              <a:gd name="connsiteY84-1288" fmla="*/ 1941776 h 2436046"/>
              <a:gd name="connsiteX85-1289" fmla="*/ 2771443 w 5168654"/>
              <a:gd name="connsiteY85-1290" fmla="*/ 1980611 h 2436046"/>
              <a:gd name="connsiteX86-1291" fmla="*/ 2782035 w 5168654"/>
              <a:gd name="connsiteY86-1292" fmla="*/ 1991203 h 2436046"/>
              <a:gd name="connsiteX87-1293" fmla="*/ 2838523 w 5168654"/>
              <a:gd name="connsiteY87-1294" fmla="*/ 1991203 h 2436046"/>
              <a:gd name="connsiteX88-1295" fmla="*/ 2838523 w 5168654"/>
              <a:gd name="connsiteY88-1296" fmla="*/ 2019447 h 2436046"/>
              <a:gd name="connsiteX89-1297" fmla="*/ 2852645 w 5168654"/>
              <a:gd name="connsiteY89-1298" fmla="*/ 2019447 h 2436046"/>
              <a:gd name="connsiteX90-1299" fmla="*/ 2852645 w 5168654"/>
              <a:gd name="connsiteY90-1300" fmla="*/ 2075935 h 2436046"/>
              <a:gd name="connsiteX91-1301" fmla="*/ 3237470 w 5168654"/>
              <a:gd name="connsiteY91-1302" fmla="*/ 2068873 h 2436046"/>
              <a:gd name="connsiteX92-1303" fmla="*/ 3216287 w 5168654"/>
              <a:gd name="connsiteY92-1304" fmla="*/ 2107709 h 2436046"/>
              <a:gd name="connsiteX93-1305" fmla="*/ 3230409 w 5168654"/>
              <a:gd name="connsiteY93-1306" fmla="*/ 2121831 h 2436046"/>
              <a:gd name="connsiteX94-1307" fmla="*/ 3230409 w 5168654"/>
              <a:gd name="connsiteY94-1308" fmla="*/ 2181850 h 2436046"/>
              <a:gd name="connsiteX95-1309" fmla="*/ 3438709 w 5168654"/>
              <a:gd name="connsiteY95-1310" fmla="*/ 2181850 h 2436046"/>
              <a:gd name="connsiteX96-1311" fmla="*/ 3438709 w 5168654"/>
              <a:gd name="connsiteY96-1312" fmla="*/ 2199502 h 2436046"/>
              <a:gd name="connsiteX97-1313" fmla="*/ 3565807 w 5168654"/>
              <a:gd name="connsiteY97-1314" fmla="*/ 2199502 h 2436046"/>
              <a:gd name="connsiteX98-1315" fmla="*/ 3565807 w 5168654"/>
              <a:gd name="connsiteY98-1316" fmla="*/ 2227746 h 2436046"/>
              <a:gd name="connsiteX99-1317" fmla="*/ 3618764 w 5168654"/>
              <a:gd name="connsiteY99-1318" fmla="*/ 2227746 h 2436046"/>
              <a:gd name="connsiteX100-1319" fmla="*/ 3618764 w 5168654"/>
              <a:gd name="connsiteY100-1320" fmla="*/ 2252460 h 2436046"/>
              <a:gd name="connsiteX101-1321" fmla="*/ 3890613 w 5168654"/>
              <a:gd name="connsiteY101-1322" fmla="*/ 2252460 h 2436046"/>
              <a:gd name="connsiteX102-1323" fmla="*/ 3890613 w 5168654"/>
              <a:gd name="connsiteY102-1324" fmla="*/ 2287765 h 2436046"/>
              <a:gd name="connsiteX103-1325" fmla="*/ 3975345 w 5168654"/>
              <a:gd name="connsiteY103-1326" fmla="*/ 2287765 h 2436046"/>
              <a:gd name="connsiteX104-1327" fmla="*/ 3975345 w 5168654"/>
              <a:gd name="connsiteY104-1328" fmla="*/ 2316009 h 2436046"/>
              <a:gd name="connsiteX105-1329" fmla="*/ 4007119 w 5168654"/>
              <a:gd name="connsiteY105-1330" fmla="*/ 2316009 h 2436046"/>
              <a:gd name="connsiteX106-1331" fmla="*/ 4007119 w 5168654"/>
              <a:gd name="connsiteY106-1332" fmla="*/ 2368967 h 2436046"/>
              <a:gd name="connsiteX107-1333" fmla="*/ 4614366 w 5168654"/>
              <a:gd name="connsiteY107-1334" fmla="*/ 2368967 h 2436046"/>
              <a:gd name="connsiteX108-1335" fmla="*/ 4614366 w 5168654"/>
              <a:gd name="connsiteY108-1336" fmla="*/ 2436046 h 2436046"/>
              <a:gd name="connsiteX109-1337" fmla="*/ 5168654 w 5168654"/>
              <a:gd name="connsiteY109-1338" fmla="*/ 2436046 h 2436046"/>
              <a:gd name="connsiteX0-1339" fmla="*/ 0 w 5168654"/>
              <a:gd name="connsiteY0-1340" fmla="*/ 0 h 2436046"/>
              <a:gd name="connsiteX1-1341" fmla="*/ 144750 w 5168654"/>
              <a:gd name="connsiteY1-1342" fmla="*/ 0 h 2436046"/>
              <a:gd name="connsiteX2-1343" fmla="*/ 144750 w 5168654"/>
              <a:gd name="connsiteY2-1344" fmla="*/ 42366 h 2436046"/>
              <a:gd name="connsiteX3-1345" fmla="*/ 158872 w 5168654"/>
              <a:gd name="connsiteY3-1346" fmla="*/ 42366 h 2436046"/>
              <a:gd name="connsiteX4-1347" fmla="*/ 158872 w 5168654"/>
              <a:gd name="connsiteY4-1348" fmla="*/ 81201 h 2436046"/>
              <a:gd name="connsiteX5-1349" fmla="*/ 162403 w 5168654"/>
              <a:gd name="connsiteY5-1350" fmla="*/ 84732 h 2436046"/>
              <a:gd name="connsiteX6-1351" fmla="*/ 162403 w 5168654"/>
              <a:gd name="connsiteY6-1352" fmla="*/ 155342 h 2436046"/>
              <a:gd name="connsiteX7-1353" fmla="*/ 257726 w 5168654"/>
              <a:gd name="connsiteY7-1354" fmla="*/ 155342 h 2436046"/>
              <a:gd name="connsiteX8-1355" fmla="*/ 257726 w 5168654"/>
              <a:gd name="connsiteY8-1356" fmla="*/ 190647 h 2436046"/>
              <a:gd name="connsiteX9-1357" fmla="*/ 268318 w 5168654"/>
              <a:gd name="connsiteY9-1358" fmla="*/ 190647 h 2436046"/>
              <a:gd name="connsiteX10-1359" fmla="*/ 268318 w 5168654"/>
              <a:gd name="connsiteY10-1360" fmla="*/ 211830 h 2436046"/>
              <a:gd name="connsiteX11-1361" fmla="*/ 508392 w 5168654"/>
              <a:gd name="connsiteY11-1362" fmla="*/ 211830 h 2436046"/>
              <a:gd name="connsiteX12-1363" fmla="*/ 508392 w 5168654"/>
              <a:gd name="connsiteY12-1364" fmla="*/ 243604 h 2436046"/>
              <a:gd name="connsiteX13-1365" fmla="*/ 536636 w 5168654"/>
              <a:gd name="connsiteY13-1366" fmla="*/ 243604 h 2436046"/>
              <a:gd name="connsiteX14-1367" fmla="*/ 536636 w 5168654"/>
              <a:gd name="connsiteY14-1368" fmla="*/ 363641 h 2436046"/>
              <a:gd name="connsiteX15-1369" fmla="*/ 554288 w 5168654"/>
              <a:gd name="connsiteY15-1370" fmla="*/ 363641 h 2436046"/>
              <a:gd name="connsiteX16-1371" fmla="*/ 554288 w 5168654"/>
              <a:gd name="connsiteY16-1372" fmla="*/ 423660 h 2436046"/>
              <a:gd name="connsiteX17-1373" fmla="*/ 769649 w 5168654"/>
              <a:gd name="connsiteY17-1374" fmla="*/ 423660 h 2436046"/>
              <a:gd name="connsiteX18-1375" fmla="*/ 769649 w 5168654"/>
              <a:gd name="connsiteY18-1376" fmla="*/ 430721 h 2436046"/>
              <a:gd name="connsiteX19-1377" fmla="*/ 776710 w 5168654"/>
              <a:gd name="connsiteY19-1378" fmla="*/ 437782 h 2436046"/>
              <a:gd name="connsiteX20-1379" fmla="*/ 776710 w 5168654"/>
              <a:gd name="connsiteY20-1380" fmla="*/ 455434 h 2436046"/>
              <a:gd name="connsiteX21-1381" fmla="*/ 794363 w 5168654"/>
              <a:gd name="connsiteY21-1382" fmla="*/ 455434 h 2436046"/>
              <a:gd name="connsiteX22-1383" fmla="*/ 794363 w 5168654"/>
              <a:gd name="connsiteY22-1384" fmla="*/ 497801 h 2436046"/>
              <a:gd name="connsiteX23-1385" fmla="*/ 808485 w 5168654"/>
              <a:gd name="connsiteY23-1386" fmla="*/ 497801 h 2436046"/>
              <a:gd name="connsiteX24-1387" fmla="*/ 808485 w 5168654"/>
              <a:gd name="connsiteY24-1388" fmla="*/ 621368 h 2436046"/>
              <a:gd name="connsiteX25-1389" fmla="*/ 822607 w 5168654"/>
              <a:gd name="connsiteY25-1390" fmla="*/ 621368 h 2436046"/>
              <a:gd name="connsiteX26-1391" fmla="*/ 822607 w 5168654"/>
              <a:gd name="connsiteY26-1392" fmla="*/ 639021 h 2436046"/>
              <a:gd name="connsiteX27-1393" fmla="*/ 1045028 w 5168654"/>
              <a:gd name="connsiteY27-1394" fmla="*/ 639021 h 2436046"/>
              <a:gd name="connsiteX28-1395" fmla="*/ 1045028 w 5168654"/>
              <a:gd name="connsiteY28-1396" fmla="*/ 790832 h 2436046"/>
              <a:gd name="connsiteX29-1397" fmla="*/ 1059150 w 5168654"/>
              <a:gd name="connsiteY29-1398" fmla="*/ 790832 h 2436046"/>
              <a:gd name="connsiteX30-1399" fmla="*/ 1059150 w 5168654"/>
              <a:gd name="connsiteY30-1400" fmla="*/ 889686 h 2436046"/>
              <a:gd name="connsiteX31-1401" fmla="*/ 1083864 w 5168654"/>
              <a:gd name="connsiteY31-1402" fmla="*/ 889686 h 2436046"/>
              <a:gd name="connsiteX32-1403" fmla="*/ 1101516 w 5168654"/>
              <a:gd name="connsiteY32-1404" fmla="*/ 889686 h 2436046"/>
              <a:gd name="connsiteX33-1405" fmla="*/ 1158004 w 5168654"/>
              <a:gd name="connsiteY33-1406" fmla="*/ 889686 h 2436046"/>
              <a:gd name="connsiteX34-1407" fmla="*/ 1158004 w 5168654"/>
              <a:gd name="connsiteY34-1408" fmla="*/ 917930 h 2436046"/>
              <a:gd name="connsiteX35-1409" fmla="*/ 1302755 w 5168654"/>
              <a:gd name="connsiteY35-1410" fmla="*/ 917930 h 2436046"/>
              <a:gd name="connsiteX36-1411" fmla="*/ 1302755 w 5168654"/>
              <a:gd name="connsiteY36-1412" fmla="*/ 942644 h 2436046"/>
              <a:gd name="connsiteX37-1413" fmla="*/ 1313346 w 5168654"/>
              <a:gd name="connsiteY37-1414" fmla="*/ 942644 h 2436046"/>
              <a:gd name="connsiteX38-1415" fmla="*/ 1313346 w 5168654"/>
              <a:gd name="connsiteY38-1416" fmla="*/ 1034437 h 2436046"/>
              <a:gd name="connsiteX39-1417" fmla="*/ 1316877 w 5168654"/>
              <a:gd name="connsiteY39-1418" fmla="*/ 1034437 h 2436046"/>
              <a:gd name="connsiteX40-1419" fmla="*/ 1316877 w 5168654"/>
              <a:gd name="connsiteY40-1420" fmla="*/ 1080333 h 2436046"/>
              <a:gd name="connsiteX41-1421" fmla="*/ 1489871 w 5168654"/>
              <a:gd name="connsiteY41-1422" fmla="*/ 1080333 h 2436046"/>
              <a:gd name="connsiteX42-1423" fmla="*/ 1489871 w 5168654"/>
              <a:gd name="connsiteY42-1424" fmla="*/ 1097986 h 2436046"/>
              <a:gd name="connsiteX43-1425" fmla="*/ 1518115 w 5168654"/>
              <a:gd name="connsiteY43-1426" fmla="*/ 1097986 h 2436046"/>
              <a:gd name="connsiteX44-1427" fmla="*/ 1518115 w 5168654"/>
              <a:gd name="connsiteY44-1428" fmla="*/ 1122699 h 2436046"/>
              <a:gd name="connsiteX45-1429" fmla="*/ 1532237 w 5168654"/>
              <a:gd name="connsiteY45-1430" fmla="*/ 1122699 h 2436046"/>
              <a:gd name="connsiteX46-1431" fmla="*/ 1539298 w 5168654"/>
              <a:gd name="connsiteY46-1432" fmla="*/ 1129760 h 2436046"/>
              <a:gd name="connsiteX47-1433" fmla="*/ 1553420 w 5168654"/>
              <a:gd name="connsiteY47-1434" fmla="*/ 1143882 h 2436046"/>
              <a:gd name="connsiteX48-1435" fmla="*/ 1553420 w 5168654"/>
              <a:gd name="connsiteY48-1436" fmla="*/ 1189779 h 2436046"/>
              <a:gd name="connsiteX49-1437" fmla="*/ 1564012 w 5168654"/>
              <a:gd name="connsiteY49-1438" fmla="*/ 1189779 h 2436046"/>
              <a:gd name="connsiteX50-1439" fmla="*/ 1564012 w 5168654"/>
              <a:gd name="connsiteY50-1440" fmla="*/ 1253328 h 2436046"/>
              <a:gd name="connsiteX51-1441" fmla="*/ 1578134 w 5168654"/>
              <a:gd name="connsiteY51-1442" fmla="*/ 1253328 h 2436046"/>
              <a:gd name="connsiteX52-1443" fmla="*/ 1578134 w 5168654"/>
              <a:gd name="connsiteY52-1444" fmla="*/ 1345121 h 2436046"/>
              <a:gd name="connsiteX53-1445" fmla="*/ 1588726 w 5168654"/>
              <a:gd name="connsiteY53-1446" fmla="*/ 1345121 h 2436046"/>
              <a:gd name="connsiteX54-1447" fmla="*/ 1588726 w 5168654"/>
              <a:gd name="connsiteY54-1448" fmla="*/ 1380426 h 2436046"/>
              <a:gd name="connsiteX55-1449" fmla="*/ 1588726 w 5168654"/>
              <a:gd name="connsiteY55-1450" fmla="*/ 1380426 h 2436046"/>
              <a:gd name="connsiteX56-1451" fmla="*/ 1627561 w 5168654"/>
              <a:gd name="connsiteY56-1452" fmla="*/ 1380426 h 2436046"/>
              <a:gd name="connsiteX57-1453" fmla="*/ 1797025 w 5168654"/>
              <a:gd name="connsiteY57-1454" fmla="*/ 1380426 h 2436046"/>
              <a:gd name="connsiteX58-1455" fmla="*/ 1797025 w 5168654"/>
              <a:gd name="connsiteY58-1456" fmla="*/ 1472219 h 2436046"/>
              <a:gd name="connsiteX59-1457" fmla="*/ 1828800 w 5168654"/>
              <a:gd name="connsiteY59-1458" fmla="*/ 1472219 h 2436046"/>
              <a:gd name="connsiteX60-1459" fmla="*/ 1828800 w 5168654"/>
              <a:gd name="connsiteY60-1460" fmla="*/ 1489872 h 2436046"/>
              <a:gd name="connsiteX61-1461" fmla="*/ 1828800 w 5168654"/>
              <a:gd name="connsiteY61-1462" fmla="*/ 1503994 h 2436046"/>
              <a:gd name="connsiteX62-1463" fmla="*/ 1846452 w 5168654"/>
              <a:gd name="connsiteY62-1464" fmla="*/ 1503994 h 2436046"/>
              <a:gd name="connsiteX63-1465" fmla="*/ 1846452 w 5168654"/>
              <a:gd name="connsiteY63-1466" fmla="*/ 1564012 h 2436046"/>
              <a:gd name="connsiteX64-1467" fmla="*/ 1878227 w 5168654"/>
              <a:gd name="connsiteY64-1468" fmla="*/ 1564012 h 2436046"/>
              <a:gd name="connsiteX65-1469" fmla="*/ 1878227 w 5168654"/>
              <a:gd name="connsiteY65-1470" fmla="*/ 1595787 h 2436046"/>
              <a:gd name="connsiteX66-1471" fmla="*/ 2072404 w 5168654"/>
              <a:gd name="connsiteY66-1472" fmla="*/ 1595787 h 2436046"/>
              <a:gd name="connsiteX67-1473" fmla="*/ 2072404 w 5168654"/>
              <a:gd name="connsiteY67-1474" fmla="*/ 1673458 h 2436046"/>
              <a:gd name="connsiteX68-1475" fmla="*/ 2093587 w 5168654"/>
              <a:gd name="connsiteY68-1476" fmla="*/ 1673458 h 2436046"/>
              <a:gd name="connsiteX69-1477" fmla="*/ 2093587 w 5168654"/>
              <a:gd name="connsiteY69-1478" fmla="*/ 1684049 h 2436046"/>
              <a:gd name="connsiteX70-1479" fmla="*/ 2097118 w 5168654"/>
              <a:gd name="connsiteY70-1480" fmla="*/ 1684049 h 2436046"/>
              <a:gd name="connsiteX71-1481" fmla="*/ 2097118 w 5168654"/>
              <a:gd name="connsiteY71-1482" fmla="*/ 1701702 h 2436046"/>
              <a:gd name="connsiteX72-1483" fmla="*/ 2111240 w 5168654"/>
              <a:gd name="connsiteY72-1484" fmla="*/ 1701702 h 2436046"/>
              <a:gd name="connsiteX73-1485" fmla="*/ 2111240 w 5168654"/>
              <a:gd name="connsiteY73-1486" fmla="*/ 1701702 h 2436046"/>
              <a:gd name="connsiteX74-1487" fmla="*/ 2418393 w 5168654"/>
              <a:gd name="connsiteY74-1488" fmla="*/ 1701702 h 2436046"/>
              <a:gd name="connsiteX75-1489" fmla="*/ 2418393 w 5168654"/>
              <a:gd name="connsiteY75-1490" fmla="*/ 1744068 h 2436046"/>
              <a:gd name="connsiteX76-1491" fmla="*/ 2418393 w 5168654"/>
              <a:gd name="connsiteY76-1492" fmla="*/ 1744068 h 2436046"/>
              <a:gd name="connsiteX77-1493" fmla="*/ 2446637 w 5168654"/>
              <a:gd name="connsiteY77-1494" fmla="*/ 1772312 h 2436046"/>
              <a:gd name="connsiteX78-1495" fmla="*/ 2460759 w 5168654"/>
              <a:gd name="connsiteY78-1496" fmla="*/ 1772312 h 2436046"/>
              <a:gd name="connsiteX79-1497" fmla="*/ 2460759 w 5168654"/>
              <a:gd name="connsiteY79-1498" fmla="*/ 1821739 h 2436046"/>
              <a:gd name="connsiteX80-1499" fmla="*/ 2478412 w 5168654"/>
              <a:gd name="connsiteY80-1500" fmla="*/ 1821739 h 2436046"/>
              <a:gd name="connsiteX81-1501" fmla="*/ 2478412 w 5168654"/>
              <a:gd name="connsiteY81-1502" fmla="*/ 1920593 h 2436046"/>
              <a:gd name="connsiteX82-1503" fmla="*/ 2633754 w 5168654"/>
              <a:gd name="connsiteY82-1504" fmla="*/ 1920593 h 2436046"/>
              <a:gd name="connsiteX83-1505" fmla="*/ 2633754 w 5168654"/>
              <a:gd name="connsiteY83-1506" fmla="*/ 1941776 h 2436046"/>
              <a:gd name="connsiteX84-1507" fmla="*/ 2732608 w 5168654"/>
              <a:gd name="connsiteY84-1508" fmla="*/ 1941776 h 2436046"/>
              <a:gd name="connsiteX85-1509" fmla="*/ 2771443 w 5168654"/>
              <a:gd name="connsiteY85-1510" fmla="*/ 1980611 h 2436046"/>
              <a:gd name="connsiteX86-1511" fmla="*/ 2782035 w 5168654"/>
              <a:gd name="connsiteY86-1512" fmla="*/ 1991203 h 2436046"/>
              <a:gd name="connsiteX87-1513" fmla="*/ 2838523 w 5168654"/>
              <a:gd name="connsiteY87-1514" fmla="*/ 1991203 h 2436046"/>
              <a:gd name="connsiteX88-1515" fmla="*/ 2838523 w 5168654"/>
              <a:gd name="connsiteY88-1516" fmla="*/ 2019447 h 2436046"/>
              <a:gd name="connsiteX89-1517" fmla="*/ 2852645 w 5168654"/>
              <a:gd name="connsiteY89-1518" fmla="*/ 2019447 h 2436046"/>
              <a:gd name="connsiteX90-1519" fmla="*/ 2852645 w 5168654"/>
              <a:gd name="connsiteY90-1520" fmla="*/ 2075935 h 2436046"/>
              <a:gd name="connsiteX91-1521" fmla="*/ 3237470 w 5168654"/>
              <a:gd name="connsiteY91-1522" fmla="*/ 2068873 h 2436046"/>
              <a:gd name="connsiteX92-1523" fmla="*/ 3216287 w 5168654"/>
              <a:gd name="connsiteY92-1524" fmla="*/ 2107709 h 2436046"/>
              <a:gd name="connsiteX93-1525" fmla="*/ 3230409 w 5168654"/>
              <a:gd name="connsiteY93-1526" fmla="*/ 2121831 h 2436046"/>
              <a:gd name="connsiteX94-1527" fmla="*/ 3230409 w 5168654"/>
              <a:gd name="connsiteY94-1528" fmla="*/ 2181850 h 2436046"/>
              <a:gd name="connsiteX95-1529" fmla="*/ 3438709 w 5168654"/>
              <a:gd name="connsiteY95-1530" fmla="*/ 2181850 h 2436046"/>
              <a:gd name="connsiteX96-1531" fmla="*/ 3438709 w 5168654"/>
              <a:gd name="connsiteY96-1532" fmla="*/ 2199502 h 2436046"/>
              <a:gd name="connsiteX97-1533" fmla="*/ 3565807 w 5168654"/>
              <a:gd name="connsiteY97-1534" fmla="*/ 2199502 h 2436046"/>
              <a:gd name="connsiteX98-1535" fmla="*/ 3565807 w 5168654"/>
              <a:gd name="connsiteY98-1536" fmla="*/ 2227746 h 2436046"/>
              <a:gd name="connsiteX99-1537" fmla="*/ 3618764 w 5168654"/>
              <a:gd name="connsiteY99-1538" fmla="*/ 2227746 h 2436046"/>
              <a:gd name="connsiteX100-1539" fmla="*/ 3618764 w 5168654"/>
              <a:gd name="connsiteY100-1540" fmla="*/ 2252460 h 2436046"/>
              <a:gd name="connsiteX101-1541" fmla="*/ 3890613 w 5168654"/>
              <a:gd name="connsiteY101-1542" fmla="*/ 2252460 h 2436046"/>
              <a:gd name="connsiteX102-1543" fmla="*/ 3890613 w 5168654"/>
              <a:gd name="connsiteY102-1544" fmla="*/ 2287765 h 2436046"/>
              <a:gd name="connsiteX103-1545" fmla="*/ 3975345 w 5168654"/>
              <a:gd name="connsiteY103-1546" fmla="*/ 2287765 h 2436046"/>
              <a:gd name="connsiteX104-1547" fmla="*/ 3975345 w 5168654"/>
              <a:gd name="connsiteY104-1548" fmla="*/ 2316009 h 2436046"/>
              <a:gd name="connsiteX105-1549" fmla="*/ 4007119 w 5168654"/>
              <a:gd name="connsiteY105-1550" fmla="*/ 2316009 h 2436046"/>
              <a:gd name="connsiteX106-1551" fmla="*/ 4007119 w 5168654"/>
              <a:gd name="connsiteY106-1552" fmla="*/ 2368967 h 2436046"/>
              <a:gd name="connsiteX107-1553" fmla="*/ 4614366 w 5168654"/>
              <a:gd name="connsiteY107-1554" fmla="*/ 2368967 h 2436046"/>
              <a:gd name="connsiteX108-1555" fmla="*/ 4614366 w 5168654"/>
              <a:gd name="connsiteY108-1556" fmla="*/ 2436046 h 2436046"/>
              <a:gd name="connsiteX109-1557" fmla="*/ 5168654 w 5168654"/>
              <a:gd name="connsiteY109-1558" fmla="*/ 2436046 h 2436046"/>
              <a:gd name="connsiteX0-1559" fmla="*/ 0 w 5168654"/>
              <a:gd name="connsiteY0-1560" fmla="*/ 0 h 2436046"/>
              <a:gd name="connsiteX1-1561" fmla="*/ 144750 w 5168654"/>
              <a:gd name="connsiteY1-1562" fmla="*/ 0 h 2436046"/>
              <a:gd name="connsiteX2-1563" fmla="*/ 144750 w 5168654"/>
              <a:gd name="connsiteY2-1564" fmla="*/ 42366 h 2436046"/>
              <a:gd name="connsiteX3-1565" fmla="*/ 158872 w 5168654"/>
              <a:gd name="connsiteY3-1566" fmla="*/ 42366 h 2436046"/>
              <a:gd name="connsiteX4-1567" fmla="*/ 158872 w 5168654"/>
              <a:gd name="connsiteY4-1568" fmla="*/ 81201 h 2436046"/>
              <a:gd name="connsiteX5-1569" fmla="*/ 162403 w 5168654"/>
              <a:gd name="connsiteY5-1570" fmla="*/ 84732 h 2436046"/>
              <a:gd name="connsiteX6-1571" fmla="*/ 162403 w 5168654"/>
              <a:gd name="connsiteY6-1572" fmla="*/ 155342 h 2436046"/>
              <a:gd name="connsiteX7-1573" fmla="*/ 257726 w 5168654"/>
              <a:gd name="connsiteY7-1574" fmla="*/ 155342 h 2436046"/>
              <a:gd name="connsiteX8-1575" fmla="*/ 257726 w 5168654"/>
              <a:gd name="connsiteY8-1576" fmla="*/ 190647 h 2436046"/>
              <a:gd name="connsiteX9-1577" fmla="*/ 268318 w 5168654"/>
              <a:gd name="connsiteY9-1578" fmla="*/ 190647 h 2436046"/>
              <a:gd name="connsiteX10-1579" fmla="*/ 268318 w 5168654"/>
              <a:gd name="connsiteY10-1580" fmla="*/ 211830 h 2436046"/>
              <a:gd name="connsiteX11-1581" fmla="*/ 508392 w 5168654"/>
              <a:gd name="connsiteY11-1582" fmla="*/ 211830 h 2436046"/>
              <a:gd name="connsiteX12-1583" fmla="*/ 508392 w 5168654"/>
              <a:gd name="connsiteY12-1584" fmla="*/ 243604 h 2436046"/>
              <a:gd name="connsiteX13-1585" fmla="*/ 536636 w 5168654"/>
              <a:gd name="connsiteY13-1586" fmla="*/ 243604 h 2436046"/>
              <a:gd name="connsiteX14-1587" fmla="*/ 536636 w 5168654"/>
              <a:gd name="connsiteY14-1588" fmla="*/ 363641 h 2436046"/>
              <a:gd name="connsiteX15-1589" fmla="*/ 554288 w 5168654"/>
              <a:gd name="connsiteY15-1590" fmla="*/ 363641 h 2436046"/>
              <a:gd name="connsiteX16-1591" fmla="*/ 554288 w 5168654"/>
              <a:gd name="connsiteY16-1592" fmla="*/ 423660 h 2436046"/>
              <a:gd name="connsiteX17-1593" fmla="*/ 769649 w 5168654"/>
              <a:gd name="connsiteY17-1594" fmla="*/ 423660 h 2436046"/>
              <a:gd name="connsiteX18-1595" fmla="*/ 769649 w 5168654"/>
              <a:gd name="connsiteY18-1596" fmla="*/ 430721 h 2436046"/>
              <a:gd name="connsiteX19-1597" fmla="*/ 776710 w 5168654"/>
              <a:gd name="connsiteY19-1598" fmla="*/ 437782 h 2436046"/>
              <a:gd name="connsiteX20-1599" fmla="*/ 776710 w 5168654"/>
              <a:gd name="connsiteY20-1600" fmla="*/ 455434 h 2436046"/>
              <a:gd name="connsiteX21-1601" fmla="*/ 794363 w 5168654"/>
              <a:gd name="connsiteY21-1602" fmla="*/ 455434 h 2436046"/>
              <a:gd name="connsiteX22-1603" fmla="*/ 794363 w 5168654"/>
              <a:gd name="connsiteY22-1604" fmla="*/ 497801 h 2436046"/>
              <a:gd name="connsiteX23-1605" fmla="*/ 808485 w 5168654"/>
              <a:gd name="connsiteY23-1606" fmla="*/ 497801 h 2436046"/>
              <a:gd name="connsiteX24-1607" fmla="*/ 808485 w 5168654"/>
              <a:gd name="connsiteY24-1608" fmla="*/ 621368 h 2436046"/>
              <a:gd name="connsiteX25-1609" fmla="*/ 822607 w 5168654"/>
              <a:gd name="connsiteY25-1610" fmla="*/ 621368 h 2436046"/>
              <a:gd name="connsiteX26-1611" fmla="*/ 822607 w 5168654"/>
              <a:gd name="connsiteY26-1612" fmla="*/ 639021 h 2436046"/>
              <a:gd name="connsiteX27-1613" fmla="*/ 1045028 w 5168654"/>
              <a:gd name="connsiteY27-1614" fmla="*/ 639021 h 2436046"/>
              <a:gd name="connsiteX28-1615" fmla="*/ 1045028 w 5168654"/>
              <a:gd name="connsiteY28-1616" fmla="*/ 790832 h 2436046"/>
              <a:gd name="connsiteX29-1617" fmla="*/ 1059150 w 5168654"/>
              <a:gd name="connsiteY29-1618" fmla="*/ 790832 h 2436046"/>
              <a:gd name="connsiteX30-1619" fmla="*/ 1059150 w 5168654"/>
              <a:gd name="connsiteY30-1620" fmla="*/ 889686 h 2436046"/>
              <a:gd name="connsiteX31-1621" fmla="*/ 1083864 w 5168654"/>
              <a:gd name="connsiteY31-1622" fmla="*/ 889686 h 2436046"/>
              <a:gd name="connsiteX32-1623" fmla="*/ 1101516 w 5168654"/>
              <a:gd name="connsiteY32-1624" fmla="*/ 889686 h 2436046"/>
              <a:gd name="connsiteX33-1625" fmla="*/ 1158004 w 5168654"/>
              <a:gd name="connsiteY33-1626" fmla="*/ 889686 h 2436046"/>
              <a:gd name="connsiteX34-1627" fmla="*/ 1158004 w 5168654"/>
              <a:gd name="connsiteY34-1628" fmla="*/ 917930 h 2436046"/>
              <a:gd name="connsiteX35-1629" fmla="*/ 1302755 w 5168654"/>
              <a:gd name="connsiteY35-1630" fmla="*/ 917930 h 2436046"/>
              <a:gd name="connsiteX36-1631" fmla="*/ 1302755 w 5168654"/>
              <a:gd name="connsiteY36-1632" fmla="*/ 942644 h 2436046"/>
              <a:gd name="connsiteX37-1633" fmla="*/ 1313346 w 5168654"/>
              <a:gd name="connsiteY37-1634" fmla="*/ 942644 h 2436046"/>
              <a:gd name="connsiteX38-1635" fmla="*/ 1313346 w 5168654"/>
              <a:gd name="connsiteY38-1636" fmla="*/ 1034437 h 2436046"/>
              <a:gd name="connsiteX39-1637" fmla="*/ 1316877 w 5168654"/>
              <a:gd name="connsiteY39-1638" fmla="*/ 1034437 h 2436046"/>
              <a:gd name="connsiteX40-1639" fmla="*/ 1316877 w 5168654"/>
              <a:gd name="connsiteY40-1640" fmla="*/ 1080333 h 2436046"/>
              <a:gd name="connsiteX41-1641" fmla="*/ 1489871 w 5168654"/>
              <a:gd name="connsiteY41-1642" fmla="*/ 1080333 h 2436046"/>
              <a:gd name="connsiteX42-1643" fmla="*/ 1489871 w 5168654"/>
              <a:gd name="connsiteY42-1644" fmla="*/ 1097986 h 2436046"/>
              <a:gd name="connsiteX43-1645" fmla="*/ 1518115 w 5168654"/>
              <a:gd name="connsiteY43-1646" fmla="*/ 1097986 h 2436046"/>
              <a:gd name="connsiteX44-1647" fmla="*/ 1518115 w 5168654"/>
              <a:gd name="connsiteY44-1648" fmla="*/ 1122699 h 2436046"/>
              <a:gd name="connsiteX45-1649" fmla="*/ 1532237 w 5168654"/>
              <a:gd name="connsiteY45-1650" fmla="*/ 1122699 h 2436046"/>
              <a:gd name="connsiteX46-1651" fmla="*/ 1539298 w 5168654"/>
              <a:gd name="connsiteY46-1652" fmla="*/ 1129760 h 2436046"/>
              <a:gd name="connsiteX47-1653" fmla="*/ 1553420 w 5168654"/>
              <a:gd name="connsiteY47-1654" fmla="*/ 1143882 h 2436046"/>
              <a:gd name="connsiteX48-1655" fmla="*/ 1553420 w 5168654"/>
              <a:gd name="connsiteY48-1656" fmla="*/ 1189779 h 2436046"/>
              <a:gd name="connsiteX49-1657" fmla="*/ 1564012 w 5168654"/>
              <a:gd name="connsiteY49-1658" fmla="*/ 1189779 h 2436046"/>
              <a:gd name="connsiteX50-1659" fmla="*/ 1564012 w 5168654"/>
              <a:gd name="connsiteY50-1660" fmla="*/ 1253328 h 2436046"/>
              <a:gd name="connsiteX51-1661" fmla="*/ 1578134 w 5168654"/>
              <a:gd name="connsiteY51-1662" fmla="*/ 1253328 h 2436046"/>
              <a:gd name="connsiteX52-1663" fmla="*/ 1578134 w 5168654"/>
              <a:gd name="connsiteY52-1664" fmla="*/ 1345121 h 2436046"/>
              <a:gd name="connsiteX53-1665" fmla="*/ 1588726 w 5168654"/>
              <a:gd name="connsiteY53-1666" fmla="*/ 1345121 h 2436046"/>
              <a:gd name="connsiteX54-1667" fmla="*/ 1588726 w 5168654"/>
              <a:gd name="connsiteY54-1668" fmla="*/ 1380426 h 2436046"/>
              <a:gd name="connsiteX55-1669" fmla="*/ 1588726 w 5168654"/>
              <a:gd name="connsiteY55-1670" fmla="*/ 1380426 h 2436046"/>
              <a:gd name="connsiteX56-1671" fmla="*/ 1627561 w 5168654"/>
              <a:gd name="connsiteY56-1672" fmla="*/ 1380426 h 2436046"/>
              <a:gd name="connsiteX57-1673" fmla="*/ 1797025 w 5168654"/>
              <a:gd name="connsiteY57-1674" fmla="*/ 1380426 h 2436046"/>
              <a:gd name="connsiteX58-1675" fmla="*/ 1797025 w 5168654"/>
              <a:gd name="connsiteY58-1676" fmla="*/ 1472219 h 2436046"/>
              <a:gd name="connsiteX59-1677" fmla="*/ 1828800 w 5168654"/>
              <a:gd name="connsiteY59-1678" fmla="*/ 1472219 h 2436046"/>
              <a:gd name="connsiteX60-1679" fmla="*/ 1828800 w 5168654"/>
              <a:gd name="connsiteY60-1680" fmla="*/ 1489872 h 2436046"/>
              <a:gd name="connsiteX61-1681" fmla="*/ 1828800 w 5168654"/>
              <a:gd name="connsiteY61-1682" fmla="*/ 1503994 h 2436046"/>
              <a:gd name="connsiteX62-1683" fmla="*/ 1846452 w 5168654"/>
              <a:gd name="connsiteY62-1684" fmla="*/ 1503994 h 2436046"/>
              <a:gd name="connsiteX63-1685" fmla="*/ 1846452 w 5168654"/>
              <a:gd name="connsiteY63-1686" fmla="*/ 1564012 h 2436046"/>
              <a:gd name="connsiteX64-1687" fmla="*/ 1878227 w 5168654"/>
              <a:gd name="connsiteY64-1688" fmla="*/ 1564012 h 2436046"/>
              <a:gd name="connsiteX65-1689" fmla="*/ 1878227 w 5168654"/>
              <a:gd name="connsiteY65-1690" fmla="*/ 1595787 h 2436046"/>
              <a:gd name="connsiteX66-1691" fmla="*/ 2072404 w 5168654"/>
              <a:gd name="connsiteY66-1692" fmla="*/ 1595787 h 2436046"/>
              <a:gd name="connsiteX67-1693" fmla="*/ 2072404 w 5168654"/>
              <a:gd name="connsiteY67-1694" fmla="*/ 1673458 h 2436046"/>
              <a:gd name="connsiteX68-1695" fmla="*/ 2093587 w 5168654"/>
              <a:gd name="connsiteY68-1696" fmla="*/ 1673458 h 2436046"/>
              <a:gd name="connsiteX69-1697" fmla="*/ 2093587 w 5168654"/>
              <a:gd name="connsiteY69-1698" fmla="*/ 1684049 h 2436046"/>
              <a:gd name="connsiteX70-1699" fmla="*/ 2097118 w 5168654"/>
              <a:gd name="connsiteY70-1700" fmla="*/ 1684049 h 2436046"/>
              <a:gd name="connsiteX71-1701" fmla="*/ 2097118 w 5168654"/>
              <a:gd name="connsiteY71-1702" fmla="*/ 1701702 h 2436046"/>
              <a:gd name="connsiteX72-1703" fmla="*/ 2111240 w 5168654"/>
              <a:gd name="connsiteY72-1704" fmla="*/ 1701702 h 2436046"/>
              <a:gd name="connsiteX73-1705" fmla="*/ 2111240 w 5168654"/>
              <a:gd name="connsiteY73-1706" fmla="*/ 1701702 h 2436046"/>
              <a:gd name="connsiteX74-1707" fmla="*/ 2418393 w 5168654"/>
              <a:gd name="connsiteY74-1708" fmla="*/ 1701702 h 2436046"/>
              <a:gd name="connsiteX75-1709" fmla="*/ 2418393 w 5168654"/>
              <a:gd name="connsiteY75-1710" fmla="*/ 1744068 h 2436046"/>
              <a:gd name="connsiteX76-1711" fmla="*/ 2418393 w 5168654"/>
              <a:gd name="connsiteY76-1712" fmla="*/ 1744068 h 2436046"/>
              <a:gd name="connsiteX77-1713" fmla="*/ 2446637 w 5168654"/>
              <a:gd name="connsiteY77-1714" fmla="*/ 1772312 h 2436046"/>
              <a:gd name="connsiteX78-1715" fmla="*/ 2460759 w 5168654"/>
              <a:gd name="connsiteY78-1716" fmla="*/ 1772312 h 2436046"/>
              <a:gd name="connsiteX79-1717" fmla="*/ 2460759 w 5168654"/>
              <a:gd name="connsiteY79-1718" fmla="*/ 1821739 h 2436046"/>
              <a:gd name="connsiteX80-1719" fmla="*/ 2478412 w 5168654"/>
              <a:gd name="connsiteY80-1720" fmla="*/ 1821739 h 2436046"/>
              <a:gd name="connsiteX81-1721" fmla="*/ 2478412 w 5168654"/>
              <a:gd name="connsiteY81-1722" fmla="*/ 1920593 h 2436046"/>
              <a:gd name="connsiteX82-1723" fmla="*/ 2633754 w 5168654"/>
              <a:gd name="connsiteY82-1724" fmla="*/ 1920593 h 2436046"/>
              <a:gd name="connsiteX83-1725" fmla="*/ 2633754 w 5168654"/>
              <a:gd name="connsiteY83-1726" fmla="*/ 1941776 h 2436046"/>
              <a:gd name="connsiteX84-1727" fmla="*/ 2732608 w 5168654"/>
              <a:gd name="connsiteY84-1728" fmla="*/ 1941776 h 2436046"/>
              <a:gd name="connsiteX85-1729" fmla="*/ 2771443 w 5168654"/>
              <a:gd name="connsiteY85-1730" fmla="*/ 1980611 h 2436046"/>
              <a:gd name="connsiteX86-1731" fmla="*/ 2782035 w 5168654"/>
              <a:gd name="connsiteY86-1732" fmla="*/ 1991203 h 2436046"/>
              <a:gd name="connsiteX87-1733" fmla="*/ 2838523 w 5168654"/>
              <a:gd name="connsiteY87-1734" fmla="*/ 1991203 h 2436046"/>
              <a:gd name="connsiteX88-1735" fmla="*/ 2838523 w 5168654"/>
              <a:gd name="connsiteY88-1736" fmla="*/ 2019447 h 2436046"/>
              <a:gd name="connsiteX89-1737" fmla="*/ 2852645 w 5168654"/>
              <a:gd name="connsiteY89-1738" fmla="*/ 2019447 h 2436046"/>
              <a:gd name="connsiteX90-1739" fmla="*/ 2852645 w 5168654"/>
              <a:gd name="connsiteY90-1740" fmla="*/ 2075935 h 2436046"/>
              <a:gd name="connsiteX91-1741" fmla="*/ 3237470 w 5168654"/>
              <a:gd name="connsiteY91-1742" fmla="*/ 2068873 h 2436046"/>
              <a:gd name="connsiteX92-1743" fmla="*/ 3216287 w 5168654"/>
              <a:gd name="connsiteY92-1744" fmla="*/ 2107709 h 2436046"/>
              <a:gd name="connsiteX93-1745" fmla="*/ 3230409 w 5168654"/>
              <a:gd name="connsiteY93-1746" fmla="*/ 2121831 h 2436046"/>
              <a:gd name="connsiteX94-1747" fmla="*/ 3230409 w 5168654"/>
              <a:gd name="connsiteY94-1748" fmla="*/ 2181850 h 2436046"/>
              <a:gd name="connsiteX95-1749" fmla="*/ 3438709 w 5168654"/>
              <a:gd name="connsiteY95-1750" fmla="*/ 2181850 h 2436046"/>
              <a:gd name="connsiteX96-1751" fmla="*/ 3438709 w 5168654"/>
              <a:gd name="connsiteY96-1752" fmla="*/ 2199502 h 2436046"/>
              <a:gd name="connsiteX97-1753" fmla="*/ 3565807 w 5168654"/>
              <a:gd name="connsiteY97-1754" fmla="*/ 2199502 h 2436046"/>
              <a:gd name="connsiteX98-1755" fmla="*/ 3565807 w 5168654"/>
              <a:gd name="connsiteY98-1756" fmla="*/ 2227746 h 2436046"/>
              <a:gd name="connsiteX99-1757" fmla="*/ 3618764 w 5168654"/>
              <a:gd name="connsiteY99-1758" fmla="*/ 2227746 h 2436046"/>
              <a:gd name="connsiteX100-1759" fmla="*/ 3618764 w 5168654"/>
              <a:gd name="connsiteY100-1760" fmla="*/ 2252460 h 2436046"/>
              <a:gd name="connsiteX101-1761" fmla="*/ 3890613 w 5168654"/>
              <a:gd name="connsiteY101-1762" fmla="*/ 2252460 h 2436046"/>
              <a:gd name="connsiteX102-1763" fmla="*/ 3890613 w 5168654"/>
              <a:gd name="connsiteY102-1764" fmla="*/ 2287765 h 2436046"/>
              <a:gd name="connsiteX103-1765" fmla="*/ 3975345 w 5168654"/>
              <a:gd name="connsiteY103-1766" fmla="*/ 2287765 h 2436046"/>
              <a:gd name="connsiteX104-1767" fmla="*/ 3975345 w 5168654"/>
              <a:gd name="connsiteY104-1768" fmla="*/ 2316009 h 2436046"/>
              <a:gd name="connsiteX105-1769" fmla="*/ 4007119 w 5168654"/>
              <a:gd name="connsiteY105-1770" fmla="*/ 2316009 h 2436046"/>
              <a:gd name="connsiteX106-1771" fmla="*/ 4007119 w 5168654"/>
              <a:gd name="connsiteY106-1772" fmla="*/ 2368967 h 2436046"/>
              <a:gd name="connsiteX107-1773" fmla="*/ 4614366 w 5168654"/>
              <a:gd name="connsiteY107-1774" fmla="*/ 2368967 h 2436046"/>
              <a:gd name="connsiteX108-1775" fmla="*/ 4614366 w 5168654"/>
              <a:gd name="connsiteY108-1776" fmla="*/ 2436046 h 2436046"/>
              <a:gd name="connsiteX109-1777" fmla="*/ 5168654 w 5168654"/>
              <a:gd name="connsiteY109-1778" fmla="*/ 2436046 h 2436046"/>
              <a:gd name="connsiteX0-1779" fmla="*/ 0 w 5168654"/>
              <a:gd name="connsiteY0-1780" fmla="*/ 0 h 2436046"/>
              <a:gd name="connsiteX1-1781" fmla="*/ 144750 w 5168654"/>
              <a:gd name="connsiteY1-1782" fmla="*/ 0 h 2436046"/>
              <a:gd name="connsiteX2-1783" fmla="*/ 144750 w 5168654"/>
              <a:gd name="connsiteY2-1784" fmla="*/ 42366 h 2436046"/>
              <a:gd name="connsiteX3-1785" fmla="*/ 158872 w 5168654"/>
              <a:gd name="connsiteY3-1786" fmla="*/ 42366 h 2436046"/>
              <a:gd name="connsiteX4-1787" fmla="*/ 158872 w 5168654"/>
              <a:gd name="connsiteY4-1788" fmla="*/ 81201 h 2436046"/>
              <a:gd name="connsiteX5-1789" fmla="*/ 162403 w 5168654"/>
              <a:gd name="connsiteY5-1790" fmla="*/ 84732 h 2436046"/>
              <a:gd name="connsiteX6-1791" fmla="*/ 162403 w 5168654"/>
              <a:gd name="connsiteY6-1792" fmla="*/ 155342 h 2436046"/>
              <a:gd name="connsiteX7-1793" fmla="*/ 257726 w 5168654"/>
              <a:gd name="connsiteY7-1794" fmla="*/ 155342 h 2436046"/>
              <a:gd name="connsiteX8-1795" fmla="*/ 257726 w 5168654"/>
              <a:gd name="connsiteY8-1796" fmla="*/ 190647 h 2436046"/>
              <a:gd name="connsiteX9-1797" fmla="*/ 268318 w 5168654"/>
              <a:gd name="connsiteY9-1798" fmla="*/ 190647 h 2436046"/>
              <a:gd name="connsiteX10-1799" fmla="*/ 268318 w 5168654"/>
              <a:gd name="connsiteY10-1800" fmla="*/ 211830 h 2436046"/>
              <a:gd name="connsiteX11-1801" fmla="*/ 508392 w 5168654"/>
              <a:gd name="connsiteY11-1802" fmla="*/ 211830 h 2436046"/>
              <a:gd name="connsiteX12-1803" fmla="*/ 508392 w 5168654"/>
              <a:gd name="connsiteY12-1804" fmla="*/ 243604 h 2436046"/>
              <a:gd name="connsiteX13-1805" fmla="*/ 536636 w 5168654"/>
              <a:gd name="connsiteY13-1806" fmla="*/ 243604 h 2436046"/>
              <a:gd name="connsiteX14-1807" fmla="*/ 536636 w 5168654"/>
              <a:gd name="connsiteY14-1808" fmla="*/ 363641 h 2436046"/>
              <a:gd name="connsiteX15-1809" fmla="*/ 554288 w 5168654"/>
              <a:gd name="connsiteY15-1810" fmla="*/ 363641 h 2436046"/>
              <a:gd name="connsiteX16-1811" fmla="*/ 554288 w 5168654"/>
              <a:gd name="connsiteY16-1812" fmla="*/ 423660 h 2436046"/>
              <a:gd name="connsiteX17-1813" fmla="*/ 769649 w 5168654"/>
              <a:gd name="connsiteY17-1814" fmla="*/ 423660 h 2436046"/>
              <a:gd name="connsiteX18-1815" fmla="*/ 769649 w 5168654"/>
              <a:gd name="connsiteY18-1816" fmla="*/ 430721 h 2436046"/>
              <a:gd name="connsiteX19-1817" fmla="*/ 776710 w 5168654"/>
              <a:gd name="connsiteY19-1818" fmla="*/ 437782 h 2436046"/>
              <a:gd name="connsiteX20-1819" fmla="*/ 776710 w 5168654"/>
              <a:gd name="connsiteY20-1820" fmla="*/ 455434 h 2436046"/>
              <a:gd name="connsiteX21-1821" fmla="*/ 794363 w 5168654"/>
              <a:gd name="connsiteY21-1822" fmla="*/ 455434 h 2436046"/>
              <a:gd name="connsiteX22-1823" fmla="*/ 794363 w 5168654"/>
              <a:gd name="connsiteY22-1824" fmla="*/ 497801 h 2436046"/>
              <a:gd name="connsiteX23-1825" fmla="*/ 808485 w 5168654"/>
              <a:gd name="connsiteY23-1826" fmla="*/ 497801 h 2436046"/>
              <a:gd name="connsiteX24-1827" fmla="*/ 808485 w 5168654"/>
              <a:gd name="connsiteY24-1828" fmla="*/ 621368 h 2436046"/>
              <a:gd name="connsiteX25-1829" fmla="*/ 822607 w 5168654"/>
              <a:gd name="connsiteY25-1830" fmla="*/ 621368 h 2436046"/>
              <a:gd name="connsiteX26-1831" fmla="*/ 822607 w 5168654"/>
              <a:gd name="connsiteY26-1832" fmla="*/ 639021 h 2436046"/>
              <a:gd name="connsiteX27-1833" fmla="*/ 1045028 w 5168654"/>
              <a:gd name="connsiteY27-1834" fmla="*/ 639021 h 2436046"/>
              <a:gd name="connsiteX28-1835" fmla="*/ 1045028 w 5168654"/>
              <a:gd name="connsiteY28-1836" fmla="*/ 790832 h 2436046"/>
              <a:gd name="connsiteX29-1837" fmla="*/ 1059150 w 5168654"/>
              <a:gd name="connsiteY29-1838" fmla="*/ 790832 h 2436046"/>
              <a:gd name="connsiteX30-1839" fmla="*/ 1059150 w 5168654"/>
              <a:gd name="connsiteY30-1840" fmla="*/ 889686 h 2436046"/>
              <a:gd name="connsiteX31-1841" fmla="*/ 1083864 w 5168654"/>
              <a:gd name="connsiteY31-1842" fmla="*/ 889686 h 2436046"/>
              <a:gd name="connsiteX32-1843" fmla="*/ 1101516 w 5168654"/>
              <a:gd name="connsiteY32-1844" fmla="*/ 889686 h 2436046"/>
              <a:gd name="connsiteX33-1845" fmla="*/ 1158004 w 5168654"/>
              <a:gd name="connsiteY33-1846" fmla="*/ 889686 h 2436046"/>
              <a:gd name="connsiteX34-1847" fmla="*/ 1158004 w 5168654"/>
              <a:gd name="connsiteY34-1848" fmla="*/ 917930 h 2436046"/>
              <a:gd name="connsiteX35-1849" fmla="*/ 1302755 w 5168654"/>
              <a:gd name="connsiteY35-1850" fmla="*/ 917930 h 2436046"/>
              <a:gd name="connsiteX36-1851" fmla="*/ 1302755 w 5168654"/>
              <a:gd name="connsiteY36-1852" fmla="*/ 942644 h 2436046"/>
              <a:gd name="connsiteX37-1853" fmla="*/ 1313346 w 5168654"/>
              <a:gd name="connsiteY37-1854" fmla="*/ 942644 h 2436046"/>
              <a:gd name="connsiteX38-1855" fmla="*/ 1313346 w 5168654"/>
              <a:gd name="connsiteY38-1856" fmla="*/ 1034437 h 2436046"/>
              <a:gd name="connsiteX39-1857" fmla="*/ 1316877 w 5168654"/>
              <a:gd name="connsiteY39-1858" fmla="*/ 1034437 h 2436046"/>
              <a:gd name="connsiteX40-1859" fmla="*/ 1316877 w 5168654"/>
              <a:gd name="connsiteY40-1860" fmla="*/ 1080333 h 2436046"/>
              <a:gd name="connsiteX41-1861" fmla="*/ 1489871 w 5168654"/>
              <a:gd name="connsiteY41-1862" fmla="*/ 1080333 h 2436046"/>
              <a:gd name="connsiteX42-1863" fmla="*/ 1489871 w 5168654"/>
              <a:gd name="connsiteY42-1864" fmla="*/ 1097986 h 2436046"/>
              <a:gd name="connsiteX43-1865" fmla="*/ 1518115 w 5168654"/>
              <a:gd name="connsiteY43-1866" fmla="*/ 1097986 h 2436046"/>
              <a:gd name="connsiteX44-1867" fmla="*/ 1518115 w 5168654"/>
              <a:gd name="connsiteY44-1868" fmla="*/ 1122699 h 2436046"/>
              <a:gd name="connsiteX45-1869" fmla="*/ 1532237 w 5168654"/>
              <a:gd name="connsiteY45-1870" fmla="*/ 1122699 h 2436046"/>
              <a:gd name="connsiteX46-1871" fmla="*/ 1539298 w 5168654"/>
              <a:gd name="connsiteY46-1872" fmla="*/ 1129760 h 2436046"/>
              <a:gd name="connsiteX47-1873" fmla="*/ 1553420 w 5168654"/>
              <a:gd name="connsiteY47-1874" fmla="*/ 1143882 h 2436046"/>
              <a:gd name="connsiteX48-1875" fmla="*/ 1553420 w 5168654"/>
              <a:gd name="connsiteY48-1876" fmla="*/ 1189779 h 2436046"/>
              <a:gd name="connsiteX49-1877" fmla="*/ 1564012 w 5168654"/>
              <a:gd name="connsiteY49-1878" fmla="*/ 1189779 h 2436046"/>
              <a:gd name="connsiteX50-1879" fmla="*/ 1564012 w 5168654"/>
              <a:gd name="connsiteY50-1880" fmla="*/ 1253328 h 2436046"/>
              <a:gd name="connsiteX51-1881" fmla="*/ 1578134 w 5168654"/>
              <a:gd name="connsiteY51-1882" fmla="*/ 1253328 h 2436046"/>
              <a:gd name="connsiteX52-1883" fmla="*/ 1578134 w 5168654"/>
              <a:gd name="connsiteY52-1884" fmla="*/ 1345121 h 2436046"/>
              <a:gd name="connsiteX53-1885" fmla="*/ 1588726 w 5168654"/>
              <a:gd name="connsiteY53-1886" fmla="*/ 1345121 h 2436046"/>
              <a:gd name="connsiteX54-1887" fmla="*/ 1588726 w 5168654"/>
              <a:gd name="connsiteY54-1888" fmla="*/ 1380426 h 2436046"/>
              <a:gd name="connsiteX55-1889" fmla="*/ 1588726 w 5168654"/>
              <a:gd name="connsiteY55-1890" fmla="*/ 1380426 h 2436046"/>
              <a:gd name="connsiteX56-1891" fmla="*/ 1627561 w 5168654"/>
              <a:gd name="connsiteY56-1892" fmla="*/ 1380426 h 2436046"/>
              <a:gd name="connsiteX57-1893" fmla="*/ 1797025 w 5168654"/>
              <a:gd name="connsiteY57-1894" fmla="*/ 1380426 h 2436046"/>
              <a:gd name="connsiteX58-1895" fmla="*/ 1797025 w 5168654"/>
              <a:gd name="connsiteY58-1896" fmla="*/ 1472219 h 2436046"/>
              <a:gd name="connsiteX59-1897" fmla="*/ 1828800 w 5168654"/>
              <a:gd name="connsiteY59-1898" fmla="*/ 1472219 h 2436046"/>
              <a:gd name="connsiteX60-1899" fmla="*/ 1828800 w 5168654"/>
              <a:gd name="connsiteY60-1900" fmla="*/ 1489872 h 2436046"/>
              <a:gd name="connsiteX61-1901" fmla="*/ 1828800 w 5168654"/>
              <a:gd name="connsiteY61-1902" fmla="*/ 1503994 h 2436046"/>
              <a:gd name="connsiteX62-1903" fmla="*/ 1846452 w 5168654"/>
              <a:gd name="connsiteY62-1904" fmla="*/ 1503994 h 2436046"/>
              <a:gd name="connsiteX63-1905" fmla="*/ 1846452 w 5168654"/>
              <a:gd name="connsiteY63-1906" fmla="*/ 1564012 h 2436046"/>
              <a:gd name="connsiteX64-1907" fmla="*/ 1878227 w 5168654"/>
              <a:gd name="connsiteY64-1908" fmla="*/ 1564012 h 2436046"/>
              <a:gd name="connsiteX65-1909" fmla="*/ 1878227 w 5168654"/>
              <a:gd name="connsiteY65-1910" fmla="*/ 1595787 h 2436046"/>
              <a:gd name="connsiteX66-1911" fmla="*/ 2072404 w 5168654"/>
              <a:gd name="connsiteY66-1912" fmla="*/ 1595787 h 2436046"/>
              <a:gd name="connsiteX67-1913" fmla="*/ 2072404 w 5168654"/>
              <a:gd name="connsiteY67-1914" fmla="*/ 1673458 h 2436046"/>
              <a:gd name="connsiteX68-1915" fmla="*/ 2093587 w 5168654"/>
              <a:gd name="connsiteY68-1916" fmla="*/ 1673458 h 2436046"/>
              <a:gd name="connsiteX69-1917" fmla="*/ 2093587 w 5168654"/>
              <a:gd name="connsiteY69-1918" fmla="*/ 1684049 h 2436046"/>
              <a:gd name="connsiteX70-1919" fmla="*/ 2097118 w 5168654"/>
              <a:gd name="connsiteY70-1920" fmla="*/ 1684049 h 2436046"/>
              <a:gd name="connsiteX71-1921" fmla="*/ 2097118 w 5168654"/>
              <a:gd name="connsiteY71-1922" fmla="*/ 1701702 h 2436046"/>
              <a:gd name="connsiteX72-1923" fmla="*/ 2111240 w 5168654"/>
              <a:gd name="connsiteY72-1924" fmla="*/ 1701702 h 2436046"/>
              <a:gd name="connsiteX73-1925" fmla="*/ 2111240 w 5168654"/>
              <a:gd name="connsiteY73-1926" fmla="*/ 1701702 h 2436046"/>
              <a:gd name="connsiteX74-1927" fmla="*/ 2418393 w 5168654"/>
              <a:gd name="connsiteY74-1928" fmla="*/ 1701702 h 2436046"/>
              <a:gd name="connsiteX75-1929" fmla="*/ 2418393 w 5168654"/>
              <a:gd name="connsiteY75-1930" fmla="*/ 1744068 h 2436046"/>
              <a:gd name="connsiteX76-1931" fmla="*/ 2418393 w 5168654"/>
              <a:gd name="connsiteY76-1932" fmla="*/ 1744068 h 2436046"/>
              <a:gd name="connsiteX77-1933" fmla="*/ 2446637 w 5168654"/>
              <a:gd name="connsiteY77-1934" fmla="*/ 1772312 h 2436046"/>
              <a:gd name="connsiteX78-1935" fmla="*/ 2460759 w 5168654"/>
              <a:gd name="connsiteY78-1936" fmla="*/ 1772312 h 2436046"/>
              <a:gd name="connsiteX79-1937" fmla="*/ 2460759 w 5168654"/>
              <a:gd name="connsiteY79-1938" fmla="*/ 1821739 h 2436046"/>
              <a:gd name="connsiteX80-1939" fmla="*/ 2478412 w 5168654"/>
              <a:gd name="connsiteY80-1940" fmla="*/ 1821739 h 2436046"/>
              <a:gd name="connsiteX81-1941" fmla="*/ 2478412 w 5168654"/>
              <a:gd name="connsiteY81-1942" fmla="*/ 1920593 h 2436046"/>
              <a:gd name="connsiteX82-1943" fmla="*/ 2633754 w 5168654"/>
              <a:gd name="connsiteY82-1944" fmla="*/ 1920593 h 2436046"/>
              <a:gd name="connsiteX83-1945" fmla="*/ 2633754 w 5168654"/>
              <a:gd name="connsiteY83-1946" fmla="*/ 1941776 h 2436046"/>
              <a:gd name="connsiteX84-1947" fmla="*/ 2732608 w 5168654"/>
              <a:gd name="connsiteY84-1948" fmla="*/ 1941776 h 2436046"/>
              <a:gd name="connsiteX85-1949" fmla="*/ 2771443 w 5168654"/>
              <a:gd name="connsiteY85-1950" fmla="*/ 1980611 h 2436046"/>
              <a:gd name="connsiteX86-1951" fmla="*/ 2782035 w 5168654"/>
              <a:gd name="connsiteY86-1952" fmla="*/ 1991203 h 2436046"/>
              <a:gd name="connsiteX87-1953" fmla="*/ 2838523 w 5168654"/>
              <a:gd name="connsiteY87-1954" fmla="*/ 1991203 h 2436046"/>
              <a:gd name="connsiteX88-1955" fmla="*/ 2838523 w 5168654"/>
              <a:gd name="connsiteY88-1956" fmla="*/ 2019447 h 2436046"/>
              <a:gd name="connsiteX89-1957" fmla="*/ 2852645 w 5168654"/>
              <a:gd name="connsiteY89-1958" fmla="*/ 2019447 h 2436046"/>
              <a:gd name="connsiteX90-1959" fmla="*/ 2852645 w 5168654"/>
              <a:gd name="connsiteY90-1960" fmla="*/ 2075935 h 2436046"/>
              <a:gd name="connsiteX91-1961" fmla="*/ 3230409 w 5168654"/>
              <a:gd name="connsiteY91-1962" fmla="*/ 2068873 h 2436046"/>
              <a:gd name="connsiteX92-1963" fmla="*/ 3216287 w 5168654"/>
              <a:gd name="connsiteY92-1964" fmla="*/ 2107709 h 2436046"/>
              <a:gd name="connsiteX93-1965" fmla="*/ 3230409 w 5168654"/>
              <a:gd name="connsiteY93-1966" fmla="*/ 2121831 h 2436046"/>
              <a:gd name="connsiteX94-1967" fmla="*/ 3230409 w 5168654"/>
              <a:gd name="connsiteY94-1968" fmla="*/ 2181850 h 2436046"/>
              <a:gd name="connsiteX95-1969" fmla="*/ 3438709 w 5168654"/>
              <a:gd name="connsiteY95-1970" fmla="*/ 2181850 h 2436046"/>
              <a:gd name="connsiteX96-1971" fmla="*/ 3438709 w 5168654"/>
              <a:gd name="connsiteY96-1972" fmla="*/ 2199502 h 2436046"/>
              <a:gd name="connsiteX97-1973" fmla="*/ 3565807 w 5168654"/>
              <a:gd name="connsiteY97-1974" fmla="*/ 2199502 h 2436046"/>
              <a:gd name="connsiteX98-1975" fmla="*/ 3565807 w 5168654"/>
              <a:gd name="connsiteY98-1976" fmla="*/ 2227746 h 2436046"/>
              <a:gd name="connsiteX99-1977" fmla="*/ 3618764 w 5168654"/>
              <a:gd name="connsiteY99-1978" fmla="*/ 2227746 h 2436046"/>
              <a:gd name="connsiteX100-1979" fmla="*/ 3618764 w 5168654"/>
              <a:gd name="connsiteY100-1980" fmla="*/ 2252460 h 2436046"/>
              <a:gd name="connsiteX101-1981" fmla="*/ 3890613 w 5168654"/>
              <a:gd name="connsiteY101-1982" fmla="*/ 2252460 h 2436046"/>
              <a:gd name="connsiteX102-1983" fmla="*/ 3890613 w 5168654"/>
              <a:gd name="connsiteY102-1984" fmla="*/ 2287765 h 2436046"/>
              <a:gd name="connsiteX103-1985" fmla="*/ 3975345 w 5168654"/>
              <a:gd name="connsiteY103-1986" fmla="*/ 2287765 h 2436046"/>
              <a:gd name="connsiteX104-1987" fmla="*/ 3975345 w 5168654"/>
              <a:gd name="connsiteY104-1988" fmla="*/ 2316009 h 2436046"/>
              <a:gd name="connsiteX105-1989" fmla="*/ 4007119 w 5168654"/>
              <a:gd name="connsiteY105-1990" fmla="*/ 2316009 h 2436046"/>
              <a:gd name="connsiteX106-1991" fmla="*/ 4007119 w 5168654"/>
              <a:gd name="connsiteY106-1992" fmla="*/ 2368967 h 2436046"/>
              <a:gd name="connsiteX107-1993" fmla="*/ 4614366 w 5168654"/>
              <a:gd name="connsiteY107-1994" fmla="*/ 2368967 h 2436046"/>
              <a:gd name="connsiteX108-1995" fmla="*/ 4614366 w 5168654"/>
              <a:gd name="connsiteY108-1996" fmla="*/ 2436046 h 2436046"/>
              <a:gd name="connsiteX109-1997" fmla="*/ 5168654 w 5168654"/>
              <a:gd name="connsiteY109-1998" fmla="*/ 2436046 h 2436046"/>
              <a:gd name="connsiteX0-1999" fmla="*/ 0 w 5168654"/>
              <a:gd name="connsiteY0-2000" fmla="*/ 0 h 2436046"/>
              <a:gd name="connsiteX1-2001" fmla="*/ 144750 w 5168654"/>
              <a:gd name="connsiteY1-2002" fmla="*/ 0 h 2436046"/>
              <a:gd name="connsiteX2-2003" fmla="*/ 144750 w 5168654"/>
              <a:gd name="connsiteY2-2004" fmla="*/ 42366 h 2436046"/>
              <a:gd name="connsiteX3-2005" fmla="*/ 158872 w 5168654"/>
              <a:gd name="connsiteY3-2006" fmla="*/ 42366 h 2436046"/>
              <a:gd name="connsiteX4-2007" fmla="*/ 158872 w 5168654"/>
              <a:gd name="connsiteY4-2008" fmla="*/ 81201 h 2436046"/>
              <a:gd name="connsiteX5-2009" fmla="*/ 162403 w 5168654"/>
              <a:gd name="connsiteY5-2010" fmla="*/ 84732 h 2436046"/>
              <a:gd name="connsiteX6-2011" fmla="*/ 162403 w 5168654"/>
              <a:gd name="connsiteY6-2012" fmla="*/ 155342 h 2436046"/>
              <a:gd name="connsiteX7-2013" fmla="*/ 257726 w 5168654"/>
              <a:gd name="connsiteY7-2014" fmla="*/ 155342 h 2436046"/>
              <a:gd name="connsiteX8-2015" fmla="*/ 257726 w 5168654"/>
              <a:gd name="connsiteY8-2016" fmla="*/ 190647 h 2436046"/>
              <a:gd name="connsiteX9-2017" fmla="*/ 268318 w 5168654"/>
              <a:gd name="connsiteY9-2018" fmla="*/ 190647 h 2436046"/>
              <a:gd name="connsiteX10-2019" fmla="*/ 268318 w 5168654"/>
              <a:gd name="connsiteY10-2020" fmla="*/ 211830 h 2436046"/>
              <a:gd name="connsiteX11-2021" fmla="*/ 508392 w 5168654"/>
              <a:gd name="connsiteY11-2022" fmla="*/ 211830 h 2436046"/>
              <a:gd name="connsiteX12-2023" fmla="*/ 508392 w 5168654"/>
              <a:gd name="connsiteY12-2024" fmla="*/ 243604 h 2436046"/>
              <a:gd name="connsiteX13-2025" fmla="*/ 536636 w 5168654"/>
              <a:gd name="connsiteY13-2026" fmla="*/ 243604 h 2436046"/>
              <a:gd name="connsiteX14-2027" fmla="*/ 536636 w 5168654"/>
              <a:gd name="connsiteY14-2028" fmla="*/ 363641 h 2436046"/>
              <a:gd name="connsiteX15-2029" fmla="*/ 554288 w 5168654"/>
              <a:gd name="connsiteY15-2030" fmla="*/ 363641 h 2436046"/>
              <a:gd name="connsiteX16-2031" fmla="*/ 554288 w 5168654"/>
              <a:gd name="connsiteY16-2032" fmla="*/ 423660 h 2436046"/>
              <a:gd name="connsiteX17-2033" fmla="*/ 769649 w 5168654"/>
              <a:gd name="connsiteY17-2034" fmla="*/ 423660 h 2436046"/>
              <a:gd name="connsiteX18-2035" fmla="*/ 769649 w 5168654"/>
              <a:gd name="connsiteY18-2036" fmla="*/ 430721 h 2436046"/>
              <a:gd name="connsiteX19-2037" fmla="*/ 776710 w 5168654"/>
              <a:gd name="connsiteY19-2038" fmla="*/ 437782 h 2436046"/>
              <a:gd name="connsiteX20-2039" fmla="*/ 776710 w 5168654"/>
              <a:gd name="connsiteY20-2040" fmla="*/ 455434 h 2436046"/>
              <a:gd name="connsiteX21-2041" fmla="*/ 794363 w 5168654"/>
              <a:gd name="connsiteY21-2042" fmla="*/ 455434 h 2436046"/>
              <a:gd name="connsiteX22-2043" fmla="*/ 794363 w 5168654"/>
              <a:gd name="connsiteY22-2044" fmla="*/ 497801 h 2436046"/>
              <a:gd name="connsiteX23-2045" fmla="*/ 808485 w 5168654"/>
              <a:gd name="connsiteY23-2046" fmla="*/ 497801 h 2436046"/>
              <a:gd name="connsiteX24-2047" fmla="*/ 808485 w 5168654"/>
              <a:gd name="connsiteY24-2048" fmla="*/ 621368 h 2436046"/>
              <a:gd name="connsiteX25-2049" fmla="*/ 822607 w 5168654"/>
              <a:gd name="connsiteY25-2050" fmla="*/ 621368 h 2436046"/>
              <a:gd name="connsiteX26-2051" fmla="*/ 822607 w 5168654"/>
              <a:gd name="connsiteY26-2052" fmla="*/ 639021 h 2436046"/>
              <a:gd name="connsiteX27-2053" fmla="*/ 1045028 w 5168654"/>
              <a:gd name="connsiteY27-2054" fmla="*/ 639021 h 2436046"/>
              <a:gd name="connsiteX28-2055" fmla="*/ 1045028 w 5168654"/>
              <a:gd name="connsiteY28-2056" fmla="*/ 790832 h 2436046"/>
              <a:gd name="connsiteX29-2057" fmla="*/ 1059150 w 5168654"/>
              <a:gd name="connsiteY29-2058" fmla="*/ 790832 h 2436046"/>
              <a:gd name="connsiteX30-2059" fmla="*/ 1059150 w 5168654"/>
              <a:gd name="connsiteY30-2060" fmla="*/ 889686 h 2436046"/>
              <a:gd name="connsiteX31-2061" fmla="*/ 1083864 w 5168654"/>
              <a:gd name="connsiteY31-2062" fmla="*/ 889686 h 2436046"/>
              <a:gd name="connsiteX32-2063" fmla="*/ 1101516 w 5168654"/>
              <a:gd name="connsiteY32-2064" fmla="*/ 889686 h 2436046"/>
              <a:gd name="connsiteX33-2065" fmla="*/ 1158004 w 5168654"/>
              <a:gd name="connsiteY33-2066" fmla="*/ 889686 h 2436046"/>
              <a:gd name="connsiteX34-2067" fmla="*/ 1158004 w 5168654"/>
              <a:gd name="connsiteY34-2068" fmla="*/ 917930 h 2436046"/>
              <a:gd name="connsiteX35-2069" fmla="*/ 1302755 w 5168654"/>
              <a:gd name="connsiteY35-2070" fmla="*/ 917930 h 2436046"/>
              <a:gd name="connsiteX36-2071" fmla="*/ 1302755 w 5168654"/>
              <a:gd name="connsiteY36-2072" fmla="*/ 942644 h 2436046"/>
              <a:gd name="connsiteX37-2073" fmla="*/ 1313346 w 5168654"/>
              <a:gd name="connsiteY37-2074" fmla="*/ 942644 h 2436046"/>
              <a:gd name="connsiteX38-2075" fmla="*/ 1313346 w 5168654"/>
              <a:gd name="connsiteY38-2076" fmla="*/ 1034437 h 2436046"/>
              <a:gd name="connsiteX39-2077" fmla="*/ 1316877 w 5168654"/>
              <a:gd name="connsiteY39-2078" fmla="*/ 1034437 h 2436046"/>
              <a:gd name="connsiteX40-2079" fmla="*/ 1316877 w 5168654"/>
              <a:gd name="connsiteY40-2080" fmla="*/ 1080333 h 2436046"/>
              <a:gd name="connsiteX41-2081" fmla="*/ 1489871 w 5168654"/>
              <a:gd name="connsiteY41-2082" fmla="*/ 1080333 h 2436046"/>
              <a:gd name="connsiteX42-2083" fmla="*/ 1489871 w 5168654"/>
              <a:gd name="connsiteY42-2084" fmla="*/ 1097986 h 2436046"/>
              <a:gd name="connsiteX43-2085" fmla="*/ 1518115 w 5168654"/>
              <a:gd name="connsiteY43-2086" fmla="*/ 1097986 h 2436046"/>
              <a:gd name="connsiteX44-2087" fmla="*/ 1518115 w 5168654"/>
              <a:gd name="connsiteY44-2088" fmla="*/ 1122699 h 2436046"/>
              <a:gd name="connsiteX45-2089" fmla="*/ 1532237 w 5168654"/>
              <a:gd name="connsiteY45-2090" fmla="*/ 1122699 h 2436046"/>
              <a:gd name="connsiteX46-2091" fmla="*/ 1539298 w 5168654"/>
              <a:gd name="connsiteY46-2092" fmla="*/ 1129760 h 2436046"/>
              <a:gd name="connsiteX47-2093" fmla="*/ 1553420 w 5168654"/>
              <a:gd name="connsiteY47-2094" fmla="*/ 1143882 h 2436046"/>
              <a:gd name="connsiteX48-2095" fmla="*/ 1553420 w 5168654"/>
              <a:gd name="connsiteY48-2096" fmla="*/ 1189779 h 2436046"/>
              <a:gd name="connsiteX49-2097" fmla="*/ 1564012 w 5168654"/>
              <a:gd name="connsiteY49-2098" fmla="*/ 1189779 h 2436046"/>
              <a:gd name="connsiteX50-2099" fmla="*/ 1564012 w 5168654"/>
              <a:gd name="connsiteY50-2100" fmla="*/ 1253328 h 2436046"/>
              <a:gd name="connsiteX51-2101" fmla="*/ 1578134 w 5168654"/>
              <a:gd name="connsiteY51-2102" fmla="*/ 1253328 h 2436046"/>
              <a:gd name="connsiteX52-2103" fmla="*/ 1578134 w 5168654"/>
              <a:gd name="connsiteY52-2104" fmla="*/ 1345121 h 2436046"/>
              <a:gd name="connsiteX53-2105" fmla="*/ 1588726 w 5168654"/>
              <a:gd name="connsiteY53-2106" fmla="*/ 1345121 h 2436046"/>
              <a:gd name="connsiteX54-2107" fmla="*/ 1588726 w 5168654"/>
              <a:gd name="connsiteY54-2108" fmla="*/ 1380426 h 2436046"/>
              <a:gd name="connsiteX55-2109" fmla="*/ 1588726 w 5168654"/>
              <a:gd name="connsiteY55-2110" fmla="*/ 1380426 h 2436046"/>
              <a:gd name="connsiteX56-2111" fmla="*/ 1627561 w 5168654"/>
              <a:gd name="connsiteY56-2112" fmla="*/ 1380426 h 2436046"/>
              <a:gd name="connsiteX57-2113" fmla="*/ 1797025 w 5168654"/>
              <a:gd name="connsiteY57-2114" fmla="*/ 1380426 h 2436046"/>
              <a:gd name="connsiteX58-2115" fmla="*/ 1797025 w 5168654"/>
              <a:gd name="connsiteY58-2116" fmla="*/ 1472219 h 2436046"/>
              <a:gd name="connsiteX59-2117" fmla="*/ 1828800 w 5168654"/>
              <a:gd name="connsiteY59-2118" fmla="*/ 1472219 h 2436046"/>
              <a:gd name="connsiteX60-2119" fmla="*/ 1828800 w 5168654"/>
              <a:gd name="connsiteY60-2120" fmla="*/ 1489872 h 2436046"/>
              <a:gd name="connsiteX61-2121" fmla="*/ 1828800 w 5168654"/>
              <a:gd name="connsiteY61-2122" fmla="*/ 1503994 h 2436046"/>
              <a:gd name="connsiteX62-2123" fmla="*/ 1846452 w 5168654"/>
              <a:gd name="connsiteY62-2124" fmla="*/ 1503994 h 2436046"/>
              <a:gd name="connsiteX63-2125" fmla="*/ 1846452 w 5168654"/>
              <a:gd name="connsiteY63-2126" fmla="*/ 1564012 h 2436046"/>
              <a:gd name="connsiteX64-2127" fmla="*/ 1878227 w 5168654"/>
              <a:gd name="connsiteY64-2128" fmla="*/ 1564012 h 2436046"/>
              <a:gd name="connsiteX65-2129" fmla="*/ 1878227 w 5168654"/>
              <a:gd name="connsiteY65-2130" fmla="*/ 1595787 h 2436046"/>
              <a:gd name="connsiteX66-2131" fmla="*/ 2072404 w 5168654"/>
              <a:gd name="connsiteY66-2132" fmla="*/ 1595787 h 2436046"/>
              <a:gd name="connsiteX67-2133" fmla="*/ 2072404 w 5168654"/>
              <a:gd name="connsiteY67-2134" fmla="*/ 1673458 h 2436046"/>
              <a:gd name="connsiteX68-2135" fmla="*/ 2093587 w 5168654"/>
              <a:gd name="connsiteY68-2136" fmla="*/ 1673458 h 2436046"/>
              <a:gd name="connsiteX69-2137" fmla="*/ 2093587 w 5168654"/>
              <a:gd name="connsiteY69-2138" fmla="*/ 1684049 h 2436046"/>
              <a:gd name="connsiteX70-2139" fmla="*/ 2097118 w 5168654"/>
              <a:gd name="connsiteY70-2140" fmla="*/ 1684049 h 2436046"/>
              <a:gd name="connsiteX71-2141" fmla="*/ 2097118 w 5168654"/>
              <a:gd name="connsiteY71-2142" fmla="*/ 1701702 h 2436046"/>
              <a:gd name="connsiteX72-2143" fmla="*/ 2111240 w 5168654"/>
              <a:gd name="connsiteY72-2144" fmla="*/ 1701702 h 2436046"/>
              <a:gd name="connsiteX73-2145" fmla="*/ 2111240 w 5168654"/>
              <a:gd name="connsiteY73-2146" fmla="*/ 1701702 h 2436046"/>
              <a:gd name="connsiteX74-2147" fmla="*/ 2418393 w 5168654"/>
              <a:gd name="connsiteY74-2148" fmla="*/ 1701702 h 2436046"/>
              <a:gd name="connsiteX75-2149" fmla="*/ 2418393 w 5168654"/>
              <a:gd name="connsiteY75-2150" fmla="*/ 1744068 h 2436046"/>
              <a:gd name="connsiteX76-2151" fmla="*/ 2418393 w 5168654"/>
              <a:gd name="connsiteY76-2152" fmla="*/ 1744068 h 2436046"/>
              <a:gd name="connsiteX77-2153" fmla="*/ 2446637 w 5168654"/>
              <a:gd name="connsiteY77-2154" fmla="*/ 1772312 h 2436046"/>
              <a:gd name="connsiteX78-2155" fmla="*/ 2460759 w 5168654"/>
              <a:gd name="connsiteY78-2156" fmla="*/ 1772312 h 2436046"/>
              <a:gd name="connsiteX79-2157" fmla="*/ 2460759 w 5168654"/>
              <a:gd name="connsiteY79-2158" fmla="*/ 1821739 h 2436046"/>
              <a:gd name="connsiteX80-2159" fmla="*/ 2478412 w 5168654"/>
              <a:gd name="connsiteY80-2160" fmla="*/ 1821739 h 2436046"/>
              <a:gd name="connsiteX81-2161" fmla="*/ 2478412 w 5168654"/>
              <a:gd name="connsiteY81-2162" fmla="*/ 1920593 h 2436046"/>
              <a:gd name="connsiteX82-2163" fmla="*/ 2633754 w 5168654"/>
              <a:gd name="connsiteY82-2164" fmla="*/ 1920593 h 2436046"/>
              <a:gd name="connsiteX83-2165" fmla="*/ 2633754 w 5168654"/>
              <a:gd name="connsiteY83-2166" fmla="*/ 1941776 h 2436046"/>
              <a:gd name="connsiteX84-2167" fmla="*/ 2732608 w 5168654"/>
              <a:gd name="connsiteY84-2168" fmla="*/ 1941776 h 2436046"/>
              <a:gd name="connsiteX85-2169" fmla="*/ 2771443 w 5168654"/>
              <a:gd name="connsiteY85-2170" fmla="*/ 1980611 h 2436046"/>
              <a:gd name="connsiteX86-2171" fmla="*/ 2782035 w 5168654"/>
              <a:gd name="connsiteY86-2172" fmla="*/ 1991203 h 2436046"/>
              <a:gd name="connsiteX87-2173" fmla="*/ 2838523 w 5168654"/>
              <a:gd name="connsiteY87-2174" fmla="*/ 1991203 h 2436046"/>
              <a:gd name="connsiteX88-2175" fmla="*/ 2838523 w 5168654"/>
              <a:gd name="connsiteY88-2176" fmla="*/ 2019447 h 2436046"/>
              <a:gd name="connsiteX89-2177" fmla="*/ 2852645 w 5168654"/>
              <a:gd name="connsiteY89-2178" fmla="*/ 2019447 h 2436046"/>
              <a:gd name="connsiteX90-2179" fmla="*/ 2852645 w 5168654"/>
              <a:gd name="connsiteY90-2180" fmla="*/ 2075935 h 2436046"/>
              <a:gd name="connsiteX91-2181" fmla="*/ 3219817 w 5168654"/>
              <a:gd name="connsiteY91-2182" fmla="*/ 2075934 h 2436046"/>
              <a:gd name="connsiteX92-2183" fmla="*/ 3216287 w 5168654"/>
              <a:gd name="connsiteY92-2184" fmla="*/ 2107709 h 2436046"/>
              <a:gd name="connsiteX93-2185" fmla="*/ 3230409 w 5168654"/>
              <a:gd name="connsiteY93-2186" fmla="*/ 2121831 h 2436046"/>
              <a:gd name="connsiteX94-2187" fmla="*/ 3230409 w 5168654"/>
              <a:gd name="connsiteY94-2188" fmla="*/ 2181850 h 2436046"/>
              <a:gd name="connsiteX95-2189" fmla="*/ 3438709 w 5168654"/>
              <a:gd name="connsiteY95-2190" fmla="*/ 2181850 h 2436046"/>
              <a:gd name="connsiteX96-2191" fmla="*/ 3438709 w 5168654"/>
              <a:gd name="connsiteY96-2192" fmla="*/ 2199502 h 2436046"/>
              <a:gd name="connsiteX97-2193" fmla="*/ 3565807 w 5168654"/>
              <a:gd name="connsiteY97-2194" fmla="*/ 2199502 h 2436046"/>
              <a:gd name="connsiteX98-2195" fmla="*/ 3565807 w 5168654"/>
              <a:gd name="connsiteY98-2196" fmla="*/ 2227746 h 2436046"/>
              <a:gd name="connsiteX99-2197" fmla="*/ 3618764 w 5168654"/>
              <a:gd name="connsiteY99-2198" fmla="*/ 2227746 h 2436046"/>
              <a:gd name="connsiteX100-2199" fmla="*/ 3618764 w 5168654"/>
              <a:gd name="connsiteY100-2200" fmla="*/ 2252460 h 2436046"/>
              <a:gd name="connsiteX101-2201" fmla="*/ 3890613 w 5168654"/>
              <a:gd name="connsiteY101-2202" fmla="*/ 2252460 h 2436046"/>
              <a:gd name="connsiteX102-2203" fmla="*/ 3890613 w 5168654"/>
              <a:gd name="connsiteY102-2204" fmla="*/ 2287765 h 2436046"/>
              <a:gd name="connsiteX103-2205" fmla="*/ 3975345 w 5168654"/>
              <a:gd name="connsiteY103-2206" fmla="*/ 2287765 h 2436046"/>
              <a:gd name="connsiteX104-2207" fmla="*/ 3975345 w 5168654"/>
              <a:gd name="connsiteY104-2208" fmla="*/ 2316009 h 2436046"/>
              <a:gd name="connsiteX105-2209" fmla="*/ 4007119 w 5168654"/>
              <a:gd name="connsiteY105-2210" fmla="*/ 2316009 h 2436046"/>
              <a:gd name="connsiteX106-2211" fmla="*/ 4007119 w 5168654"/>
              <a:gd name="connsiteY106-2212" fmla="*/ 2368967 h 2436046"/>
              <a:gd name="connsiteX107-2213" fmla="*/ 4614366 w 5168654"/>
              <a:gd name="connsiteY107-2214" fmla="*/ 2368967 h 2436046"/>
              <a:gd name="connsiteX108-2215" fmla="*/ 4614366 w 5168654"/>
              <a:gd name="connsiteY108-2216" fmla="*/ 2436046 h 2436046"/>
              <a:gd name="connsiteX109-2217" fmla="*/ 5168654 w 5168654"/>
              <a:gd name="connsiteY109-2218" fmla="*/ 2436046 h 2436046"/>
              <a:gd name="connsiteX0-2219" fmla="*/ 0 w 5168654"/>
              <a:gd name="connsiteY0-2220" fmla="*/ 0 h 2436046"/>
              <a:gd name="connsiteX1-2221" fmla="*/ 144750 w 5168654"/>
              <a:gd name="connsiteY1-2222" fmla="*/ 0 h 2436046"/>
              <a:gd name="connsiteX2-2223" fmla="*/ 144750 w 5168654"/>
              <a:gd name="connsiteY2-2224" fmla="*/ 42366 h 2436046"/>
              <a:gd name="connsiteX3-2225" fmla="*/ 158872 w 5168654"/>
              <a:gd name="connsiteY3-2226" fmla="*/ 42366 h 2436046"/>
              <a:gd name="connsiteX4-2227" fmla="*/ 158872 w 5168654"/>
              <a:gd name="connsiteY4-2228" fmla="*/ 81201 h 2436046"/>
              <a:gd name="connsiteX5-2229" fmla="*/ 162403 w 5168654"/>
              <a:gd name="connsiteY5-2230" fmla="*/ 84732 h 2436046"/>
              <a:gd name="connsiteX6-2231" fmla="*/ 162403 w 5168654"/>
              <a:gd name="connsiteY6-2232" fmla="*/ 155342 h 2436046"/>
              <a:gd name="connsiteX7-2233" fmla="*/ 257726 w 5168654"/>
              <a:gd name="connsiteY7-2234" fmla="*/ 155342 h 2436046"/>
              <a:gd name="connsiteX8-2235" fmla="*/ 257726 w 5168654"/>
              <a:gd name="connsiteY8-2236" fmla="*/ 190647 h 2436046"/>
              <a:gd name="connsiteX9-2237" fmla="*/ 268318 w 5168654"/>
              <a:gd name="connsiteY9-2238" fmla="*/ 190647 h 2436046"/>
              <a:gd name="connsiteX10-2239" fmla="*/ 268318 w 5168654"/>
              <a:gd name="connsiteY10-2240" fmla="*/ 211830 h 2436046"/>
              <a:gd name="connsiteX11-2241" fmla="*/ 508392 w 5168654"/>
              <a:gd name="connsiteY11-2242" fmla="*/ 211830 h 2436046"/>
              <a:gd name="connsiteX12-2243" fmla="*/ 508392 w 5168654"/>
              <a:gd name="connsiteY12-2244" fmla="*/ 243604 h 2436046"/>
              <a:gd name="connsiteX13-2245" fmla="*/ 536636 w 5168654"/>
              <a:gd name="connsiteY13-2246" fmla="*/ 243604 h 2436046"/>
              <a:gd name="connsiteX14-2247" fmla="*/ 536636 w 5168654"/>
              <a:gd name="connsiteY14-2248" fmla="*/ 363641 h 2436046"/>
              <a:gd name="connsiteX15-2249" fmla="*/ 554288 w 5168654"/>
              <a:gd name="connsiteY15-2250" fmla="*/ 363641 h 2436046"/>
              <a:gd name="connsiteX16-2251" fmla="*/ 554288 w 5168654"/>
              <a:gd name="connsiteY16-2252" fmla="*/ 423660 h 2436046"/>
              <a:gd name="connsiteX17-2253" fmla="*/ 769649 w 5168654"/>
              <a:gd name="connsiteY17-2254" fmla="*/ 423660 h 2436046"/>
              <a:gd name="connsiteX18-2255" fmla="*/ 769649 w 5168654"/>
              <a:gd name="connsiteY18-2256" fmla="*/ 430721 h 2436046"/>
              <a:gd name="connsiteX19-2257" fmla="*/ 776710 w 5168654"/>
              <a:gd name="connsiteY19-2258" fmla="*/ 437782 h 2436046"/>
              <a:gd name="connsiteX20-2259" fmla="*/ 776710 w 5168654"/>
              <a:gd name="connsiteY20-2260" fmla="*/ 455434 h 2436046"/>
              <a:gd name="connsiteX21-2261" fmla="*/ 794363 w 5168654"/>
              <a:gd name="connsiteY21-2262" fmla="*/ 455434 h 2436046"/>
              <a:gd name="connsiteX22-2263" fmla="*/ 794363 w 5168654"/>
              <a:gd name="connsiteY22-2264" fmla="*/ 497801 h 2436046"/>
              <a:gd name="connsiteX23-2265" fmla="*/ 808485 w 5168654"/>
              <a:gd name="connsiteY23-2266" fmla="*/ 497801 h 2436046"/>
              <a:gd name="connsiteX24-2267" fmla="*/ 808485 w 5168654"/>
              <a:gd name="connsiteY24-2268" fmla="*/ 621368 h 2436046"/>
              <a:gd name="connsiteX25-2269" fmla="*/ 822607 w 5168654"/>
              <a:gd name="connsiteY25-2270" fmla="*/ 621368 h 2436046"/>
              <a:gd name="connsiteX26-2271" fmla="*/ 822607 w 5168654"/>
              <a:gd name="connsiteY26-2272" fmla="*/ 639021 h 2436046"/>
              <a:gd name="connsiteX27-2273" fmla="*/ 1045028 w 5168654"/>
              <a:gd name="connsiteY27-2274" fmla="*/ 639021 h 2436046"/>
              <a:gd name="connsiteX28-2275" fmla="*/ 1045028 w 5168654"/>
              <a:gd name="connsiteY28-2276" fmla="*/ 790832 h 2436046"/>
              <a:gd name="connsiteX29-2277" fmla="*/ 1059150 w 5168654"/>
              <a:gd name="connsiteY29-2278" fmla="*/ 790832 h 2436046"/>
              <a:gd name="connsiteX30-2279" fmla="*/ 1059150 w 5168654"/>
              <a:gd name="connsiteY30-2280" fmla="*/ 889686 h 2436046"/>
              <a:gd name="connsiteX31-2281" fmla="*/ 1083864 w 5168654"/>
              <a:gd name="connsiteY31-2282" fmla="*/ 889686 h 2436046"/>
              <a:gd name="connsiteX32-2283" fmla="*/ 1101516 w 5168654"/>
              <a:gd name="connsiteY32-2284" fmla="*/ 889686 h 2436046"/>
              <a:gd name="connsiteX33-2285" fmla="*/ 1158004 w 5168654"/>
              <a:gd name="connsiteY33-2286" fmla="*/ 889686 h 2436046"/>
              <a:gd name="connsiteX34-2287" fmla="*/ 1158004 w 5168654"/>
              <a:gd name="connsiteY34-2288" fmla="*/ 917930 h 2436046"/>
              <a:gd name="connsiteX35-2289" fmla="*/ 1302755 w 5168654"/>
              <a:gd name="connsiteY35-2290" fmla="*/ 917930 h 2436046"/>
              <a:gd name="connsiteX36-2291" fmla="*/ 1302755 w 5168654"/>
              <a:gd name="connsiteY36-2292" fmla="*/ 942644 h 2436046"/>
              <a:gd name="connsiteX37-2293" fmla="*/ 1313346 w 5168654"/>
              <a:gd name="connsiteY37-2294" fmla="*/ 942644 h 2436046"/>
              <a:gd name="connsiteX38-2295" fmla="*/ 1313346 w 5168654"/>
              <a:gd name="connsiteY38-2296" fmla="*/ 1034437 h 2436046"/>
              <a:gd name="connsiteX39-2297" fmla="*/ 1316877 w 5168654"/>
              <a:gd name="connsiteY39-2298" fmla="*/ 1034437 h 2436046"/>
              <a:gd name="connsiteX40-2299" fmla="*/ 1316877 w 5168654"/>
              <a:gd name="connsiteY40-2300" fmla="*/ 1080333 h 2436046"/>
              <a:gd name="connsiteX41-2301" fmla="*/ 1489871 w 5168654"/>
              <a:gd name="connsiteY41-2302" fmla="*/ 1080333 h 2436046"/>
              <a:gd name="connsiteX42-2303" fmla="*/ 1489871 w 5168654"/>
              <a:gd name="connsiteY42-2304" fmla="*/ 1097986 h 2436046"/>
              <a:gd name="connsiteX43-2305" fmla="*/ 1518115 w 5168654"/>
              <a:gd name="connsiteY43-2306" fmla="*/ 1097986 h 2436046"/>
              <a:gd name="connsiteX44-2307" fmla="*/ 1518115 w 5168654"/>
              <a:gd name="connsiteY44-2308" fmla="*/ 1122699 h 2436046"/>
              <a:gd name="connsiteX45-2309" fmla="*/ 1532237 w 5168654"/>
              <a:gd name="connsiteY45-2310" fmla="*/ 1122699 h 2436046"/>
              <a:gd name="connsiteX46-2311" fmla="*/ 1539298 w 5168654"/>
              <a:gd name="connsiteY46-2312" fmla="*/ 1129760 h 2436046"/>
              <a:gd name="connsiteX47-2313" fmla="*/ 1553420 w 5168654"/>
              <a:gd name="connsiteY47-2314" fmla="*/ 1143882 h 2436046"/>
              <a:gd name="connsiteX48-2315" fmla="*/ 1553420 w 5168654"/>
              <a:gd name="connsiteY48-2316" fmla="*/ 1189779 h 2436046"/>
              <a:gd name="connsiteX49-2317" fmla="*/ 1564012 w 5168654"/>
              <a:gd name="connsiteY49-2318" fmla="*/ 1189779 h 2436046"/>
              <a:gd name="connsiteX50-2319" fmla="*/ 1564012 w 5168654"/>
              <a:gd name="connsiteY50-2320" fmla="*/ 1253328 h 2436046"/>
              <a:gd name="connsiteX51-2321" fmla="*/ 1578134 w 5168654"/>
              <a:gd name="connsiteY51-2322" fmla="*/ 1253328 h 2436046"/>
              <a:gd name="connsiteX52-2323" fmla="*/ 1578134 w 5168654"/>
              <a:gd name="connsiteY52-2324" fmla="*/ 1345121 h 2436046"/>
              <a:gd name="connsiteX53-2325" fmla="*/ 1588726 w 5168654"/>
              <a:gd name="connsiteY53-2326" fmla="*/ 1345121 h 2436046"/>
              <a:gd name="connsiteX54-2327" fmla="*/ 1588726 w 5168654"/>
              <a:gd name="connsiteY54-2328" fmla="*/ 1380426 h 2436046"/>
              <a:gd name="connsiteX55-2329" fmla="*/ 1588726 w 5168654"/>
              <a:gd name="connsiteY55-2330" fmla="*/ 1380426 h 2436046"/>
              <a:gd name="connsiteX56-2331" fmla="*/ 1627561 w 5168654"/>
              <a:gd name="connsiteY56-2332" fmla="*/ 1380426 h 2436046"/>
              <a:gd name="connsiteX57-2333" fmla="*/ 1797025 w 5168654"/>
              <a:gd name="connsiteY57-2334" fmla="*/ 1380426 h 2436046"/>
              <a:gd name="connsiteX58-2335" fmla="*/ 1797025 w 5168654"/>
              <a:gd name="connsiteY58-2336" fmla="*/ 1472219 h 2436046"/>
              <a:gd name="connsiteX59-2337" fmla="*/ 1828800 w 5168654"/>
              <a:gd name="connsiteY59-2338" fmla="*/ 1472219 h 2436046"/>
              <a:gd name="connsiteX60-2339" fmla="*/ 1828800 w 5168654"/>
              <a:gd name="connsiteY60-2340" fmla="*/ 1489872 h 2436046"/>
              <a:gd name="connsiteX61-2341" fmla="*/ 1828800 w 5168654"/>
              <a:gd name="connsiteY61-2342" fmla="*/ 1503994 h 2436046"/>
              <a:gd name="connsiteX62-2343" fmla="*/ 1846452 w 5168654"/>
              <a:gd name="connsiteY62-2344" fmla="*/ 1503994 h 2436046"/>
              <a:gd name="connsiteX63-2345" fmla="*/ 1846452 w 5168654"/>
              <a:gd name="connsiteY63-2346" fmla="*/ 1564012 h 2436046"/>
              <a:gd name="connsiteX64-2347" fmla="*/ 1878227 w 5168654"/>
              <a:gd name="connsiteY64-2348" fmla="*/ 1564012 h 2436046"/>
              <a:gd name="connsiteX65-2349" fmla="*/ 1878227 w 5168654"/>
              <a:gd name="connsiteY65-2350" fmla="*/ 1595787 h 2436046"/>
              <a:gd name="connsiteX66-2351" fmla="*/ 2072404 w 5168654"/>
              <a:gd name="connsiteY66-2352" fmla="*/ 1595787 h 2436046"/>
              <a:gd name="connsiteX67-2353" fmla="*/ 2072404 w 5168654"/>
              <a:gd name="connsiteY67-2354" fmla="*/ 1673458 h 2436046"/>
              <a:gd name="connsiteX68-2355" fmla="*/ 2093587 w 5168654"/>
              <a:gd name="connsiteY68-2356" fmla="*/ 1673458 h 2436046"/>
              <a:gd name="connsiteX69-2357" fmla="*/ 2093587 w 5168654"/>
              <a:gd name="connsiteY69-2358" fmla="*/ 1684049 h 2436046"/>
              <a:gd name="connsiteX70-2359" fmla="*/ 2097118 w 5168654"/>
              <a:gd name="connsiteY70-2360" fmla="*/ 1684049 h 2436046"/>
              <a:gd name="connsiteX71-2361" fmla="*/ 2097118 w 5168654"/>
              <a:gd name="connsiteY71-2362" fmla="*/ 1701702 h 2436046"/>
              <a:gd name="connsiteX72-2363" fmla="*/ 2111240 w 5168654"/>
              <a:gd name="connsiteY72-2364" fmla="*/ 1701702 h 2436046"/>
              <a:gd name="connsiteX73-2365" fmla="*/ 2111240 w 5168654"/>
              <a:gd name="connsiteY73-2366" fmla="*/ 1701702 h 2436046"/>
              <a:gd name="connsiteX74-2367" fmla="*/ 2418393 w 5168654"/>
              <a:gd name="connsiteY74-2368" fmla="*/ 1701702 h 2436046"/>
              <a:gd name="connsiteX75-2369" fmla="*/ 2418393 w 5168654"/>
              <a:gd name="connsiteY75-2370" fmla="*/ 1744068 h 2436046"/>
              <a:gd name="connsiteX76-2371" fmla="*/ 2418393 w 5168654"/>
              <a:gd name="connsiteY76-2372" fmla="*/ 1744068 h 2436046"/>
              <a:gd name="connsiteX77-2373" fmla="*/ 2446637 w 5168654"/>
              <a:gd name="connsiteY77-2374" fmla="*/ 1772312 h 2436046"/>
              <a:gd name="connsiteX78-2375" fmla="*/ 2460759 w 5168654"/>
              <a:gd name="connsiteY78-2376" fmla="*/ 1772312 h 2436046"/>
              <a:gd name="connsiteX79-2377" fmla="*/ 2460759 w 5168654"/>
              <a:gd name="connsiteY79-2378" fmla="*/ 1821739 h 2436046"/>
              <a:gd name="connsiteX80-2379" fmla="*/ 2478412 w 5168654"/>
              <a:gd name="connsiteY80-2380" fmla="*/ 1821739 h 2436046"/>
              <a:gd name="connsiteX81-2381" fmla="*/ 2478412 w 5168654"/>
              <a:gd name="connsiteY81-2382" fmla="*/ 1920593 h 2436046"/>
              <a:gd name="connsiteX82-2383" fmla="*/ 2633754 w 5168654"/>
              <a:gd name="connsiteY82-2384" fmla="*/ 1920593 h 2436046"/>
              <a:gd name="connsiteX83-2385" fmla="*/ 2633754 w 5168654"/>
              <a:gd name="connsiteY83-2386" fmla="*/ 1941776 h 2436046"/>
              <a:gd name="connsiteX84-2387" fmla="*/ 2732608 w 5168654"/>
              <a:gd name="connsiteY84-2388" fmla="*/ 1941776 h 2436046"/>
              <a:gd name="connsiteX85-2389" fmla="*/ 2771443 w 5168654"/>
              <a:gd name="connsiteY85-2390" fmla="*/ 1980611 h 2436046"/>
              <a:gd name="connsiteX86-2391" fmla="*/ 2782035 w 5168654"/>
              <a:gd name="connsiteY86-2392" fmla="*/ 1991203 h 2436046"/>
              <a:gd name="connsiteX87-2393" fmla="*/ 2838523 w 5168654"/>
              <a:gd name="connsiteY87-2394" fmla="*/ 1991203 h 2436046"/>
              <a:gd name="connsiteX88-2395" fmla="*/ 2838523 w 5168654"/>
              <a:gd name="connsiteY88-2396" fmla="*/ 2019447 h 2436046"/>
              <a:gd name="connsiteX89-2397" fmla="*/ 2852645 w 5168654"/>
              <a:gd name="connsiteY89-2398" fmla="*/ 2019447 h 2436046"/>
              <a:gd name="connsiteX90-2399" fmla="*/ 2852645 w 5168654"/>
              <a:gd name="connsiteY90-2400" fmla="*/ 2075935 h 2436046"/>
              <a:gd name="connsiteX91-2401" fmla="*/ 3219817 w 5168654"/>
              <a:gd name="connsiteY91-2402" fmla="*/ 2075934 h 2436046"/>
              <a:gd name="connsiteX92-2403" fmla="*/ 3216287 w 5168654"/>
              <a:gd name="connsiteY92-2404" fmla="*/ 2107709 h 2436046"/>
              <a:gd name="connsiteX93-2405" fmla="*/ 3230409 w 5168654"/>
              <a:gd name="connsiteY93-2406" fmla="*/ 2121831 h 2436046"/>
              <a:gd name="connsiteX94-2407" fmla="*/ 3230409 w 5168654"/>
              <a:gd name="connsiteY94-2408" fmla="*/ 2181850 h 2436046"/>
              <a:gd name="connsiteX95-2409" fmla="*/ 3438709 w 5168654"/>
              <a:gd name="connsiteY95-2410" fmla="*/ 2181850 h 2436046"/>
              <a:gd name="connsiteX96-2411" fmla="*/ 3438709 w 5168654"/>
              <a:gd name="connsiteY96-2412" fmla="*/ 2199502 h 2436046"/>
              <a:gd name="connsiteX97-2413" fmla="*/ 3565807 w 5168654"/>
              <a:gd name="connsiteY97-2414" fmla="*/ 2199502 h 2436046"/>
              <a:gd name="connsiteX98-2415" fmla="*/ 3565807 w 5168654"/>
              <a:gd name="connsiteY98-2416" fmla="*/ 2227746 h 2436046"/>
              <a:gd name="connsiteX99-2417" fmla="*/ 3618764 w 5168654"/>
              <a:gd name="connsiteY99-2418" fmla="*/ 2227746 h 2436046"/>
              <a:gd name="connsiteX100-2419" fmla="*/ 3618764 w 5168654"/>
              <a:gd name="connsiteY100-2420" fmla="*/ 2252460 h 2436046"/>
              <a:gd name="connsiteX101-2421" fmla="*/ 3890613 w 5168654"/>
              <a:gd name="connsiteY101-2422" fmla="*/ 2252460 h 2436046"/>
              <a:gd name="connsiteX102-2423" fmla="*/ 3890613 w 5168654"/>
              <a:gd name="connsiteY102-2424" fmla="*/ 2287765 h 2436046"/>
              <a:gd name="connsiteX103-2425" fmla="*/ 3975345 w 5168654"/>
              <a:gd name="connsiteY103-2426" fmla="*/ 2287765 h 2436046"/>
              <a:gd name="connsiteX104-2427" fmla="*/ 3975345 w 5168654"/>
              <a:gd name="connsiteY104-2428" fmla="*/ 2316009 h 2436046"/>
              <a:gd name="connsiteX105-2429" fmla="*/ 4007119 w 5168654"/>
              <a:gd name="connsiteY105-2430" fmla="*/ 2316009 h 2436046"/>
              <a:gd name="connsiteX106-2431" fmla="*/ 4007119 w 5168654"/>
              <a:gd name="connsiteY106-2432" fmla="*/ 2368967 h 2436046"/>
              <a:gd name="connsiteX107-2433" fmla="*/ 4614366 w 5168654"/>
              <a:gd name="connsiteY107-2434" fmla="*/ 2368967 h 2436046"/>
              <a:gd name="connsiteX108-2435" fmla="*/ 4614366 w 5168654"/>
              <a:gd name="connsiteY108-2436" fmla="*/ 2436046 h 2436046"/>
              <a:gd name="connsiteX109-2437" fmla="*/ 5168654 w 5168654"/>
              <a:gd name="connsiteY109-2438" fmla="*/ 2436046 h 2436046"/>
              <a:gd name="connsiteX0-2439" fmla="*/ 0 w 5168654"/>
              <a:gd name="connsiteY0-2440" fmla="*/ 0 h 2436046"/>
              <a:gd name="connsiteX1-2441" fmla="*/ 144750 w 5168654"/>
              <a:gd name="connsiteY1-2442" fmla="*/ 0 h 2436046"/>
              <a:gd name="connsiteX2-2443" fmla="*/ 144750 w 5168654"/>
              <a:gd name="connsiteY2-2444" fmla="*/ 42366 h 2436046"/>
              <a:gd name="connsiteX3-2445" fmla="*/ 158872 w 5168654"/>
              <a:gd name="connsiteY3-2446" fmla="*/ 42366 h 2436046"/>
              <a:gd name="connsiteX4-2447" fmla="*/ 158872 w 5168654"/>
              <a:gd name="connsiteY4-2448" fmla="*/ 81201 h 2436046"/>
              <a:gd name="connsiteX5-2449" fmla="*/ 162403 w 5168654"/>
              <a:gd name="connsiteY5-2450" fmla="*/ 84732 h 2436046"/>
              <a:gd name="connsiteX6-2451" fmla="*/ 162403 w 5168654"/>
              <a:gd name="connsiteY6-2452" fmla="*/ 155342 h 2436046"/>
              <a:gd name="connsiteX7-2453" fmla="*/ 257726 w 5168654"/>
              <a:gd name="connsiteY7-2454" fmla="*/ 155342 h 2436046"/>
              <a:gd name="connsiteX8-2455" fmla="*/ 257726 w 5168654"/>
              <a:gd name="connsiteY8-2456" fmla="*/ 190647 h 2436046"/>
              <a:gd name="connsiteX9-2457" fmla="*/ 268318 w 5168654"/>
              <a:gd name="connsiteY9-2458" fmla="*/ 190647 h 2436046"/>
              <a:gd name="connsiteX10-2459" fmla="*/ 268318 w 5168654"/>
              <a:gd name="connsiteY10-2460" fmla="*/ 211830 h 2436046"/>
              <a:gd name="connsiteX11-2461" fmla="*/ 508392 w 5168654"/>
              <a:gd name="connsiteY11-2462" fmla="*/ 211830 h 2436046"/>
              <a:gd name="connsiteX12-2463" fmla="*/ 508392 w 5168654"/>
              <a:gd name="connsiteY12-2464" fmla="*/ 243604 h 2436046"/>
              <a:gd name="connsiteX13-2465" fmla="*/ 536636 w 5168654"/>
              <a:gd name="connsiteY13-2466" fmla="*/ 243604 h 2436046"/>
              <a:gd name="connsiteX14-2467" fmla="*/ 536636 w 5168654"/>
              <a:gd name="connsiteY14-2468" fmla="*/ 363641 h 2436046"/>
              <a:gd name="connsiteX15-2469" fmla="*/ 554288 w 5168654"/>
              <a:gd name="connsiteY15-2470" fmla="*/ 363641 h 2436046"/>
              <a:gd name="connsiteX16-2471" fmla="*/ 554288 w 5168654"/>
              <a:gd name="connsiteY16-2472" fmla="*/ 423660 h 2436046"/>
              <a:gd name="connsiteX17-2473" fmla="*/ 769649 w 5168654"/>
              <a:gd name="connsiteY17-2474" fmla="*/ 423660 h 2436046"/>
              <a:gd name="connsiteX18-2475" fmla="*/ 769649 w 5168654"/>
              <a:gd name="connsiteY18-2476" fmla="*/ 430721 h 2436046"/>
              <a:gd name="connsiteX19-2477" fmla="*/ 776710 w 5168654"/>
              <a:gd name="connsiteY19-2478" fmla="*/ 437782 h 2436046"/>
              <a:gd name="connsiteX20-2479" fmla="*/ 776710 w 5168654"/>
              <a:gd name="connsiteY20-2480" fmla="*/ 455434 h 2436046"/>
              <a:gd name="connsiteX21-2481" fmla="*/ 794363 w 5168654"/>
              <a:gd name="connsiteY21-2482" fmla="*/ 455434 h 2436046"/>
              <a:gd name="connsiteX22-2483" fmla="*/ 794363 w 5168654"/>
              <a:gd name="connsiteY22-2484" fmla="*/ 497801 h 2436046"/>
              <a:gd name="connsiteX23-2485" fmla="*/ 808485 w 5168654"/>
              <a:gd name="connsiteY23-2486" fmla="*/ 497801 h 2436046"/>
              <a:gd name="connsiteX24-2487" fmla="*/ 808485 w 5168654"/>
              <a:gd name="connsiteY24-2488" fmla="*/ 621368 h 2436046"/>
              <a:gd name="connsiteX25-2489" fmla="*/ 822607 w 5168654"/>
              <a:gd name="connsiteY25-2490" fmla="*/ 621368 h 2436046"/>
              <a:gd name="connsiteX26-2491" fmla="*/ 822607 w 5168654"/>
              <a:gd name="connsiteY26-2492" fmla="*/ 639021 h 2436046"/>
              <a:gd name="connsiteX27-2493" fmla="*/ 1045028 w 5168654"/>
              <a:gd name="connsiteY27-2494" fmla="*/ 639021 h 2436046"/>
              <a:gd name="connsiteX28-2495" fmla="*/ 1045028 w 5168654"/>
              <a:gd name="connsiteY28-2496" fmla="*/ 790832 h 2436046"/>
              <a:gd name="connsiteX29-2497" fmla="*/ 1059150 w 5168654"/>
              <a:gd name="connsiteY29-2498" fmla="*/ 790832 h 2436046"/>
              <a:gd name="connsiteX30-2499" fmla="*/ 1059150 w 5168654"/>
              <a:gd name="connsiteY30-2500" fmla="*/ 889686 h 2436046"/>
              <a:gd name="connsiteX31-2501" fmla="*/ 1083864 w 5168654"/>
              <a:gd name="connsiteY31-2502" fmla="*/ 889686 h 2436046"/>
              <a:gd name="connsiteX32-2503" fmla="*/ 1101516 w 5168654"/>
              <a:gd name="connsiteY32-2504" fmla="*/ 889686 h 2436046"/>
              <a:gd name="connsiteX33-2505" fmla="*/ 1158004 w 5168654"/>
              <a:gd name="connsiteY33-2506" fmla="*/ 889686 h 2436046"/>
              <a:gd name="connsiteX34-2507" fmla="*/ 1158004 w 5168654"/>
              <a:gd name="connsiteY34-2508" fmla="*/ 917930 h 2436046"/>
              <a:gd name="connsiteX35-2509" fmla="*/ 1302755 w 5168654"/>
              <a:gd name="connsiteY35-2510" fmla="*/ 917930 h 2436046"/>
              <a:gd name="connsiteX36-2511" fmla="*/ 1302755 w 5168654"/>
              <a:gd name="connsiteY36-2512" fmla="*/ 942644 h 2436046"/>
              <a:gd name="connsiteX37-2513" fmla="*/ 1313346 w 5168654"/>
              <a:gd name="connsiteY37-2514" fmla="*/ 942644 h 2436046"/>
              <a:gd name="connsiteX38-2515" fmla="*/ 1313346 w 5168654"/>
              <a:gd name="connsiteY38-2516" fmla="*/ 1034437 h 2436046"/>
              <a:gd name="connsiteX39-2517" fmla="*/ 1316877 w 5168654"/>
              <a:gd name="connsiteY39-2518" fmla="*/ 1034437 h 2436046"/>
              <a:gd name="connsiteX40-2519" fmla="*/ 1316877 w 5168654"/>
              <a:gd name="connsiteY40-2520" fmla="*/ 1080333 h 2436046"/>
              <a:gd name="connsiteX41-2521" fmla="*/ 1489871 w 5168654"/>
              <a:gd name="connsiteY41-2522" fmla="*/ 1080333 h 2436046"/>
              <a:gd name="connsiteX42-2523" fmla="*/ 1489871 w 5168654"/>
              <a:gd name="connsiteY42-2524" fmla="*/ 1097986 h 2436046"/>
              <a:gd name="connsiteX43-2525" fmla="*/ 1518115 w 5168654"/>
              <a:gd name="connsiteY43-2526" fmla="*/ 1097986 h 2436046"/>
              <a:gd name="connsiteX44-2527" fmla="*/ 1518115 w 5168654"/>
              <a:gd name="connsiteY44-2528" fmla="*/ 1122699 h 2436046"/>
              <a:gd name="connsiteX45-2529" fmla="*/ 1532237 w 5168654"/>
              <a:gd name="connsiteY45-2530" fmla="*/ 1122699 h 2436046"/>
              <a:gd name="connsiteX46-2531" fmla="*/ 1539298 w 5168654"/>
              <a:gd name="connsiteY46-2532" fmla="*/ 1129760 h 2436046"/>
              <a:gd name="connsiteX47-2533" fmla="*/ 1553420 w 5168654"/>
              <a:gd name="connsiteY47-2534" fmla="*/ 1143882 h 2436046"/>
              <a:gd name="connsiteX48-2535" fmla="*/ 1553420 w 5168654"/>
              <a:gd name="connsiteY48-2536" fmla="*/ 1189779 h 2436046"/>
              <a:gd name="connsiteX49-2537" fmla="*/ 1564012 w 5168654"/>
              <a:gd name="connsiteY49-2538" fmla="*/ 1189779 h 2436046"/>
              <a:gd name="connsiteX50-2539" fmla="*/ 1564012 w 5168654"/>
              <a:gd name="connsiteY50-2540" fmla="*/ 1253328 h 2436046"/>
              <a:gd name="connsiteX51-2541" fmla="*/ 1578134 w 5168654"/>
              <a:gd name="connsiteY51-2542" fmla="*/ 1253328 h 2436046"/>
              <a:gd name="connsiteX52-2543" fmla="*/ 1578134 w 5168654"/>
              <a:gd name="connsiteY52-2544" fmla="*/ 1345121 h 2436046"/>
              <a:gd name="connsiteX53-2545" fmla="*/ 1588726 w 5168654"/>
              <a:gd name="connsiteY53-2546" fmla="*/ 1345121 h 2436046"/>
              <a:gd name="connsiteX54-2547" fmla="*/ 1588726 w 5168654"/>
              <a:gd name="connsiteY54-2548" fmla="*/ 1380426 h 2436046"/>
              <a:gd name="connsiteX55-2549" fmla="*/ 1588726 w 5168654"/>
              <a:gd name="connsiteY55-2550" fmla="*/ 1380426 h 2436046"/>
              <a:gd name="connsiteX56-2551" fmla="*/ 1627561 w 5168654"/>
              <a:gd name="connsiteY56-2552" fmla="*/ 1380426 h 2436046"/>
              <a:gd name="connsiteX57-2553" fmla="*/ 1797025 w 5168654"/>
              <a:gd name="connsiteY57-2554" fmla="*/ 1380426 h 2436046"/>
              <a:gd name="connsiteX58-2555" fmla="*/ 1797025 w 5168654"/>
              <a:gd name="connsiteY58-2556" fmla="*/ 1472219 h 2436046"/>
              <a:gd name="connsiteX59-2557" fmla="*/ 1828800 w 5168654"/>
              <a:gd name="connsiteY59-2558" fmla="*/ 1472219 h 2436046"/>
              <a:gd name="connsiteX60-2559" fmla="*/ 1828800 w 5168654"/>
              <a:gd name="connsiteY60-2560" fmla="*/ 1489872 h 2436046"/>
              <a:gd name="connsiteX61-2561" fmla="*/ 1828800 w 5168654"/>
              <a:gd name="connsiteY61-2562" fmla="*/ 1503994 h 2436046"/>
              <a:gd name="connsiteX62-2563" fmla="*/ 1846452 w 5168654"/>
              <a:gd name="connsiteY62-2564" fmla="*/ 1503994 h 2436046"/>
              <a:gd name="connsiteX63-2565" fmla="*/ 1846452 w 5168654"/>
              <a:gd name="connsiteY63-2566" fmla="*/ 1564012 h 2436046"/>
              <a:gd name="connsiteX64-2567" fmla="*/ 1878227 w 5168654"/>
              <a:gd name="connsiteY64-2568" fmla="*/ 1564012 h 2436046"/>
              <a:gd name="connsiteX65-2569" fmla="*/ 1878227 w 5168654"/>
              <a:gd name="connsiteY65-2570" fmla="*/ 1595787 h 2436046"/>
              <a:gd name="connsiteX66-2571" fmla="*/ 2072404 w 5168654"/>
              <a:gd name="connsiteY66-2572" fmla="*/ 1595787 h 2436046"/>
              <a:gd name="connsiteX67-2573" fmla="*/ 2072404 w 5168654"/>
              <a:gd name="connsiteY67-2574" fmla="*/ 1673458 h 2436046"/>
              <a:gd name="connsiteX68-2575" fmla="*/ 2093587 w 5168654"/>
              <a:gd name="connsiteY68-2576" fmla="*/ 1673458 h 2436046"/>
              <a:gd name="connsiteX69-2577" fmla="*/ 2093587 w 5168654"/>
              <a:gd name="connsiteY69-2578" fmla="*/ 1684049 h 2436046"/>
              <a:gd name="connsiteX70-2579" fmla="*/ 2097118 w 5168654"/>
              <a:gd name="connsiteY70-2580" fmla="*/ 1684049 h 2436046"/>
              <a:gd name="connsiteX71-2581" fmla="*/ 2097118 w 5168654"/>
              <a:gd name="connsiteY71-2582" fmla="*/ 1701702 h 2436046"/>
              <a:gd name="connsiteX72-2583" fmla="*/ 2111240 w 5168654"/>
              <a:gd name="connsiteY72-2584" fmla="*/ 1701702 h 2436046"/>
              <a:gd name="connsiteX73-2585" fmla="*/ 2111240 w 5168654"/>
              <a:gd name="connsiteY73-2586" fmla="*/ 1701702 h 2436046"/>
              <a:gd name="connsiteX74-2587" fmla="*/ 2418393 w 5168654"/>
              <a:gd name="connsiteY74-2588" fmla="*/ 1701702 h 2436046"/>
              <a:gd name="connsiteX75-2589" fmla="*/ 2418393 w 5168654"/>
              <a:gd name="connsiteY75-2590" fmla="*/ 1744068 h 2436046"/>
              <a:gd name="connsiteX76-2591" fmla="*/ 2418393 w 5168654"/>
              <a:gd name="connsiteY76-2592" fmla="*/ 1744068 h 2436046"/>
              <a:gd name="connsiteX77-2593" fmla="*/ 2446637 w 5168654"/>
              <a:gd name="connsiteY77-2594" fmla="*/ 1772312 h 2436046"/>
              <a:gd name="connsiteX78-2595" fmla="*/ 2460759 w 5168654"/>
              <a:gd name="connsiteY78-2596" fmla="*/ 1772312 h 2436046"/>
              <a:gd name="connsiteX79-2597" fmla="*/ 2460759 w 5168654"/>
              <a:gd name="connsiteY79-2598" fmla="*/ 1821739 h 2436046"/>
              <a:gd name="connsiteX80-2599" fmla="*/ 2478412 w 5168654"/>
              <a:gd name="connsiteY80-2600" fmla="*/ 1821739 h 2436046"/>
              <a:gd name="connsiteX81-2601" fmla="*/ 2478412 w 5168654"/>
              <a:gd name="connsiteY81-2602" fmla="*/ 1920593 h 2436046"/>
              <a:gd name="connsiteX82-2603" fmla="*/ 2633754 w 5168654"/>
              <a:gd name="connsiteY82-2604" fmla="*/ 1920593 h 2436046"/>
              <a:gd name="connsiteX83-2605" fmla="*/ 2633754 w 5168654"/>
              <a:gd name="connsiteY83-2606" fmla="*/ 1941776 h 2436046"/>
              <a:gd name="connsiteX84-2607" fmla="*/ 2732608 w 5168654"/>
              <a:gd name="connsiteY84-2608" fmla="*/ 1941776 h 2436046"/>
              <a:gd name="connsiteX85-2609" fmla="*/ 2771443 w 5168654"/>
              <a:gd name="connsiteY85-2610" fmla="*/ 1980611 h 2436046"/>
              <a:gd name="connsiteX86-2611" fmla="*/ 2782035 w 5168654"/>
              <a:gd name="connsiteY86-2612" fmla="*/ 1991203 h 2436046"/>
              <a:gd name="connsiteX87-2613" fmla="*/ 2838523 w 5168654"/>
              <a:gd name="connsiteY87-2614" fmla="*/ 1991203 h 2436046"/>
              <a:gd name="connsiteX88-2615" fmla="*/ 2838523 w 5168654"/>
              <a:gd name="connsiteY88-2616" fmla="*/ 2019447 h 2436046"/>
              <a:gd name="connsiteX89-2617" fmla="*/ 2852645 w 5168654"/>
              <a:gd name="connsiteY89-2618" fmla="*/ 2019447 h 2436046"/>
              <a:gd name="connsiteX90-2619" fmla="*/ 2852645 w 5168654"/>
              <a:gd name="connsiteY90-2620" fmla="*/ 2075935 h 2436046"/>
              <a:gd name="connsiteX91-2621" fmla="*/ 3219817 w 5168654"/>
              <a:gd name="connsiteY91-2622" fmla="*/ 2075934 h 2436046"/>
              <a:gd name="connsiteX92-2623" fmla="*/ 3205695 w 5168654"/>
              <a:gd name="connsiteY92-2624" fmla="*/ 2107709 h 2436046"/>
              <a:gd name="connsiteX93-2625" fmla="*/ 3230409 w 5168654"/>
              <a:gd name="connsiteY93-2626" fmla="*/ 2121831 h 2436046"/>
              <a:gd name="connsiteX94-2627" fmla="*/ 3230409 w 5168654"/>
              <a:gd name="connsiteY94-2628" fmla="*/ 2181850 h 2436046"/>
              <a:gd name="connsiteX95-2629" fmla="*/ 3438709 w 5168654"/>
              <a:gd name="connsiteY95-2630" fmla="*/ 2181850 h 2436046"/>
              <a:gd name="connsiteX96-2631" fmla="*/ 3438709 w 5168654"/>
              <a:gd name="connsiteY96-2632" fmla="*/ 2199502 h 2436046"/>
              <a:gd name="connsiteX97-2633" fmla="*/ 3565807 w 5168654"/>
              <a:gd name="connsiteY97-2634" fmla="*/ 2199502 h 2436046"/>
              <a:gd name="connsiteX98-2635" fmla="*/ 3565807 w 5168654"/>
              <a:gd name="connsiteY98-2636" fmla="*/ 2227746 h 2436046"/>
              <a:gd name="connsiteX99-2637" fmla="*/ 3618764 w 5168654"/>
              <a:gd name="connsiteY99-2638" fmla="*/ 2227746 h 2436046"/>
              <a:gd name="connsiteX100-2639" fmla="*/ 3618764 w 5168654"/>
              <a:gd name="connsiteY100-2640" fmla="*/ 2252460 h 2436046"/>
              <a:gd name="connsiteX101-2641" fmla="*/ 3890613 w 5168654"/>
              <a:gd name="connsiteY101-2642" fmla="*/ 2252460 h 2436046"/>
              <a:gd name="connsiteX102-2643" fmla="*/ 3890613 w 5168654"/>
              <a:gd name="connsiteY102-2644" fmla="*/ 2287765 h 2436046"/>
              <a:gd name="connsiteX103-2645" fmla="*/ 3975345 w 5168654"/>
              <a:gd name="connsiteY103-2646" fmla="*/ 2287765 h 2436046"/>
              <a:gd name="connsiteX104-2647" fmla="*/ 3975345 w 5168654"/>
              <a:gd name="connsiteY104-2648" fmla="*/ 2316009 h 2436046"/>
              <a:gd name="connsiteX105-2649" fmla="*/ 4007119 w 5168654"/>
              <a:gd name="connsiteY105-2650" fmla="*/ 2316009 h 2436046"/>
              <a:gd name="connsiteX106-2651" fmla="*/ 4007119 w 5168654"/>
              <a:gd name="connsiteY106-2652" fmla="*/ 2368967 h 2436046"/>
              <a:gd name="connsiteX107-2653" fmla="*/ 4614366 w 5168654"/>
              <a:gd name="connsiteY107-2654" fmla="*/ 2368967 h 2436046"/>
              <a:gd name="connsiteX108-2655" fmla="*/ 4614366 w 5168654"/>
              <a:gd name="connsiteY108-2656" fmla="*/ 2436046 h 2436046"/>
              <a:gd name="connsiteX109-2657" fmla="*/ 5168654 w 5168654"/>
              <a:gd name="connsiteY109-2658" fmla="*/ 2436046 h 2436046"/>
              <a:gd name="connsiteX0-2659" fmla="*/ 0 w 5168654"/>
              <a:gd name="connsiteY0-2660" fmla="*/ 0 h 2436046"/>
              <a:gd name="connsiteX1-2661" fmla="*/ 144750 w 5168654"/>
              <a:gd name="connsiteY1-2662" fmla="*/ 0 h 2436046"/>
              <a:gd name="connsiteX2-2663" fmla="*/ 144750 w 5168654"/>
              <a:gd name="connsiteY2-2664" fmla="*/ 42366 h 2436046"/>
              <a:gd name="connsiteX3-2665" fmla="*/ 158872 w 5168654"/>
              <a:gd name="connsiteY3-2666" fmla="*/ 42366 h 2436046"/>
              <a:gd name="connsiteX4-2667" fmla="*/ 158872 w 5168654"/>
              <a:gd name="connsiteY4-2668" fmla="*/ 81201 h 2436046"/>
              <a:gd name="connsiteX5-2669" fmla="*/ 162403 w 5168654"/>
              <a:gd name="connsiteY5-2670" fmla="*/ 84732 h 2436046"/>
              <a:gd name="connsiteX6-2671" fmla="*/ 162403 w 5168654"/>
              <a:gd name="connsiteY6-2672" fmla="*/ 155342 h 2436046"/>
              <a:gd name="connsiteX7-2673" fmla="*/ 257726 w 5168654"/>
              <a:gd name="connsiteY7-2674" fmla="*/ 155342 h 2436046"/>
              <a:gd name="connsiteX8-2675" fmla="*/ 257726 w 5168654"/>
              <a:gd name="connsiteY8-2676" fmla="*/ 190647 h 2436046"/>
              <a:gd name="connsiteX9-2677" fmla="*/ 268318 w 5168654"/>
              <a:gd name="connsiteY9-2678" fmla="*/ 190647 h 2436046"/>
              <a:gd name="connsiteX10-2679" fmla="*/ 268318 w 5168654"/>
              <a:gd name="connsiteY10-2680" fmla="*/ 211830 h 2436046"/>
              <a:gd name="connsiteX11-2681" fmla="*/ 508392 w 5168654"/>
              <a:gd name="connsiteY11-2682" fmla="*/ 211830 h 2436046"/>
              <a:gd name="connsiteX12-2683" fmla="*/ 508392 w 5168654"/>
              <a:gd name="connsiteY12-2684" fmla="*/ 243604 h 2436046"/>
              <a:gd name="connsiteX13-2685" fmla="*/ 536636 w 5168654"/>
              <a:gd name="connsiteY13-2686" fmla="*/ 243604 h 2436046"/>
              <a:gd name="connsiteX14-2687" fmla="*/ 536636 w 5168654"/>
              <a:gd name="connsiteY14-2688" fmla="*/ 363641 h 2436046"/>
              <a:gd name="connsiteX15-2689" fmla="*/ 554288 w 5168654"/>
              <a:gd name="connsiteY15-2690" fmla="*/ 363641 h 2436046"/>
              <a:gd name="connsiteX16-2691" fmla="*/ 554288 w 5168654"/>
              <a:gd name="connsiteY16-2692" fmla="*/ 423660 h 2436046"/>
              <a:gd name="connsiteX17-2693" fmla="*/ 769649 w 5168654"/>
              <a:gd name="connsiteY17-2694" fmla="*/ 423660 h 2436046"/>
              <a:gd name="connsiteX18-2695" fmla="*/ 769649 w 5168654"/>
              <a:gd name="connsiteY18-2696" fmla="*/ 430721 h 2436046"/>
              <a:gd name="connsiteX19-2697" fmla="*/ 776710 w 5168654"/>
              <a:gd name="connsiteY19-2698" fmla="*/ 437782 h 2436046"/>
              <a:gd name="connsiteX20-2699" fmla="*/ 776710 w 5168654"/>
              <a:gd name="connsiteY20-2700" fmla="*/ 455434 h 2436046"/>
              <a:gd name="connsiteX21-2701" fmla="*/ 794363 w 5168654"/>
              <a:gd name="connsiteY21-2702" fmla="*/ 455434 h 2436046"/>
              <a:gd name="connsiteX22-2703" fmla="*/ 794363 w 5168654"/>
              <a:gd name="connsiteY22-2704" fmla="*/ 497801 h 2436046"/>
              <a:gd name="connsiteX23-2705" fmla="*/ 808485 w 5168654"/>
              <a:gd name="connsiteY23-2706" fmla="*/ 497801 h 2436046"/>
              <a:gd name="connsiteX24-2707" fmla="*/ 808485 w 5168654"/>
              <a:gd name="connsiteY24-2708" fmla="*/ 621368 h 2436046"/>
              <a:gd name="connsiteX25-2709" fmla="*/ 822607 w 5168654"/>
              <a:gd name="connsiteY25-2710" fmla="*/ 621368 h 2436046"/>
              <a:gd name="connsiteX26-2711" fmla="*/ 822607 w 5168654"/>
              <a:gd name="connsiteY26-2712" fmla="*/ 639021 h 2436046"/>
              <a:gd name="connsiteX27-2713" fmla="*/ 1045028 w 5168654"/>
              <a:gd name="connsiteY27-2714" fmla="*/ 639021 h 2436046"/>
              <a:gd name="connsiteX28-2715" fmla="*/ 1045028 w 5168654"/>
              <a:gd name="connsiteY28-2716" fmla="*/ 790832 h 2436046"/>
              <a:gd name="connsiteX29-2717" fmla="*/ 1059150 w 5168654"/>
              <a:gd name="connsiteY29-2718" fmla="*/ 790832 h 2436046"/>
              <a:gd name="connsiteX30-2719" fmla="*/ 1059150 w 5168654"/>
              <a:gd name="connsiteY30-2720" fmla="*/ 889686 h 2436046"/>
              <a:gd name="connsiteX31-2721" fmla="*/ 1083864 w 5168654"/>
              <a:gd name="connsiteY31-2722" fmla="*/ 889686 h 2436046"/>
              <a:gd name="connsiteX32-2723" fmla="*/ 1101516 w 5168654"/>
              <a:gd name="connsiteY32-2724" fmla="*/ 889686 h 2436046"/>
              <a:gd name="connsiteX33-2725" fmla="*/ 1158004 w 5168654"/>
              <a:gd name="connsiteY33-2726" fmla="*/ 889686 h 2436046"/>
              <a:gd name="connsiteX34-2727" fmla="*/ 1158004 w 5168654"/>
              <a:gd name="connsiteY34-2728" fmla="*/ 917930 h 2436046"/>
              <a:gd name="connsiteX35-2729" fmla="*/ 1302755 w 5168654"/>
              <a:gd name="connsiteY35-2730" fmla="*/ 917930 h 2436046"/>
              <a:gd name="connsiteX36-2731" fmla="*/ 1302755 w 5168654"/>
              <a:gd name="connsiteY36-2732" fmla="*/ 942644 h 2436046"/>
              <a:gd name="connsiteX37-2733" fmla="*/ 1313346 w 5168654"/>
              <a:gd name="connsiteY37-2734" fmla="*/ 942644 h 2436046"/>
              <a:gd name="connsiteX38-2735" fmla="*/ 1313346 w 5168654"/>
              <a:gd name="connsiteY38-2736" fmla="*/ 1034437 h 2436046"/>
              <a:gd name="connsiteX39-2737" fmla="*/ 1316877 w 5168654"/>
              <a:gd name="connsiteY39-2738" fmla="*/ 1034437 h 2436046"/>
              <a:gd name="connsiteX40-2739" fmla="*/ 1316877 w 5168654"/>
              <a:gd name="connsiteY40-2740" fmla="*/ 1080333 h 2436046"/>
              <a:gd name="connsiteX41-2741" fmla="*/ 1489871 w 5168654"/>
              <a:gd name="connsiteY41-2742" fmla="*/ 1080333 h 2436046"/>
              <a:gd name="connsiteX42-2743" fmla="*/ 1489871 w 5168654"/>
              <a:gd name="connsiteY42-2744" fmla="*/ 1097986 h 2436046"/>
              <a:gd name="connsiteX43-2745" fmla="*/ 1518115 w 5168654"/>
              <a:gd name="connsiteY43-2746" fmla="*/ 1097986 h 2436046"/>
              <a:gd name="connsiteX44-2747" fmla="*/ 1518115 w 5168654"/>
              <a:gd name="connsiteY44-2748" fmla="*/ 1122699 h 2436046"/>
              <a:gd name="connsiteX45-2749" fmla="*/ 1532237 w 5168654"/>
              <a:gd name="connsiteY45-2750" fmla="*/ 1122699 h 2436046"/>
              <a:gd name="connsiteX46-2751" fmla="*/ 1539298 w 5168654"/>
              <a:gd name="connsiteY46-2752" fmla="*/ 1129760 h 2436046"/>
              <a:gd name="connsiteX47-2753" fmla="*/ 1553420 w 5168654"/>
              <a:gd name="connsiteY47-2754" fmla="*/ 1143882 h 2436046"/>
              <a:gd name="connsiteX48-2755" fmla="*/ 1553420 w 5168654"/>
              <a:gd name="connsiteY48-2756" fmla="*/ 1189779 h 2436046"/>
              <a:gd name="connsiteX49-2757" fmla="*/ 1564012 w 5168654"/>
              <a:gd name="connsiteY49-2758" fmla="*/ 1189779 h 2436046"/>
              <a:gd name="connsiteX50-2759" fmla="*/ 1564012 w 5168654"/>
              <a:gd name="connsiteY50-2760" fmla="*/ 1253328 h 2436046"/>
              <a:gd name="connsiteX51-2761" fmla="*/ 1578134 w 5168654"/>
              <a:gd name="connsiteY51-2762" fmla="*/ 1253328 h 2436046"/>
              <a:gd name="connsiteX52-2763" fmla="*/ 1578134 w 5168654"/>
              <a:gd name="connsiteY52-2764" fmla="*/ 1345121 h 2436046"/>
              <a:gd name="connsiteX53-2765" fmla="*/ 1588726 w 5168654"/>
              <a:gd name="connsiteY53-2766" fmla="*/ 1345121 h 2436046"/>
              <a:gd name="connsiteX54-2767" fmla="*/ 1588726 w 5168654"/>
              <a:gd name="connsiteY54-2768" fmla="*/ 1380426 h 2436046"/>
              <a:gd name="connsiteX55-2769" fmla="*/ 1588726 w 5168654"/>
              <a:gd name="connsiteY55-2770" fmla="*/ 1380426 h 2436046"/>
              <a:gd name="connsiteX56-2771" fmla="*/ 1627561 w 5168654"/>
              <a:gd name="connsiteY56-2772" fmla="*/ 1380426 h 2436046"/>
              <a:gd name="connsiteX57-2773" fmla="*/ 1797025 w 5168654"/>
              <a:gd name="connsiteY57-2774" fmla="*/ 1380426 h 2436046"/>
              <a:gd name="connsiteX58-2775" fmla="*/ 1797025 w 5168654"/>
              <a:gd name="connsiteY58-2776" fmla="*/ 1472219 h 2436046"/>
              <a:gd name="connsiteX59-2777" fmla="*/ 1828800 w 5168654"/>
              <a:gd name="connsiteY59-2778" fmla="*/ 1472219 h 2436046"/>
              <a:gd name="connsiteX60-2779" fmla="*/ 1828800 w 5168654"/>
              <a:gd name="connsiteY60-2780" fmla="*/ 1489872 h 2436046"/>
              <a:gd name="connsiteX61-2781" fmla="*/ 1828800 w 5168654"/>
              <a:gd name="connsiteY61-2782" fmla="*/ 1503994 h 2436046"/>
              <a:gd name="connsiteX62-2783" fmla="*/ 1846452 w 5168654"/>
              <a:gd name="connsiteY62-2784" fmla="*/ 1503994 h 2436046"/>
              <a:gd name="connsiteX63-2785" fmla="*/ 1846452 w 5168654"/>
              <a:gd name="connsiteY63-2786" fmla="*/ 1564012 h 2436046"/>
              <a:gd name="connsiteX64-2787" fmla="*/ 1878227 w 5168654"/>
              <a:gd name="connsiteY64-2788" fmla="*/ 1564012 h 2436046"/>
              <a:gd name="connsiteX65-2789" fmla="*/ 1878227 w 5168654"/>
              <a:gd name="connsiteY65-2790" fmla="*/ 1595787 h 2436046"/>
              <a:gd name="connsiteX66-2791" fmla="*/ 2072404 w 5168654"/>
              <a:gd name="connsiteY66-2792" fmla="*/ 1595787 h 2436046"/>
              <a:gd name="connsiteX67-2793" fmla="*/ 2072404 w 5168654"/>
              <a:gd name="connsiteY67-2794" fmla="*/ 1673458 h 2436046"/>
              <a:gd name="connsiteX68-2795" fmla="*/ 2093587 w 5168654"/>
              <a:gd name="connsiteY68-2796" fmla="*/ 1673458 h 2436046"/>
              <a:gd name="connsiteX69-2797" fmla="*/ 2093587 w 5168654"/>
              <a:gd name="connsiteY69-2798" fmla="*/ 1684049 h 2436046"/>
              <a:gd name="connsiteX70-2799" fmla="*/ 2097118 w 5168654"/>
              <a:gd name="connsiteY70-2800" fmla="*/ 1684049 h 2436046"/>
              <a:gd name="connsiteX71-2801" fmla="*/ 2097118 w 5168654"/>
              <a:gd name="connsiteY71-2802" fmla="*/ 1701702 h 2436046"/>
              <a:gd name="connsiteX72-2803" fmla="*/ 2111240 w 5168654"/>
              <a:gd name="connsiteY72-2804" fmla="*/ 1701702 h 2436046"/>
              <a:gd name="connsiteX73-2805" fmla="*/ 2111240 w 5168654"/>
              <a:gd name="connsiteY73-2806" fmla="*/ 1701702 h 2436046"/>
              <a:gd name="connsiteX74-2807" fmla="*/ 2418393 w 5168654"/>
              <a:gd name="connsiteY74-2808" fmla="*/ 1701702 h 2436046"/>
              <a:gd name="connsiteX75-2809" fmla="*/ 2418393 w 5168654"/>
              <a:gd name="connsiteY75-2810" fmla="*/ 1744068 h 2436046"/>
              <a:gd name="connsiteX76-2811" fmla="*/ 2418393 w 5168654"/>
              <a:gd name="connsiteY76-2812" fmla="*/ 1744068 h 2436046"/>
              <a:gd name="connsiteX77-2813" fmla="*/ 2446637 w 5168654"/>
              <a:gd name="connsiteY77-2814" fmla="*/ 1772312 h 2436046"/>
              <a:gd name="connsiteX78-2815" fmla="*/ 2460759 w 5168654"/>
              <a:gd name="connsiteY78-2816" fmla="*/ 1772312 h 2436046"/>
              <a:gd name="connsiteX79-2817" fmla="*/ 2460759 w 5168654"/>
              <a:gd name="connsiteY79-2818" fmla="*/ 1821739 h 2436046"/>
              <a:gd name="connsiteX80-2819" fmla="*/ 2478412 w 5168654"/>
              <a:gd name="connsiteY80-2820" fmla="*/ 1821739 h 2436046"/>
              <a:gd name="connsiteX81-2821" fmla="*/ 2478412 w 5168654"/>
              <a:gd name="connsiteY81-2822" fmla="*/ 1920593 h 2436046"/>
              <a:gd name="connsiteX82-2823" fmla="*/ 2633754 w 5168654"/>
              <a:gd name="connsiteY82-2824" fmla="*/ 1920593 h 2436046"/>
              <a:gd name="connsiteX83-2825" fmla="*/ 2633754 w 5168654"/>
              <a:gd name="connsiteY83-2826" fmla="*/ 1941776 h 2436046"/>
              <a:gd name="connsiteX84-2827" fmla="*/ 2732608 w 5168654"/>
              <a:gd name="connsiteY84-2828" fmla="*/ 1941776 h 2436046"/>
              <a:gd name="connsiteX85-2829" fmla="*/ 2771443 w 5168654"/>
              <a:gd name="connsiteY85-2830" fmla="*/ 1980611 h 2436046"/>
              <a:gd name="connsiteX86-2831" fmla="*/ 2782035 w 5168654"/>
              <a:gd name="connsiteY86-2832" fmla="*/ 1991203 h 2436046"/>
              <a:gd name="connsiteX87-2833" fmla="*/ 2838523 w 5168654"/>
              <a:gd name="connsiteY87-2834" fmla="*/ 1991203 h 2436046"/>
              <a:gd name="connsiteX88-2835" fmla="*/ 2838523 w 5168654"/>
              <a:gd name="connsiteY88-2836" fmla="*/ 2019447 h 2436046"/>
              <a:gd name="connsiteX89-2837" fmla="*/ 2852645 w 5168654"/>
              <a:gd name="connsiteY89-2838" fmla="*/ 2019447 h 2436046"/>
              <a:gd name="connsiteX90-2839" fmla="*/ 2852645 w 5168654"/>
              <a:gd name="connsiteY90-2840" fmla="*/ 2075935 h 2436046"/>
              <a:gd name="connsiteX91-2841" fmla="*/ 3219817 w 5168654"/>
              <a:gd name="connsiteY91-2842" fmla="*/ 2075934 h 2436046"/>
              <a:gd name="connsiteX92-2843" fmla="*/ 3205695 w 5168654"/>
              <a:gd name="connsiteY92-2844" fmla="*/ 2107709 h 2436046"/>
              <a:gd name="connsiteX93-2845" fmla="*/ 3237470 w 5168654"/>
              <a:gd name="connsiteY93-2846" fmla="*/ 2118300 h 2436046"/>
              <a:gd name="connsiteX94-2847" fmla="*/ 3230409 w 5168654"/>
              <a:gd name="connsiteY94-2848" fmla="*/ 2181850 h 2436046"/>
              <a:gd name="connsiteX95-2849" fmla="*/ 3438709 w 5168654"/>
              <a:gd name="connsiteY95-2850" fmla="*/ 2181850 h 2436046"/>
              <a:gd name="connsiteX96-2851" fmla="*/ 3438709 w 5168654"/>
              <a:gd name="connsiteY96-2852" fmla="*/ 2199502 h 2436046"/>
              <a:gd name="connsiteX97-2853" fmla="*/ 3565807 w 5168654"/>
              <a:gd name="connsiteY97-2854" fmla="*/ 2199502 h 2436046"/>
              <a:gd name="connsiteX98-2855" fmla="*/ 3565807 w 5168654"/>
              <a:gd name="connsiteY98-2856" fmla="*/ 2227746 h 2436046"/>
              <a:gd name="connsiteX99-2857" fmla="*/ 3618764 w 5168654"/>
              <a:gd name="connsiteY99-2858" fmla="*/ 2227746 h 2436046"/>
              <a:gd name="connsiteX100-2859" fmla="*/ 3618764 w 5168654"/>
              <a:gd name="connsiteY100-2860" fmla="*/ 2252460 h 2436046"/>
              <a:gd name="connsiteX101-2861" fmla="*/ 3890613 w 5168654"/>
              <a:gd name="connsiteY101-2862" fmla="*/ 2252460 h 2436046"/>
              <a:gd name="connsiteX102-2863" fmla="*/ 3890613 w 5168654"/>
              <a:gd name="connsiteY102-2864" fmla="*/ 2287765 h 2436046"/>
              <a:gd name="connsiteX103-2865" fmla="*/ 3975345 w 5168654"/>
              <a:gd name="connsiteY103-2866" fmla="*/ 2287765 h 2436046"/>
              <a:gd name="connsiteX104-2867" fmla="*/ 3975345 w 5168654"/>
              <a:gd name="connsiteY104-2868" fmla="*/ 2316009 h 2436046"/>
              <a:gd name="connsiteX105-2869" fmla="*/ 4007119 w 5168654"/>
              <a:gd name="connsiteY105-2870" fmla="*/ 2316009 h 2436046"/>
              <a:gd name="connsiteX106-2871" fmla="*/ 4007119 w 5168654"/>
              <a:gd name="connsiteY106-2872" fmla="*/ 2368967 h 2436046"/>
              <a:gd name="connsiteX107-2873" fmla="*/ 4614366 w 5168654"/>
              <a:gd name="connsiteY107-2874" fmla="*/ 2368967 h 2436046"/>
              <a:gd name="connsiteX108-2875" fmla="*/ 4614366 w 5168654"/>
              <a:gd name="connsiteY108-2876" fmla="*/ 2436046 h 2436046"/>
              <a:gd name="connsiteX109-2877" fmla="*/ 5168654 w 5168654"/>
              <a:gd name="connsiteY109-2878" fmla="*/ 2436046 h 2436046"/>
              <a:gd name="connsiteX0-2879" fmla="*/ 0 w 5168654"/>
              <a:gd name="connsiteY0-2880" fmla="*/ 0 h 2436046"/>
              <a:gd name="connsiteX1-2881" fmla="*/ 144750 w 5168654"/>
              <a:gd name="connsiteY1-2882" fmla="*/ 0 h 2436046"/>
              <a:gd name="connsiteX2-2883" fmla="*/ 144750 w 5168654"/>
              <a:gd name="connsiteY2-2884" fmla="*/ 42366 h 2436046"/>
              <a:gd name="connsiteX3-2885" fmla="*/ 158872 w 5168654"/>
              <a:gd name="connsiteY3-2886" fmla="*/ 42366 h 2436046"/>
              <a:gd name="connsiteX4-2887" fmla="*/ 158872 w 5168654"/>
              <a:gd name="connsiteY4-2888" fmla="*/ 81201 h 2436046"/>
              <a:gd name="connsiteX5-2889" fmla="*/ 162403 w 5168654"/>
              <a:gd name="connsiteY5-2890" fmla="*/ 84732 h 2436046"/>
              <a:gd name="connsiteX6-2891" fmla="*/ 162403 w 5168654"/>
              <a:gd name="connsiteY6-2892" fmla="*/ 155342 h 2436046"/>
              <a:gd name="connsiteX7-2893" fmla="*/ 257726 w 5168654"/>
              <a:gd name="connsiteY7-2894" fmla="*/ 155342 h 2436046"/>
              <a:gd name="connsiteX8-2895" fmla="*/ 257726 w 5168654"/>
              <a:gd name="connsiteY8-2896" fmla="*/ 190647 h 2436046"/>
              <a:gd name="connsiteX9-2897" fmla="*/ 268318 w 5168654"/>
              <a:gd name="connsiteY9-2898" fmla="*/ 190647 h 2436046"/>
              <a:gd name="connsiteX10-2899" fmla="*/ 268318 w 5168654"/>
              <a:gd name="connsiteY10-2900" fmla="*/ 211830 h 2436046"/>
              <a:gd name="connsiteX11-2901" fmla="*/ 508392 w 5168654"/>
              <a:gd name="connsiteY11-2902" fmla="*/ 211830 h 2436046"/>
              <a:gd name="connsiteX12-2903" fmla="*/ 508392 w 5168654"/>
              <a:gd name="connsiteY12-2904" fmla="*/ 243604 h 2436046"/>
              <a:gd name="connsiteX13-2905" fmla="*/ 536636 w 5168654"/>
              <a:gd name="connsiteY13-2906" fmla="*/ 243604 h 2436046"/>
              <a:gd name="connsiteX14-2907" fmla="*/ 536636 w 5168654"/>
              <a:gd name="connsiteY14-2908" fmla="*/ 363641 h 2436046"/>
              <a:gd name="connsiteX15-2909" fmla="*/ 554288 w 5168654"/>
              <a:gd name="connsiteY15-2910" fmla="*/ 363641 h 2436046"/>
              <a:gd name="connsiteX16-2911" fmla="*/ 554288 w 5168654"/>
              <a:gd name="connsiteY16-2912" fmla="*/ 423660 h 2436046"/>
              <a:gd name="connsiteX17-2913" fmla="*/ 769649 w 5168654"/>
              <a:gd name="connsiteY17-2914" fmla="*/ 423660 h 2436046"/>
              <a:gd name="connsiteX18-2915" fmla="*/ 769649 w 5168654"/>
              <a:gd name="connsiteY18-2916" fmla="*/ 430721 h 2436046"/>
              <a:gd name="connsiteX19-2917" fmla="*/ 776710 w 5168654"/>
              <a:gd name="connsiteY19-2918" fmla="*/ 437782 h 2436046"/>
              <a:gd name="connsiteX20-2919" fmla="*/ 776710 w 5168654"/>
              <a:gd name="connsiteY20-2920" fmla="*/ 455434 h 2436046"/>
              <a:gd name="connsiteX21-2921" fmla="*/ 794363 w 5168654"/>
              <a:gd name="connsiteY21-2922" fmla="*/ 455434 h 2436046"/>
              <a:gd name="connsiteX22-2923" fmla="*/ 794363 w 5168654"/>
              <a:gd name="connsiteY22-2924" fmla="*/ 497801 h 2436046"/>
              <a:gd name="connsiteX23-2925" fmla="*/ 808485 w 5168654"/>
              <a:gd name="connsiteY23-2926" fmla="*/ 497801 h 2436046"/>
              <a:gd name="connsiteX24-2927" fmla="*/ 808485 w 5168654"/>
              <a:gd name="connsiteY24-2928" fmla="*/ 621368 h 2436046"/>
              <a:gd name="connsiteX25-2929" fmla="*/ 822607 w 5168654"/>
              <a:gd name="connsiteY25-2930" fmla="*/ 621368 h 2436046"/>
              <a:gd name="connsiteX26-2931" fmla="*/ 822607 w 5168654"/>
              <a:gd name="connsiteY26-2932" fmla="*/ 639021 h 2436046"/>
              <a:gd name="connsiteX27-2933" fmla="*/ 1045028 w 5168654"/>
              <a:gd name="connsiteY27-2934" fmla="*/ 639021 h 2436046"/>
              <a:gd name="connsiteX28-2935" fmla="*/ 1045028 w 5168654"/>
              <a:gd name="connsiteY28-2936" fmla="*/ 790832 h 2436046"/>
              <a:gd name="connsiteX29-2937" fmla="*/ 1059150 w 5168654"/>
              <a:gd name="connsiteY29-2938" fmla="*/ 790832 h 2436046"/>
              <a:gd name="connsiteX30-2939" fmla="*/ 1059150 w 5168654"/>
              <a:gd name="connsiteY30-2940" fmla="*/ 889686 h 2436046"/>
              <a:gd name="connsiteX31-2941" fmla="*/ 1083864 w 5168654"/>
              <a:gd name="connsiteY31-2942" fmla="*/ 889686 h 2436046"/>
              <a:gd name="connsiteX32-2943" fmla="*/ 1101516 w 5168654"/>
              <a:gd name="connsiteY32-2944" fmla="*/ 889686 h 2436046"/>
              <a:gd name="connsiteX33-2945" fmla="*/ 1158004 w 5168654"/>
              <a:gd name="connsiteY33-2946" fmla="*/ 889686 h 2436046"/>
              <a:gd name="connsiteX34-2947" fmla="*/ 1158004 w 5168654"/>
              <a:gd name="connsiteY34-2948" fmla="*/ 917930 h 2436046"/>
              <a:gd name="connsiteX35-2949" fmla="*/ 1302755 w 5168654"/>
              <a:gd name="connsiteY35-2950" fmla="*/ 917930 h 2436046"/>
              <a:gd name="connsiteX36-2951" fmla="*/ 1302755 w 5168654"/>
              <a:gd name="connsiteY36-2952" fmla="*/ 942644 h 2436046"/>
              <a:gd name="connsiteX37-2953" fmla="*/ 1313346 w 5168654"/>
              <a:gd name="connsiteY37-2954" fmla="*/ 942644 h 2436046"/>
              <a:gd name="connsiteX38-2955" fmla="*/ 1313346 w 5168654"/>
              <a:gd name="connsiteY38-2956" fmla="*/ 1034437 h 2436046"/>
              <a:gd name="connsiteX39-2957" fmla="*/ 1316877 w 5168654"/>
              <a:gd name="connsiteY39-2958" fmla="*/ 1034437 h 2436046"/>
              <a:gd name="connsiteX40-2959" fmla="*/ 1316877 w 5168654"/>
              <a:gd name="connsiteY40-2960" fmla="*/ 1080333 h 2436046"/>
              <a:gd name="connsiteX41-2961" fmla="*/ 1489871 w 5168654"/>
              <a:gd name="connsiteY41-2962" fmla="*/ 1080333 h 2436046"/>
              <a:gd name="connsiteX42-2963" fmla="*/ 1489871 w 5168654"/>
              <a:gd name="connsiteY42-2964" fmla="*/ 1097986 h 2436046"/>
              <a:gd name="connsiteX43-2965" fmla="*/ 1518115 w 5168654"/>
              <a:gd name="connsiteY43-2966" fmla="*/ 1097986 h 2436046"/>
              <a:gd name="connsiteX44-2967" fmla="*/ 1518115 w 5168654"/>
              <a:gd name="connsiteY44-2968" fmla="*/ 1122699 h 2436046"/>
              <a:gd name="connsiteX45-2969" fmla="*/ 1532237 w 5168654"/>
              <a:gd name="connsiteY45-2970" fmla="*/ 1122699 h 2436046"/>
              <a:gd name="connsiteX46-2971" fmla="*/ 1539298 w 5168654"/>
              <a:gd name="connsiteY46-2972" fmla="*/ 1129760 h 2436046"/>
              <a:gd name="connsiteX47-2973" fmla="*/ 1553420 w 5168654"/>
              <a:gd name="connsiteY47-2974" fmla="*/ 1143882 h 2436046"/>
              <a:gd name="connsiteX48-2975" fmla="*/ 1553420 w 5168654"/>
              <a:gd name="connsiteY48-2976" fmla="*/ 1189779 h 2436046"/>
              <a:gd name="connsiteX49-2977" fmla="*/ 1564012 w 5168654"/>
              <a:gd name="connsiteY49-2978" fmla="*/ 1189779 h 2436046"/>
              <a:gd name="connsiteX50-2979" fmla="*/ 1564012 w 5168654"/>
              <a:gd name="connsiteY50-2980" fmla="*/ 1253328 h 2436046"/>
              <a:gd name="connsiteX51-2981" fmla="*/ 1578134 w 5168654"/>
              <a:gd name="connsiteY51-2982" fmla="*/ 1253328 h 2436046"/>
              <a:gd name="connsiteX52-2983" fmla="*/ 1578134 w 5168654"/>
              <a:gd name="connsiteY52-2984" fmla="*/ 1345121 h 2436046"/>
              <a:gd name="connsiteX53-2985" fmla="*/ 1588726 w 5168654"/>
              <a:gd name="connsiteY53-2986" fmla="*/ 1345121 h 2436046"/>
              <a:gd name="connsiteX54-2987" fmla="*/ 1588726 w 5168654"/>
              <a:gd name="connsiteY54-2988" fmla="*/ 1380426 h 2436046"/>
              <a:gd name="connsiteX55-2989" fmla="*/ 1588726 w 5168654"/>
              <a:gd name="connsiteY55-2990" fmla="*/ 1380426 h 2436046"/>
              <a:gd name="connsiteX56-2991" fmla="*/ 1627561 w 5168654"/>
              <a:gd name="connsiteY56-2992" fmla="*/ 1380426 h 2436046"/>
              <a:gd name="connsiteX57-2993" fmla="*/ 1797025 w 5168654"/>
              <a:gd name="connsiteY57-2994" fmla="*/ 1380426 h 2436046"/>
              <a:gd name="connsiteX58-2995" fmla="*/ 1797025 w 5168654"/>
              <a:gd name="connsiteY58-2996" fmla="*/ 1472219 h 2436046"/>
              <a:gd name="connsiteX59-2997" fmla="*/ 1828800 w 5168654"/>
              <a:gd name="connsiteY59-2998" fmla="*/ 1472219 h 2436046"/>
              <a:gd name="connsiteX60-2999" fmla="*/ 1828800 w 5168654"/>
              <a:gd name="connsiteY60-3000" fmla="*/ 1489872 h 2436046"/>
              <a:gd name="connsiteX61-3001" fmla="*/ 1828800 w 5168654"/>
              <a:gd name="connsiteY61-3002" fmla="*/ 1503994 h 2436046"/>
              <a:gd name="connsiteX62-3003" fmla="*/ 1846452 w 5168654"/>
              <a:gd name="connsiteY62-3004" fmla="*/ 1503994 h 2436046"/>
              <a:gd name="connsiteX63-3005" fmla="*/ 1846452 w 5168654"/>
              <a:gd name="connsiteY63-3006" fmla="*/ 1564012 h 2436046"/>
              <a:gd name="connsiteX64-3007" fmla="*/ 1878227 w 5168654"/>
              <a:gd name="connsiteY64-3008" fmla="*/ 1564012 h 2436046"/>
              <a:gd name="connsiteX65-3009" fmla="*/ 1878227 w 5168654"/>
              <a:gd name="connsiteY65-3010" fmla="*/ 1595787 h 2436046"/>
              <a:gd name="connsiteX66-3011" fmla="*/ 2072404 w 5168654"/>
              <a:gd name="connsiteY66-3012" fmla="*/ 1595787 h 2436046"/>
              <a:gd name="connsiteX67-3013" fmla="*/ 2072404 w 5168654"/>
              <a:gd name="connsiteY67-3014" fmla="*/ 1673458 h 2436046"/>
              <a:gd name="connsiteX68-3015" fmla="*/ 2093587 w 5168654"/>
              <a:gd name="connsiteY68-3016" fmla="*/ 1673458 h 2436046"/>
              <a:gd name="connsiteX69-3017" fmla="*/ 2093587 w 5168654"/>
              <a:gd name="connsiteY69-3018" fmla="*/ 1684049 h 2436046"/>
              <a:gd name="connsiteX70-3019" fmla="*/ 2097118 w 5168654"/>
              <a:gd name="connsiteY70-3020" fmla="*/ 1684049 h 2436046"/>
              <a:gd name="connsiteX71-3021" fmla="*/ 2097118 w 5168654"/>
              <a:gd name="connsiteY71-3022" fmla="*/ 1701702 h 2436046"/>
              <a:gd name="connsiteX72-3023" fmla="*/ 2111240 w 5168654"/>
              <a:gd name="connsiteY72-3024" fmla="*/ 1701702 h 2436046"/>
              <a:gd name="connsiteX73-3025" fmla="*/ 2114770 w 5168654"/>
              <a:gd name="connsiteY73-3026" fmla="*/ 1722885 h 2436046"/>
              <a:gd name="connsiteX74-3027" fmla="*/ 2418393 w 5168654"/>
              <a:gd name="connsiteY74-3028" fmla="*/ 1701702 h 2436046"/>
              <a:gd name="connsiteX75-3029" fmla="*/ 2418393 w 5168654"/>
              <a:gd name="connsiteY75-3030" fmla="*/ 1744068 h 2436046"/>
              <a:gd name="connsiteX76-3031" fmla="*/ 2418393 w 5168654"/>
              <a:gd name="connsiteY76-3032" fmla="*/ 1744068 h 2436046"/>
              <a:gd name="connsiteX77-3033" fmla="*/ 2446637 w 5168654"/>
              <a:gd name="connsiteY77-3034" fmla="*/ 1772312 h 2436046"/>
              <a:gd name="connsiteX78-3035" fmla="*/ 2460759 w 5168654"/>
              <a:gd name="connsiteY78-3036" fmla="*/ 1772312 h 2436046"/>
              <a:gd name="connsiteX79-3037" fmla="*/ 2460759 w 5168654"/>
              <a:gd name="connsiteY79-3038" fmla="*/ 1821739 h 2436046"/>
              <a:gd name="connsiteX80-3039" fmla="*/ 2478412 w 5168654"/>
              <a:gd name="connsiteY80-3040" fmla="*/ 1821739 h 2436046"/>
              <a:gd name="connsiteX81-3041" fmla="*/ 2478412 w 5168654"/>
              <a:gd name="connsiteY81-3042" fmla="*/ 1920593 h 2436046"/>
              <a:gd name="connsiteX82-3043" fmla="*/ 2633754 w 5168654"/>
              <a:gd name="connsiteY82-3044" fmla="*/ 1920593 h 2436046"/>
              <a:gd name="connsiteX83-3045" fmla="*/ 2633754 w 5168654"/>
              <a:gd name="connsiteY83-3046" fmla="*/ 1941776 h 2436046"/>
              <a:gd name="connsiteX84-3047" fmla="*/ 2732608 w 5168654"/>
              <a:gd name="connsiteY84-3048" fmla="*/ 1941776 h 2436046"/>
              <a:gd name="connsiteX85-3049" fmla="*/ 2771443 w 5168654"/>
              <a:gd name="connsiteY85-3050" fmla="*/ 1980611 h 2436046"/>
              <a:gd name="connsiteX86-3051" fmla="*/ 2782035 w 5168654"/>
              <a:gd name="connsiteY86-3052" fmla="*/ 1991203 h 2436046"/>
              <a:gd name="connsiteX87-3053" fmla="*/ 2838523 w 5168654"/>
              <a:gd name="connsiteY87-3054" fmla="*/ 1991203 h 2436046"/>
              <a:gd name="connsiteX88-3055" fmla="*/ 2838523 w 5168654"/>
              <a:gd name="connsiteY88-3056" fmla="*/ 2019447 h 2436046"/>
              <a:gd name="connsiteX89-3057" fmla="*/ 2852645 w 5168654"/>
              <a:gd name="connsiteY89-3058" fmla="*/ 2019447 h 2436046"/>
              <a:gd name="connsiteX90-3059" fmla="*/ 2852645 w 5168654"/>
              <a:gd name="connsiteY90-3060" fmla="*/ 2075935 h 2436046"/>
              <a:gd name="connsiteX91-3061" fmla="*/ 3219817 w 5168654"/>
              <a:gd name="connsiteY91-3062" fmla="*/ 2075934 h 2436046"/>
              <a:gd name="connsiteX92-3063" fmla="*/ 3205695 w 5168654"/>
              <a:gd name="connsiteY92-3064" fmla="*/ 2107709 h 2436046"/>
              <a:gd name="connsiteX93-3065" fmla="*/ 3237470 w 5168654"/>
              <a:gd name="connsiteY93-3066" fmla="*/ 2118300 h 2436046"/>
              <a:gd name="connsiteX94-3067" fmla="*/ 3230409 w 5168654"/>
              <a:gd name="connsiteY94-3068" fmla="*/ 2181850 h 2436046"/>
              <a:gd name="connsiteX95-3069" fmla="*/ 3438709 w 5168654"/>
              <a:gd name="connsiteY95-3070" fmla="*/ 2181850 h 2436046"/>
              <a:gd name="connsiteX96-3071" fmla="*/ 3438709 w 5168654"/>
              <a:gd name="connsiteY96-3072" fmla="*/ 2199502 h 2436046"/>
              <a:gd name="connsiteX97-3073" fmla="*/ 3565807 w 5168654"/>
              <a:gd name="connsiteY97-3074" fmla="*/ 2199502 h 2436046"/>
              <a:gd name="connsiteX98-3075" fmla="*/ 3565807 w 5168654"/>
              <a:gd name="connsiteY98-3076" fmla="*/ 2227746 h 2436046"/>
              <a:gd name="connsiteX99-3077" fmla="*/ 3618764 w 5168654"/>
              <a:gd name="connsiteY99-3078" fmla="*/ 2227746 h 2436046"/>
              <a:gd name="connsiteX100-3079" fmla="*/ 3618764 w 5168654"/>
              <a:gd name="connsiteY100-3080" fmla="*/ 2252460 h 2436046"/>
              <a:gd name="connsiteX101-3081" fmla="*/ 3890613 w 5168654"/>
              <a:gd name="connsiteY101-3082" fmla="*/ 2252460 h 2436046"/>
              <a:gd name="connsiteX102-3083" fmla="*/ 3890613 w 5168654"/>
              <a:gd name="connsiteY102-3084" fmla="*/ 2287765 h 2436046"/>
              <a:gd name="connsiteX103-3085" fmla="*/ 3975345 w 5168654"/>
              <a:gd name="connsiteY103-3086" fmla="*/ 2287765 h 2436046"/>
              <a:gd name="connsiteX104-3087" fmla="*/ 3975345 w 5168654"/>
              <a:gd name="connsiteY104-3088" fmla="*/ 2316009 h 2436046"/>
              <a:gd name="connsiteX105-3089" fmla="*/ 4007119 w 5168654"/>
              <a:gd name="connsiteY105-3090" fmla="*/ 2316009 h 2436046"/>
              <a:gd name="connsiteX106-3091" fmla="*/ 4007119 w 5168654"/>
              <a:gd name="connsiteY106-3092" fmla="*/ 2368967 h 2436046"/>
              <a:gd name="connsiteX107-3093" fmla="*/ 4614366 w 5168654"/>
              <a:gd name="connsiteY107-3094" fmla="*/ 2368967 h 2436046"/>
              <a:gd name="connsiteX108-3095" fmla="*/ 4614366 w 5168654"/>
              <a:gd name="connsiteY108-3096" fmla="*/ 2436046 h 2436046"/>
              <a:gd name="connsiteX109-3097" fmla="*/ 5168654 w 5168654"/>
              <a:gd name="connsiteY109-3098" fmla="*/ 2436046 h 2436046"/>
              <a:gd name="connsiteX0-3099" fmla="*/ 0 w 5168654"/>
              <a:gd name="connsiteY0-3100" fmla="*/ 0 h 2436046"/>
              <a:gd name="connsiteX1-3101" fmla="*/ 144750 w 5168654"/>
              <a:gd name="connsiteY1-3102" fmla="*/ 0 h 2436046"/>
              <a:gd name="connsiteX2-3103" fmla="*/ 144750 w 5168654"/>
              <a:gd name="connsiteY2-3104" fmla="*/ 42366 h 2436046"/>
              <a:gd name="connsiteX3-3105" fmla="*/ 158872 w 5168654"/>
              <a:gd name="connsiteY3-3106" fmla="*/ 42366 h 2436046"/>
              <a:gd name="connsiteX4-3107" fmla="*/ 158872 w 5168654"/>
              <a:gd name="connsiteY4-3108" fmla="*/ 81201 h 2436046"/>
              <a:gd name="connsiteX5-3109" fmla="*/ 162403 w 5168654"/>
              <a:gd name="connsiteY5-3110" fmla="*/ 84732 h 2436046"/>
              <a:gd name="connsiteX6-3111" fmla="*/ 162403 w 5168654"/>
              <a:gd name="connsiteY6-3112" fmla="*/ 155342 h 2436046"/>
              <a:gd name="connsiteX7-3113" fmla="*/ 257726 w 5168654"/>
              <a:gd name="connsiteY7-3114" fmla="*/ 155342 h 2436046"/>
              <a:gd name="connsiteX8-3115" fmla="*/ 257726 w 5168654"/>
              <a:gd name="connsiteY8-3116" fmla="*/ 190647 h 2436046"/>
              <a:gd name="connsiteX9-3117" fmla="*/ 268318 w 5168654"/>
              <a:gd name="connsiteY9-3118" fmla="*/ 190647 h 2436046"/>
              <a:gd name="connsiteX10-3119" fmla="*/ 268318 w 5168654"/>
              <a:gd name="connsiteY10-3120" fmla="*/ 211830 h 2436046"/>
              <a:gd name="connsiteX11-3121" fmla="*/ 508392 w 5168654"/>
              <a:gd name="connsiteY11-3122" fmla="*/ 211830 h 2436046"/>
              <a:gd name="connsiteX12-3123" fmla="*/ 508392 w 5168654"/>
              <a:gd name="connsiteY12-3124" fmla="*/ 243604 h 2436046"/>
              <a:gd name="connsiteX13-3125" fmla="*/ 536636 w 5168654"/>
              <a:gd name="connsiteY13-3126" fmla="*/ 243604 h 2436046"/>
              <a:gd name="connsiteX14-3127" fmla="*/ 536636 w 5168654"/>
              <a:gd name="connsiteY14-3128" fmla="*/ 363641 h 2436046"/>
              <a:gd name="connsiteX15-3129" fmla="*/ 554288 w 5168654"/>
              <a:gd name="connsiteY15-3130" fmla="*/ 363641 h 2436046"/>
              <a:gd name="connsiteX16-3131" fmla="*/ 554288 w 5168654"/>
              <a:gd name="connsiteY16-3132" fmla="*/ 423660 h 2436046"/>
              <a:gd name="connsiteX17-3133" fmla="*/ 769649 w 5168654"/>
              <a:gd name="connsiteY17-3134" fmla="*/ 423660 h 2436046"/>
              <a:gd name="connsiteX18-3135" fmla="*/ 769649 w 5168654"/>
              <a:gd name="connsiteY18-3136" fmla="*/ 430721 h 2436046"/>
              <a:gd name="connsiteX19-3137" fmla="*/ 776710 w 5168654"/>
              <a:gd name="connsiteY19-3138" fmla="*/ 437782 h 2436046"/>
              <a:gd name="connsiteX20-3139" fmla="*/ 776710 w 5168654"/>
              <a:gd name="connsiteY20-3140" fmla="*/ 455434 h 2436046"/>
              <a:gd name="connsiteX21-3141" fmla="*/ 794363 w 5168654"/>
              <a:gd name="connsiteY21-3142" fmla="*/ 455434 h 2436046"/>
              <a:gd name="connsiteX22-3143" fmla="*/ 794363 w 5168654"/>
              <a:gd name="connsiteY22-3144" fmla="*/ 497801 h 2436046"/>
              <a:gd name="connsiteX23-3145" fmla="*/ 808485 w 5168654"/>
              <a:gd name="connsiteY23-3146" fmla="*/ 497801 h 2436046"/>
              <a:gd name="connsiteX24-3147" fmla="*/ 808485 w 5168654"/>
              <a:gd name="connsiteY24-3148" fmla="*/ 621368 h 2436046"/>
              <a:gd name="connsiteX25-3149" fmla="*/ 822607 w 5168654"/>
              <a:gd name="connsiteY25-3150" fmla="*/ 621368 h 2436046"/>
              <a:gd name="connsiteX26-3151" fmla="*/ 822607 w 5168654"/>
              <a:gd name="connsiteY26-3152" fmla="*/ 639021 h 2436046"/>
              <a:gd name="connsiteX27-3153" fmla="*/ 1045028 w 5168654"/>
              <a:gd name="connsiteY27-3154" fmla="*/ 639021 h 2436046"/>
              <a:gd name="connsiteX28-3155" fmla="*/ 1045028 w 5168654"/>
              <a:gd name="connsiteY28-3156" fmla="*/ 790832 h 2436046"/>
              <a:gd name="connsiteX29-3157" fmla="*/ 1059150 w 5168654"/>
              <a:gd name="connsiteY29-3158" fmla="*/ 790832 h 2436046"/>
              <a:gd name="connsiteX30-3159" fmla="*/ 1059150 w 5168654"/>
              <a:gd name="connsiteY30-3160" fmla="*/ 889686 h 2436046"/>
              <a:gd name="connsiteX31-3161" fmla="*/ 1083864 w 5168654"/>
              <a:gd name="connsiteY31-3162" fmla="*/ 889686 h 2436046"/>
              <a:gd name="connsiteX32-3163" fmla="*/ 1101516 w 5168654"/>
              <a:gd name="connsiteY32-3164" fmla="*/ 889686 h 2436046"/>
              <a:gd name="connsiteX33-3165" fmla="*/ 1158004 w 5168654"/>
              <a:gd name="connsiteY33-3166" fmla="*/ 889686 h 2436046"/>
              <a:gd name="connsiteX34-3167" fmla="*/ 1158004 w 5168654"/>
              <a:gd name="connsiteY34-3168" fmla="*/ 917930 h 2436046"/>
              <a:gd name="connsiteX35-3169" fmla="*/ 1302755 w 5168654"/>
              <a:gd name="connsiteY35-3170" fmla="*/ 917930 h 2436046"/>
              <a:gd name="connsiteX36-3171" fmla="*/ 1302755 w 5168654"/>
              <a:gd name="connsiteY36-3172" fmla="*/ 942644 h 2436046"/>
              <a:gd name="connsiteX37-3173" fmla="*/ 1313346 w 5168654"/>
              <a:gd name="connsiteY37-3174" fmla="*/ 942644 h 2436046"/>
              <a:gd name="connsiteX38-3175" fmla="*/ 1313346 w 5168654"/>
              <a:gd name="connsiteY38-3176" fmla="*/ 1034437 h 2436046"/>
              <a:gd name="connsiteX39-3177" fmla="*/ 1316877 w 5168654"/>
              <a:gd name="connsiteY39-3178" fmla="*/ 1034437 h 2436046"/>
              <a:gd name="connsiteX40-3179" fmla="*/ 1316877 w 5168654"/>
              <a:gd name="connsiteY40-3180" fmla="*/ 1080333 h 2436046"/>
              <a:gd name="connsiteX41-3181" fmla="*/ 1489871 w 5168654"/>
              <a:gd name="connsiteY41-3182" fmla="*/ 1080333 h 2436046"/>
              <a:gd name="connsiteX42-3183" fmla="*/ 1489871 w 5168654"/>
              <a:gd name="connsiteY42-3184" fmla="*/ 1097986 h 2436046"/>
              <a:gd name="connsiteX43-3185" fmla="*/ 1518115 w 5168654"/>
              <a:gd name="connsiteY43-3186" fmla="*/ 1097986 h 2436046"/>
              <a:gd name="connsiteX44-3187" fmla="*/ 1518115 w 5168654"/>
              <a:gd name="connsiteY44-3188" fmla="*/ 1122699 h 2436046"/>
              <a:gd name="connsiteX45-3189" fmla="*/ 1532237 w 5168654"/>
              <a:gd name="connsiteY45-3190" fmla="*/ 1122699 h 2436046"/>
              <a:gd name="connsiteX46-3191" fmla="*/ 1539298 w 5168654"/>
              <a:gd name="connsiteY46-3192" fmla="*/ 1129760 h 2436046"/>
              <a:gd name="connsiteX47-3193" fmla="*/ 1553420 w 5168654"/>
              <a:gd name="connsiteY47-3194" fmla="*/ 1143882 h 2436046"/>
              <a:gd name="connsiteX48-3195" fmla="*/ 1553420 w 5168654"/>
              <a:gd name="connsiteY48-3196" fmla="*/ 1189779 h 2436046"/>
              <a:gd name="connsiteX49-3197" fmla="*/ 1564012 w 5168654"/>
              <a:gd name="connsiteY49-3198" fmla="*/ 1189779 h 2436046"/>
              <a:gd name="connsiteX50-3199" fmla="*/ 1564012 w 5168654"/>
              <a:gd name="connsiteY50-3200" fmla="*/ 1253328 h 2436046"/>
              <a:gd name="connsiteX51-3201" fmla="*/ 1578134 w 5168654"/>
              <a:gd name="connsiteY51-3202" fmla="*/ 1253328 h 2436046"/>
              <a:gd name="connsiteX52-3203" fmla="*/ 1578134 w 5168654"/>
              <a:gd name="connsiteY52-3204" fmla="*/ 1345121 h 2436046"/>
              <a:gd name="connsiteX53-3205" fmla="*/ 1588726 w 5168654"/>
              <a:gd name="connsiteY53-3206" fmla="*/ 1345121 h 2436046"/>
              <a:gd name="connsiteX54-3207" fmla="*/ 1588726 w 5168654"/>
              <a:gd name="connsiteY54-3208" fmla="*/ 1380426 h 2436046"/>
              <a:gd name="connsiteX55-3209" fmla="*/ 1588726 w 5168654"/>
              <a:gd name="connsiteY55-3210" fmla="*/ 1380426 h 2436046"/>
              <a:gd name="connsiteX56-3211" fmla="*/ 1627561 w 5168654"/>
              <a:gd name="connsiteY56-3212" fmla="*/ 1380426 h 2436046"/>
              <a:gd name="connsiteX57-3213" fmla="*/ 1797025 w 5168654"/>
              <a:gd name="connsiteY57-3214" fmla="*/ 1380426 h 2436046"/>
              <a:gd name="connsiteX58-3215" fmla="*/ 1797025 w 5168654"/>
              <a:gd name="connsiteY58-3216" fmla="*/ 1472219 h 2436046"/>
              <a:gd name="connsiteX59-3217" fmla="*/ 1828800 w 5168654"/>
              <a:gd name="connsiteY59-3218" fmla="*/ 1472219 h 2436046"/>
              <a:gd name="connsiteX60-3219" fmla="*/ 1828800 w 5168654"/>
              <a:gd name="connsiteY60-3220" fmla="*/ 1489872 h 2436046"/>
              <a:gd name="connsiteX61-3221" fmla="*/ 1828800 w 5168654"/>
              <a:gd name="connsiteY61-3222" fmla="*/ 1503994 h 2436046"/>
              <a:gd name="connsiteX62-3223" fmla="*/ 1846452 w 5168654"/>
              <a:gd name="connsiteY62-3224" fmla="*/ 1503994 h 2436046"/>
              <a:gd name="connsiteX63-3225" fmla="*/ 1846452 w 5168654"/>
              <a:gd name="connsiteY63-3226" fmla="*/ 1564012 h 2436046"/>
              <a:gd name="connsiteX64-3227" fmla="*/ 1878227 w 5168654"/>
              <a:gd name="connsiteY64-3228" fmla="*/ 1564012 h 2436046"/>
              <a:gd name="connsiteX65-3229" fmla="*/ 1878227 w 5168654"/>
              <a:gd name="connsiteY65-3230" fmla="*/ 1595787 h 2436046"/>
              <a:gd name="connsiteX66-3231" fmla="*/ 2072404 w 5168654"/>
              <a:gd name="connsiteY66-3232" fmla="*/ 1595787 h 2436046"/>
              <a:gd name="connsiteX67-3233" fmla="*/ 2072404 w 5168654"/>
              <a:gd name="connsiteY67-3234" fmla="*/ 1673458 h 2436046"/>
              <a:gd name="connsiteX68-3235" fmla="*/ 2093587 w 5168654"/>
              <a:gd name="connsiteY68-3236" fmla="*/ 1673458 h 2436046"/>
              <a:gd name="connsiteX69-3237" fmla="*/ 2093587 w 5168654"/>
              <a:gd name="connsiteY69-3238" fmla="*/ 1684049 h 2436046"/>
              <a:gd name="connsiteX70-3239" fmla="*/ 2097118 w 5168654"/>
              <a:gd name="connsiteY70-3240" fmla="*/ 1684049 h 2436046"/>
              <a:gd name="connsiteX71-3241" fmla="*/ 2097118 w 5168654"/>
              <a:gd name="connsiteY71-3242" fmla="*/ 1701702 h 2436046"/>
              <a:gd name="connsiteX72-3243" fmla="*/ 2111240 w 5168654"/>
              <a:gd name="connsiteY72-3244" fmla="*/ 1701702 h 2436046"/>
              <a:gd name="connsiteX73-3245" fmla="*/ 2114770 w 5168654"/>
              <a:gd name="connsiteY73-3246" fmla="*/ 1722885 h 2436046"/>
              <a:gd name="connsiteX74-3247" fmla="*/ 2421923 w 5168654"/>
              <a:gd name="connsiteY74-3248" fmla="*/ 1722885 h 2436046"/>
              <a:gd name="connsiteX75-3249" fmla="*/ 2418393 w 5168654"/>
              <a:gd name="connsiteY75-3250" fmla="*/ 1744068 h 2436046"/>
              <a:gd name="connsiteX76-3251" fmla="*/ 2418393 w 5168654"/>
              <a:gd name="connsiteY76-3252" fmla="*/ 1744068 h 2436046"/>
              <a:gd name="connsiteX77-3253" fmla="*/ 2446637 w 5168654"/>
              <a:gd name="connsiteY77-3254" fmla="*/ 1772312 h 2436046"/>
              <a:gd name="connsiteX78-3255" fmla="*/ 2460759 w 5168654"/>
              <a:gd name="connsiteY78-3256" fmla="*/ 1772312 h 2436046"/>
              <a:gd name="connsiteX79-3257" fmla="*/ 2460759 w 5168654"/>
              <a:gd name="connsiteY79-3258" fmla="*/ 1821739 h 2436046"/>
              <a:gd name="connsiteX80-3259" fmla="*/ 2478412 w 5168654"/>
              <a:gd name="connsiteY80-3260" fmla="*/ 1821739 h 2436046"/>
              <a:gd name="connsiteX81-3261" fmla="*/ 2478412 w 5168654"/>
              <a:gd name="connsiteY81-3262" fmla="*/ 1920593 h 2436046"/>
              <a:gd name="connsiteX82-3263" fmla="*/ 2633754 w 5168654"/>
              <a:gd name="connsiteY82-3264" fmla="*/ 1920593 h 2436046"/>
              <a:gd name="connsiteX83-3265" fmla="*/ 2633754 w 5168654"/>
              <a:gd name="connsiteY83-3266" fmla="*/ 1941776 h 2436046"/>
              <a:gd name="connsiteX84-3267" fmla="*/ 2732608 w 5168654"/>
              <a:gd name="connsiteY84-3268" fmla="*/ 1941776 h 2436046"/>
              <a:gd name="connsiteX85-3269" fmla="*/ 2771443 w 5168654"/>
              <a:gd name="connsiteY85-3270" fmla="*/ 1980611 h 2436046"/>
              <a:gd name="connsiteX86-3271" fmla="*/ 2782035 w 5168654"/>
              <a:gd name="connsiteY86-3272" fmla="*/ 1991203 h 2436046"/>
              <a:gd name="connsiteX87-3273" fmla="*/ 2838523 w 5168654"/>
              <a:gd name="connsiteY87-3274" fmla="*/ 1991203 h 2436046"/>
              <a:gd name="connsiteX88-3275" fmla="*/ 2838523 w 5168654"/>
              <a:gd name="connsiteY88-3276" fmla="*/ 2019447 h 2436046"/>
              <a:gd name="connsiteX89-3277" fmla="*/ 2852645 w 5168654"/>
              <a:gd name="connsiteY89-3278" fmla="*/ 2019447 h 2436046"/>
              <a:gd name="connsiteX90-3279" fmla="*/ 2852645 w 5168654"/>
              <a:gd name="connsiteY90-3280" fmla="*/ 2075935 h 2436046"/>
              <a:gd name="connsiteX91-3281" fmla="*/ 3219817 w 5168654"/>
              <a:gd name="connsiteY91-3282" fmla="*/ 2075934 h 2436046"/>
              <a:gd name="connsiteX92-3283" fmla="*/ 3205695 w 5168654"/>
              <a:gd name="connsiteY92-3284" fmla="*/ 2107709 h 2436046"/>
              <a:gd name="connsiteX93-3285" fmla="*/ 3237470 w 5168654"/>
              <a:gd name="connsiteY93-3286" fmla="*/ 2118300 h 2436046"/>
              <a:gd name="connsiteX94-3287" fmla="*/ 3230409 w 5168654"/>
              <a:gd name="connsiteY94-3288" fmla="*/ 2181850 h 2436046"/>
              <a:gd name="connsiteX95-3289" fmla="*/ 3438709 w 5168654"/>
              <a:gd name="connsiteY95-3290" fmla="*/ 2181850 h 2436046"/>
              <a:gd name="connsiteX96-3291" fmla="*/ 3438709 w 5168654"/>
              <a:gd name="connsiteY96-3292" fmla="*/ 2199502 h 2436046"/>
              <a:gd name="connsiteX97-3293" fmla="*/ 3565807 w 5168654"/>
              <a:gd name="connsiteY97-3294" fmla="*/ 2199502 h 2436046"/>
              <a:gd name="connsiteX98-3295" fmla="*/ 3565807 w 5168654"/>
              <a:gd name="connsiteY98-3296" fmla="*/ 2227746 h 2436046"/>
              <a:gd name="connsiteX99-3297" fmla="*/ 3618764 w 5168654"/>
              <a:gd name="connsiteY99-3298" fmla="*/ 2227746 h 2436046"/>
              <a:gd name="connsiteX100-3299" fmla="*/ 3618764 w 5168654"/>
              <a:gd name="connsiteY100-3300" fmla="*/ 2252460 h 2436046"/>
              <a:gd name="connsiteX101-3301" fmla="*/ 3890613 w 5168654"/>
              <a:gd name="connsiteY101-3302" fmla="*/ 2252460 h 2436046"/>
              <a:gd name="connsiteX102-3303" fmla="*/ 3890613 w 5168654"/>
              <a:gd name="connsiteY102-3304" fmla="*/ 2287765 h 2436046"/>
              <a:gd name="connsiteX103-3305" fmla="*/ 3975345 w 5168654"/>
              <a:gd name="connsiteY103-3306" fmla="*/ 2287765 h 2436046"/>
              <a:gd name="connsiteX104-3307" fmla="*/ 3975345 w 5168654"/>
              <a:gd name="connsiteY104-3308" fmla="*/ 2316009 h 2436046"/>
              <a:gd name="connsiteX105-3309" fmla="*/ 4007119 w 5168654"/>
              <a:gd name="connsiteY105-3310" fmla="*/ 2316009 h 2436046"/>
              <a:gd name="connsiteX106-3311" fmla="*/ 4007119 w 5168654"/>
              <a:gd name="connsiteY106-3312" fmla="*/ 2368967 h 2436046"/>
              <a:gd name="connsiteX107-3313" fmla="*/ 4614366 w 5168654"/>
              <a:gd name="connsiteY107-3314" fmla="*/ 2368967 h 2436046"/>
              <a:gd name="connsiteX108-3315" fmla="*/ 4614366 w 5168654"/>
              <a:gd name="connsiteY108-3316" fmla="*/ 2436046 h 2436046"/>
              <a:gd name="connsiteX109-3317" fmla="*/ 5168654 w 5168654"/>
              <a:gd name="connsiteY109-3318" fmla="*/ 2436046 h 2436046"/>
              <a:gd name="connsiteX0-3319" fmla="*/ 0 w 5168654"/>
              <a:gd name="connsiteY0-3320" fmla="*/ 0 h 2436046"/>
              <a:gd name="connsiteX1-3321" fmla="*/ 144750 w 5168654"/>
              <a:gd name="connsiteY1-3322" fmla="*/ 0 h 2436046"/>
              <a:gd name="connsiteX2-3323" fmla="*/ 144750 w 5168654"/>
              <a:gd name="connsiteY2-3324" fmla="*/ 42366 h 2436046"/>
              <a:gd name="connsiteX3-3325" fmla="*/ 158872 w 5168654"/>
              <a:gd name="connsiteY3-3326" fmla="*/ 42366 h 2436046"/>
              <a:gd name="connsiteX4-3327" fmla="*/ 158872 w 5168654"/>
              <a:gd name="connsiteY4-3328" fmla="*/ 81201 h 2436046"/>
              <a:gd name="connsiteX5-3329" fmla="*/ 162403 w 5168654"/>
              <a:gd name="connsiteY5-3330" fmla="*/ 84732 h 2436046"/>
              <a:gd name="connsiteX6-3331" fmla="*/ 162403 w 5168654"/>
              <a:gd name="connsiteY6-3332" fmla="*/ 155342 h 2436046"/>
              <a:gd name="connsiteX7-3333" fmla="*/ 257726 w 5168654"/>
              <a:gd name="connsiteY7-3334" fmla="*/ 155342 h 2436046"/>
              <a:gd name="connsiteX8-3335" fmla="*/ 257726 w 5168654"/>
              <a:gd name="connsiteY8-3336" fmla="*/ 190647 h 2436046"/>
              <a:gd name="connsiteX9-3337" fmla="*/ 268318 w 5168654"/>
              <a:gd name="connsiteY9-3338" fmla="*/ 190647 h 2436046"/>
              <a:gd name="connsiteX10-3339" fmla="*/ 268318 w 5168654"/>
              <a:gd name="connsiteY10-3340" fmla="*/ 211830 h 2436046"/>
              <a:gd name="connsiteX11-3341" fmla="*/ 508392 w 5168654"/>
              <a:gd name="connsiteY11-3342" fmla="*/ 211830 h 2436046"/>
              <a:gd name="connsiteX12-3343" fmla="*/ 508392 w 5168654"/>
              <a:gd name="connsiteY12-3344" fmla="*/ 243604 h 2436046"/>
              <a:gd name="connsiteX13-3345" fmla="*/ 536636 w 5168654"/>
              <a:gd name="connsiteY13-3346" fmla="*/ 243604 h 2436046"/>
              <a:gd name="connsiteX14-3347" fmla="*/ 536636 w 5168654"/>
              <a:gd name="connsiteY14-3348" fmla="*/ 363641 h 2436046"/>
              <a:gd name="connsiteX15-3349" fmla="*/ 554288 w 5168654"/>
              <a:gd name="connsiteY15-3350" fmla="*/ 363641 h 2436046"/>
              <a:gd name="connsiteX16-3351" fmla="*/ 554288 w 5168654"/>
              <a:gd name="connsiteY16-3352" fmla="*/ 423660 h 2436046"/>
              <a:gd name="connsiteX17-3353" fmla="*/ 769649 w 5168654"/>
              <a:gd name="connsiteY17-3354" fmla="*/ 423660 h 2436046"/>
              <a:gd name="connsiteX18-3355" fmla="*/ 769649 w 5168654"/>
              <a:gd name="connsiteY18-3356" fmla="*/ 430721 h 2436046"/>
              <a:gd name="connsiteX19-3357" fmla="*/ 776710 w 5168654"/>
              <a:gd name="connsiteY19-3358" fmla="*/ 437782 h 2436046"/>
              <a:gd name="connsiteX20-3359" fmla="*/ 776710 w 5168654"/>
              <a:gd name="connsiteY20-3360" fmla="*/ 455434 h 2436046"/>
              <a:gd name="connsiteX21-3361" fmla="*/ 794363 w 5168654"/>
              <a:gd name="connsiteY21-3362" fmla="*/ 455434 h 2436046"/>
              <a:gd name="connsiteX22-3363" fmla="*/ 794363 w 5168654"/>
              <a:gd name="connsiteY22-3364" fmla="*/ 497801 h 2436046"/>
              <a:gd name="connsiteX23-3365" fmla="*/ 808485 w 5168654"/>
              <a:gd name="connsiteY23-3366" fmla="*/ 497801 h 2436046"/>
              <a:gd name="connsiteX24-3367" fmla="*/ 808485 w 5168654"/>
              <a:gd name="connsiteY24-3368" fmla="*/ 621368 h 2436046"/>
              <a:gd name="connsiteX25-3369" fmla="*/ 822607 w 5168654"/>
              <a:gd name="connsiteY25-3370" fmla="*/ 621368 h 2436046"/>
              <a:gd name="connsiteX26-3371" fmla="*/ 822607 w 5168654"/>
              <a:gd name="connsiteY26-3372" fmla="*/ 639021 h 2436046"/>
              <a:gd name="connsiteX27-3373" fmla="*/ 1045028 w 5168654"/>
              <a:gd name="connsiteY27-3374" fmla="*/ 639021 h 2436046"/>
              <a:gd name="connsiteX28-3375" fmla="*/ 1045028 w 5168654"/>
              <a:gd name="connsiteY28-3376" fmla="*/ 790832 h 2436046"/>
              <a:gd name="connsiteX29-3377" fmla="*/ 1059150 w 5168654"/>
              <a:gd name="connsiteY29-3378" fmla="*/ 790832 h 2436046"/>
              <a:gd name="connsiteX30-3379" fmla="*/ 1059150 w 5168654"/>
              <a:gd name="connsiteY30-3380" fmla="*/ 889686 h 2436046"/>
              <a:gd name="connsiteX31-3381" fmla="*/ 1083864 w 5168654"/>
              <a:gd name="connsiteY31-3382" fmla="*/ 889686 h 2436046"/>
              <a:gd name="connsiteX32-3383" fmla="*/ 1101516 w 5168654"/>
              <a:gd name="connsiteY32-3384" fmla="*/ 889686 h 2436046"/>
              <a:gd name="connsiteX33-3385" fmla="*/ 1158004 w 5168654"/>
              <a:gd name="connsiteY33-3386" fmla="*/ 889686 h 2436046"/>
              <a:gd name="connsiteX34-3387" fmla="*/ 1158004 w 5168654"/>
              <a:gd name="connsiteY34-3388" fmla="*/ 917930 h 2436046"/>
              <a:gd name="connsiteX35-3389" fmla="*/ 1302755 w 5168654"/>
              <a:gd name="connsiteY35-3390" fmla="*/ 917930 h 2436046"/>
              <a:gd name="connsiteX36-3391" fmla="*/ 1302755 w 5168654"/>
              <a:gd name="connsiteY36-3392" fmla="*/ 942644 h 2436046"/>
              <a:gd name="connsiteX37-3393" fmla="*/ 1313346 w 5168654"/>
              <a:gd name="connsiteY37-3394" fmla="*/ 942644 h 2436046"/>
              <a:gd name="connsiteX38-3395" fmla="*/ 1313346 w 5168654"/>
              <a:gd name="connsiteY38-3396" fmla="*/ 1034437 h 2436046"/>
              <a:gd name="connsiteX39-3397" fmla="*/ 1316877 w 5168654"/>
              <a:gd name="connsiteY39-3398" fmla="*/ 1034437 h 2436046"/>
              <a:gd name="connsiteX40-3399" fmla="*/ 1316877 w 5168654"/>
              <a:gd name="connsiteY40-3400" fmla="*/ 1080333 h 2436046"/>
              <a:gd name="connsiteX41-3401" fmla="*/ 1489871 w 5168654"/>
              <a:gd name="connsiteY41-3402" fmla="*/ 1080333 h 2436046"/>
              <a:gd name="connsiteX42-3403" fmla="*/ 1489871 w 5168654"/>
              <a:gd name="connsiteY42-3404" fmla="*/ 1097986 h 2436046"/>
              <a:gd name="connsiteX43-3405" fmla="*/ 1518115 w 5168654"/>
              <a:gd name="connsiteY43-3406" fmla="*/ 1097986 h 2436046"/>
              <a:gd name="connsiteX44-3407" fmla="*/ 1518115 w 5168654"/>
              <a:gd name="connsiteY44-3408" fmla="*/ 1122699 h 2436046"/>
              <a:gd name="connsiteX45-3409" fmla="*/ 1532237 w 5168654"/>
              <a:gd name="connsiteY45-3410" fmla="*/ 1122699 h 2436046"/>
              <a:gd name="connsiteX46-3411" fmla="*/ 1539298 w 5168654"/>
              <a:gd name="connsiteY46-3412" fmla="*/ 1129760 h 2436046"/>
              <a:gd name="connsiteX47-3413" fmla="*/ 1553420 w 5168654"/>
              <a:gd name="connsiteY47-3414" fmla="*/ 1143882 h 2436046"/>
              <a:gd name="connsiteX48-3415" fmla="*/ 1553420 w 5168654"/>
              <a:gd name="connsiteY48-3416" fmla="*/ 1189779 h 2436046"/>
              <a:gd name="connsiteX49-3417" fmla="*/ 1564012 w 5168654"/>
              <a:gd name="connsiteY49-3418" fmla="*/ 1189779 h 2436046"/>
              <a:gd name="connsiteX50-3419" fmla="*/ 1564012 w 5168654"/>
              <a:gd name="connsiteY50-3420" fmla="*/ 1253328 h 2436046"/>
              <a:gd name="connsiteX51-3421" fmla="*/ 1578134 w 5168654"/>
              <a:gd name="connsiteY51-3422" fmla="*/ 1253328 h 2436046"/>
              <a:gd name="connsiteX52-3423" fmla="*/ 1578134 w 5168654"/>
              <a:gd name="connsiteY52-3424" fmla="*/ 1345121 h 2436046"/>
              <a:gd name="connsiteX53-3425" fmla="*/ 1588726 w 5168654"/>
              <a:gd name="connsiteY53-3426" fmla="*/ 1345121 h 2436046"/>
              <a:gd name="connsiteX54-3427" fmla="*/ 1588726 w 5168654"/>
              <a:gd name="connsiteY54-3428" fmla="*/ 1380426 h 2436046"/>
              <a:gd name="connsiteX55-3429" fmla="*/ 1588726 w 5168654"/>
              <a:gd name="connsiteY55-3430" fmla="*/ 1380426 h 2436046"/>
              <a:gd name="connsiteX56-3431" fmla="*/ 1627561 w 5168654"/>
              <a:gd name="connsiteY56-3432" fmla="*/ 1380426 h 2436046"/>
              <a:gd name="connsiteX57-3433" fmla="*/ 1797025 w 5168654"/>
              <a:gd name="connsiteY57-3434" fmla="*/ 1380426 h 2436046"/>
              <a:gd name="connsiteX58-3435" fmla="*/ 1797025 w 5168654"/>
              <a:gd name="connsiteY58-3436" fmla="*/ 1472219 h 2436046"/>
              <a:gd name="connsiteX59-3437" fmla="*/ 1828800 w 5168654"/>
              <a:gd name="connsiteY59-3438" fmla="*/ 1472219 h 2436046"/>
              <a:gd name="connsiteX60-3439" fmla="*/ 1828800 w 5168654"/>
              <a:gd name="connsiteY60-3440" fmla="*/ 1489872 h 2436046"/>
              <a:gd name="connsiteX61-3441" fmla="*/ 1828800 w 5168654"/>
              <a:gd name="connsiteY61-3442" fmla="*/ 1503994 h 2436046"/>
              <a:gd name="connsiteX62-3443" fmla="*/ 1846452 w 5168654"/>
              <a:gd name="connsiteY62-3444" fmla="*/ 1503994 h 2436046"/>
              <a:gd name="connsiteX63-3445" fmla="*/ 1846452 w 5168654"/>
              <a:gd name="connsiteY63-3446" fmla="*/ 1564012 h 2436046"/>
              <a:gd name="connsiteX64-3447" fmla="*/ 1878227 w 5168654"/>
              <a:gd name="connsiteY64-3448" fmla="*/ 1564012 h 2436046"/>
              <a:gd name="connsiteX65-3449" fmla="*/ 1878227 w 5168654"/>
              <a:gd name="connsiteY65-3450" fmla="*/ 1595787 h 2436046"/>
              <a:gd name="connsiteX66-3451" fmla="*/ 2072404 w 5168654"/>
              <a:gd name="connsiteY66-3452" fmla="*/ 1595787 h 2436046"/>
              <a:gd name="connsiteX67-3453" fmla="*/ 2072404 w 5168654"/>
              <a:gd name="connsiteY67-3454" fmla="*/ 1673458 h 2436046"/>
              <a:gd name="connsiteX68-3455" fmla="*/ 2093587 w 5168654"/>
              <a:gd name="connsiteY68-3456" fmla="*/ 1673458 h 2436046"/>
              <a:gd name="connsiteX69-3457" fmla="*/ 2093587 w 5168654"/>
              <a:gd name="connsiteY69-3458" fmla="*/ 1684049 h 2436046"/>
              <a:gd name="connsiteX70-3459" fmla="*/ 2097118 w 5168654"/>
              <a:gd name="connsiteY70-3460" fmla="*/ 1684049 h 2436046"/>
              <a:gd name="connsiteX71-3461" fmla="*/ 2097118 w 5168654"/>
              <a:gd name="connsiteY71-3462" fmla="*/ 1701702 h 2436046"/>
              <a:gd name="connsiteX72-3463" fmla="*/ 2111240 w 5168654"/>
              <a:gd name="connsiteY72-3464" fmla="*/ 1701702 h 2436046"/>
              <a:gd name="connsiteX73-3465" fmla="*/ 2114770 w 5168654"/>
              <a:gd name="connsiteY73-3466" fmla="*/ 1715824 h 2436046"/>
              <a:gd name="connsiteX74-3467" fmla="*/ 2421923 w 5168654"/>
              <a:gd name="connsiteY74-3468" fmla="*/ 1722885 h 2436046"/>
              <a:gd name="connsiteX75-3469" fmla="*/ 2418393 w 5168654"/>
              <a:gd name="connsiteY75-3470" fmla="*/ 1744068 h 2436046"/>
              <a:gd name="connsiteX76-3471" fmla="*/ 2418393 w 5168654"/>
              <a:gd name="connsiteY76-3472" fmla="*/ 1744068 h 2436046"/>
              <a:gd name="connsiteX77-3473" fmla="*/ 2446637 w 5168654"/>
              <a:gd name="connsiteY77-3474" fmla="*/ 1772312 h 2436046"/>
              <a:gd name="connsiteX78-3475" fmla="*/ 2460759 w 5168654"/>
              <a:gd name="connsiteY78-3476" fmla="*/ 1772312 h 2436046"/>
              <a:gd name="connsiteX79-3477" fmla="*/ 2460759 w 5168654"/>
              <a:gd name="connsiteY79-3478" fmla="*/ 1821739 h 2436046"/>
              <a:gd name="connsiteX80-3479" fmla="*/ 2478412 w 5168654"/>
              <a:gd name="connsiteY80-3480" fmla="*/ 1821739 h 2436046"/>
              <a:gd name="connsiteX81-3481" fmla="*/ 2478412 w 5168654"/>
              <a:gd name="connsiteY81-3482" fmla="*/ 1920593 h 2436046"/>
              <a:gd name="connsiteX82-3483" fmla="*/ 2633754 w 5168654"/>
              <a:gd name="connsiteY82-3484" fmla="*/ 1920593 h 2436046"/>
              <a:gd name="connsiteX83-3485" fmla="*/ 2633754 w 5168654"/>
              <a:gd name="connsiteY83-3486" fmla="*/ 1941776 h 2436046"/>
              <a:gd name="connsiteX84-3487" fmla="*/ 2732608 w 5168654"/>
              <a:gd name="connsiteY84-3488" fmla="*/ 1941776 h 2436046"/>
              <a:gd name="connsiteX85-3489" fmla="*/ 2771443 w 5168654"/>
              <a:gd name="connsiteY85-3490" fmla="*/ 1980611 h 2436046"/>
              <a:gd name="connsiteX86-3491" fmla="*/ 2782035 w 5168654"/>
              <a:gd name="connsiteY86-3492" fmla="*/ 1991203 h 2436046"/>
              <a:gd name="connsiteX87-3493" fmla="*/ 2838523 w 5168654"/>
              <a:gd name="connsiteY87-3494" fmla="*/ 1991203 h 2436046"/>
              <a:gd name="connsiteX88-3495" fmla="*/ 2838523 w 5168654"/>
              <a:gd name="connsiteY88-3496" fmla="*/ 2019447 h 2436046"/>
              <a:gd name="connsiteX89-3497" fmla="*/ 2852645 w 5168654"/>
              <a:gd name="connsiteY89-3498" fmla="*/ 2019447 h 2436046"/>
              <a:gd name="connsiteX90-3499" fmla="*/ 2852645 w 5168654"/>
              <a:gd name="connsiteY90-3500" fmla="*/ 2075935 h 2436046"/>
              <a:gd name="connsiteX91-3501" fmla="*/ 3219817 w 5168654"/>
              <a:gd name="connsiteY91-3502" fmla="*/ 2075934 h 2436046"/>
              <a:gd name="connsiteX92-3503" fmla="*/ 3205695 w 5168654"/>
              <a:gd name="connsiteY92-3504" fmla="*/ 2107709 h 2436046"/>
              <a:gd name="connsiteX93-3505" fmla="*/ 3237470 w 5168654"/>
              <a:gd name="connsiteY93-3506" fmla="*/ 2118300 h 2436046"/>
              <a:gd name="connsiteX94-3507" fmla="*/ 3230409 w 5168654"/>
              <a:gd name="connsiteY94-3508" fmla="*/ 2181850 h 2436046"/>
              <a:gd name="connsiteX95-3509" fmla="*/ 3438709 w 5168654"/>
              <a:gd name="connsiteY95-3510" fmla="*/ 2181850 h 2436046"/>
              <a:gd name="connsiteX96-3511" fmla="*/ 3438709 w 5168654"/>
              <a:gd name="connsiteY96-3512" fmla="*/ 2199502 h 2436046"/>
              <a:gd name="connsiteX97-3513" fmla="*/ 3565807 w 5168654"/>
              <a:gd name="connsiteY97-3514" fmla="*/ 2199502 h 2436046"/>
              <a:gd name="connsiteX98-3515" fmla="*/ 3565807 w 5168654"/>
              <a:gd name="connsiteY98-3516" fmla="*/ 2227746 h 2436046"/>
              <a:gd name="connsiteX99-3517" fmla="*/ 3618764 w 5168654"/>
              <a:gd name="connsiteY99-3518" fmla="*/ 2227746 h 2436046"/>
              <a:gd name="connsiteX100-3519" fmla="*/ 3618764 w 5168654"/>
              <a:gd name="connsiteY100-3520" fmla="*/ 2252460 h 2436046"/>
              <a:gd name="connsiteX101-3521" fmla="*/ 3890613 w 5168654"/>
              <a:gd name="connsiteY101-3522" fmla="*/ 2252460 h 2436046"/>
              <a:gd name="connsiteX102-3523" fmla="*/ 3890613 w 5168654"/>
              <a:gd name="connsiteY102-3524" fmla="*/ 2287765 h 2436046"/>
              <a:gd name="connsiteX103-3525" fmla="*/ 3975345 w 5168654"/>
              <a:gd name="connsiteY103-3526" fmla="*/ 2287765 h 2436046"/>
              <a:gd name="connsiteX104-3527" fmla="*/ 3975345 w 5168654"/>
              <a:gd name="connsiteY104-3528" fmla="*/ 2316009 h 2436046"/>
              <a:gd name="connsiteX105-3529" fmla="*/ 4007119 w 5168654"/>
              <a:gd name="connsiteY105-3530" fmla="*/ 2316009 h 2436046"/>
              <a:gd name="connsiteX106-3531" fmla="*/ 4007119 w 5168654"/>
              <a:gd name="connsiteY106-3532" fmla="*/ 2368967 h 2436046"/>
              <a:gd name="connsiteX107-3533" fmla="*/ 4614366 w 5168654"/>
              <a:gd name="connsiteY107-3534" fmla="*/ 2368967 h 2436046"/>
              <a:gd name="connsiteX108-3535" fmla="*/ 4614366 w 5168654"/>
              <a:gd name="connsiteY108-3536" fmla="*/ 2436046 h 2436046"/>
              <a:gd name="connsiteX109-3537" fmla="*/ 5168654 w 5168654"/>
              <a:gd name="connsiteY109-3538" fmla="*/ 2436046 h 2436046"/>
              <a:gd name="connsiteX0-3539" fmla="*/ 0 w 5168654"/>
              <a:gd name="connsiteY0-3540" fmla="*/ 0 h 2436046"/>
              <a:gd name="connsiteX1-3541" fmla="*/ 144750 w 5168654"/>
              <a:gd name="connsiteY1-3542" fmla="*/ 0 h 2436046"/>
              <a:gd name="connsiteX2-3543" fmla="*/ 144750 w 5168654"/>
              <a:gd name="connsiteY2-3544" fmla="*/ 42366 h 2436046"/>
              <a:gd name="connsiteX3-3545" fmla="*/ 158872 w 5168654"/>
              <a:gd name="connsiteY3-3546" fmla="*/ 42366 h 2436046"/>
              <a:gd name="connsiteX4-3547" fmla="*/ 158872 w 5168654"/>
              <a:gd name="connsiteY4-3548" fmla="*/ 81201 h 2436046"/>
              <a:gd name="connsiteX5-3549" fmla="*/ 162403 w 5168654"/>
              <a:gd name="connsiteY5-3550" fmla="*/ 84732 h 2436046"/>
              <a:gd name="connsiteX6-3551" fmla="*/ 162403 w 5168654"/>
              <a:gd name="connsiteY6-3552" fmla="*/ 155342 h 2436046"/>
              <a:gd name="connsiteX7-3553" fmla="*/ 257726 w 5168654"/>
              <a:gd name="connsiteY7-3554" fmla="*/ 155342 h 2436046"/>
              <a:gd name="connsiteX8-3555" fmla="*/ 257726 w 5168654"/>
              <a:gd name="connsiteY8-3556" fmla="*/ 190647 h 2436046"/>
              <a:gd name="connsiteX9-3557" fmla="*/ 268318 w 5168654"/>
              <a:gd name="connsiteY9-3558" fmla="*/ 190647 h 2436046"/>
              <a:gd name="connsiteX10-3559" fmla="*/ 268318 w 5168654"/>
              <a:gd name="connsiteY10-3560" fmla="*/ 211830 h 2436046"/>
              <a:gd name="connsiteX11-3561" fmla="*/ 508392 w 5168654"/>
              <a:gd name="connsiteY11-3562" fmla="*/ 211830 h 2436046"/>
              <a:gd name="connsiteX12-3563" fmla="*/ 508392 w 5168654"/>
              <a:gd name="connsiteY12-3564" fmla="*/ 243604 h 2436046"/>
              <a:gd name="connsiteX13-3565" fmla="*/ 536636 w 5168654"/>
              <a:gd name="connsiteY13-3566" fmla="*/ 243604 h 2436046"/>
              <a:gd name="connsiteX14-3567" fmla="*/ 536636 w 5168654"/>
              <a:gd name="connsiteY14-3568" fmla="*/ 363641 h 2436046"/>
              <a:gd name="connsiteX15-3569" fmla="*/ 554288 w 5168654"/>
              <a:gd name="connsiteY15-3570" fmla="*/ 363641 h 2436046"/>
              <a:gd name="connsiteX16-3571" fmla="*/ 554288 w 5168654"/>
              <a:gd name="connsiteY16-3572" fmla="*/ 423660 h 2436046"/>
              <a:gd name="connsiteX17-3573" fmla="*/ 769649 w 5168654"/>
              <a:gd name="connsiteY17-3574" fmla="*/ 423660 h 2436046"/>
              <a:gd name="connsiteX18-3575" fmla="*/ 769649 w 5168654"/>
              <a:gd name="connsiteY18-3576" fmla="*/ 430721 h 2436046"/>
              <a:gd name="connsiteX19-3577" fmla="*/ 776710 w 5168654"/>
              <a:gd name="connsiteY19-3578" fmla="*/ 437782 h 2436046"/>
              <a:gd name="connsiteX20-3579" fmla="*/ 776710 w 5168654"/>
              <a:gd name="connsiteY20-3580" fmla="*/ 455434 h 2436046"/>
              <a:gd name="connsiteX21-3581" fmla="*/ 794363 w 5168654"/>
              <a:gd name="connsiteY21-3582" fmla="*/ 455434 h 2436046"/>
              <a:gd name="connsiteX22-3583" fmla="*/ 794363 w 5168654"/>
              <a:gd name="connsiteY22-3584" fmla="*/ 497801 h 2436046"/>
              <a:gd name="connsiteX23-3585" fmla="*/ 808485 w 5168654"/>
              <a:gd name="connsiteY23-3586" fmla="*/ 497801 h 2436046"/>
              <a:gd name="connsiteX24-3587" fmla="*/ 808485 w 5168654"/>
              <a:gd name="connsiteY24-3588" fmla="*/ 621368 h 2436046"/>
              <a:gd name="connsiteX25-3589" fmla="*/ 822607 w 5168654"/>
              <a:gd name="connsiteY25-3590" fmla="*/ 621368 h 2436046"/>
              <a:gd name="connsiteX26-3591" fmla="*/ 822607 w 5168654"/>
              <a:gd name="connsiteY26-3592" fmla="*/ 639021 h 2436046"/>
              <a:gd name="connsiteX27-3593" fmla="*/ 1045028 w 5168654"/>
              <a:gd name="connsiteY27-3594" fmla="*/ 639021 h 2436046"/>
              <a:gd name="connsiteX28-3595" fmla="*/ 1045028 w 5168654"/>
              <a:gd name="connsiteY28-3596" fmla="*/ 790832 h 2436046"/>
              <a:gd name="connsiteX29-3597" fmla="*/ 1059150 w 5168654"/>
              <a:gd name="connsiteY29-3598" fmla="*/ 790832 h 2436046"/>
              <a:gd name="connsiteX30-3599" fmla="*/ 1059150 w 5168654"/>
              <a:gd name="connsiteY30-3600" fmla="*/ 889686 h 2436046"/>
              <a:gd name="connsiteX31-3601" fmla="*/ 1083864 w 5168654"/>
              <a:gd name="connsiteY31-3602" fmla="*/ 889686 h 2436046"/>
              <a:gd name="connsiteX32-3603" fmla="*/ 1101516 w 5168654"/>
              <a:gd name="connsiteY32-3604" fmla="*/ 889686 h 2436046"/>
              <a:gd name="connsiteX33-3605" fmla="*/ 1158004 w 5168654"/>
              <a:gd name="connsiteY33-3606" fmla="*/ 889686 h 2436046"/>
              <a:gd name="connsiteX34-3607" fmla="*/ 1158004 w 5168654"/>
              <a:gd name="connsiteY34-3608" fmla="*/ 917930 h 2436046"/>
              <a:gd name="connsiteX35-3609" fmla="*/ 1302755 w 5168654"/>
              <a:gd name="connsiteY35-3610" fmla="*/ 917930 h 2436046"/>
              <a:gd name="connsiteX36-3611" fmla="*/ 1302755 w 5168654"/>
              <a:gd name="connsiteY36-3612" fmla="*/ 942644 h 2436046"/>
              <a:gd name="connsiteX37-3613" fmla="*/ 1313346 w 5168654"/>
              <a:gd name="connsiteY37-3614" fmla="*/ 942644 h 2436046"/>
              <a:gd name="connsiteX38-3615" fmla="*/ 1313346 w 5168654"/>
              <a:gd name="connsiteY38-3616" fmla="*/ 1034437 h 2436046"/>
              <a:gd name="connsiteX39-3617" fmla="*/ 1316877 w 5168654"/>
              <a:gd name="connsiteY39-3618" fmla="*/ 1034437 h 2436046"/>
              <a:gd name="connsiteX40-3619" fmla="*/ 1316877 w 5168654"/>
              <a:gd name="connsiteY40-3620" fmla="*/ 1080333 h 2436046"/>
              <a:gd name="connsiteX41-3621" fmla="*/ 1489871 w 5168654"/>
              <a:gd name="connsiteY41-3622" fmla="*/ 1080333 h 2436046"/>
              <a:gd name="connsiteX42-3623" fmla="*/ 1489871 w 5168654"/>
              <a:gd name="connsiteY42-3624" fmla="*/ 1097986 h 2436046"/>
              <a:gd name="connsiteX43-3625" fmla="*/ 1518115 w 5168654"/>
              <a:gd name="connsiteY43-3626" fmla="*/ 1097986 h 2436046"/>
              <a:gd name="connsiteX44-3627" fmla="*/ 1518115 w 5168654"/>
              <a:gd name="connsiteY44-3628" fmla="*/ 1122699 h 2436046"/>
              <a:gd name="connsiteX45-3629" fmla="*/ 1532237 w 5168654"/>
              <a:gd name="connsiteY45-3630" fmla="*/ 1122699 h 2436046"/>
              <a:gd name="connsiteX46-3631" fmla="*/ 1539298 w 5168654"/>
              <a:gd name="connsiteY46-3632" fmla="*/ 1129760 h 2436046"/>
              <a:gd name="connsiteX47-3633" fmla="*/ 1553420 w 5168654"/>
              <a:gd name="connsiteY47-3634" fmla="*/ 1143882 h 2436046"/>
              <a:gd name="connsiteX48-3635" fmla="*/ 1553420 w 5168654"/>
              <a:gd name="connsiteY48-3636" fmla="*/ 1189779 h 2436046"/>
              <a:gd name="connsiteX49-3637" fmla="*/ 1564012 w 5168654"/>
              <a:gd name="connsiteY49-3638" fmla="*/ 1189779 h 2436046"/>
              <a:gd name="connsiteX50-3639" fmla="*/ 1564012 w 5168654"/>
              <a:gd name="connsiteY50-3640" fmla="*/ 1253328 h 2436046"/>
              <a:gd name="connsiteX51-3641" fmla="*/ 1578134 w 5168654"/>
              <a:gd name="connsiteY51-3642" fmla="*/ 1253328 h 2436046"/>
              <a:gd name="connsiteX52-3643" fmla="*/ 1578134 w 5168654"/>
              <a:gd name="connsiteY52-3644" fmla="*/ 1345121 h 2436046"/>
              <a:gd name="connsiteX53-3645" fmla="*/ 1588726 w 5168654"/>
              <a:gd name="connsiteY53-3646" fmla="*/ 1345121 h 2436046"/>
              <a:gd name="connsiteX54-3647" fmla="*/ 1588726 w 5168654"/>
              <a:gd name="connsiteY54-3648" fmla="*/ 1380426 h 2436046"/>
              <a:gd name="connsiteX55-3649" fmla="*/ 1588726 w 5168654"/>
              <a:gd name="connsiteY55-3650" fmla="*/ 1380426 h 2436046"/>
              <a:gd name="connsiteX56-3651" fmla="*/ 1627561 w 5168654"/>
              <a:gd name="connsiteY56-3652" fmla="*/ 1380426 h 2436046"/>
              <a:gd name="connsiteX57-3653" fmla="*/ 1797025 w 5168654"/>
              <a:gd name="connsiteY57-3654" fmla="*/ 1380426 h 2436046"/>
              <a:gd name="connsiteX58-3655" fmla="*/ 1797025 w 5168654"/>
              <a:gd name="connsiteY58-3656" fmla="*/ 1472219 h 2436046"/>
              <a:gd name="connsiteX59-3657" fmla="*/ 1828800 w 5168654"/>
              <a:gd name="connsiteY59-3658" fmla="*/ 1472219 h 2436046"/>
              <a:gd name="connsiteX60-3659" fmla="*/ 1828800 w 5168654"/>
              <a:gd name="connsiteY60-3660" fmla="*/ 1489872 h 2436046"/>
              <a:gd name="connsiteX61-3661" fmla="*/ 1828800 w 5168654"/>
              <a:gd name="connsiteY61-3662" fmla="*/ 1503994 h 2436046"/>
              <a:gd name="connsiteX62-3663" fmla="*/ 1846452 w 5168654"/>
              <a:gd name="connsiteY62-3664" fmla="*/ 1503994 h 2436046"/>
              <a:gd name="connsiteX63-3665" fmla="*/ 1846452 w 5168654"/>
              <a:gd name="connsiteY63-3666" fmla="*/ 1564012 h 2436046"/>
              <a:gd name="connsiteX64-3667" fmla="*/ 1878227 w 5168654"/>
              <a:gd name="connsiteY64-3668" fmla="*/ 1564012 h 2436046"/>
              <a:gd name="connsiteX65-3669" fmla="*/ 1878227 w 5168654"/>
              <a:gd name="connsiteY65-3670" fmla="*/ 1595787 h 2436046"/>
              <a:gd name="connsiteX66-3671" fmla="*/ 2072404 w 5168654"/>
              <a:gd name="connsiteY66-3672" fmla="*/ 1595787 h 2436046"/>
              <a:gd name="connsiteX67-3673" fmla="*/ 2072404 w 5168654"/>
              <a:gd name="connsiteY67-3674" fmla="*/ 1673458 h 2436046"/>
              <a:gd name="connsiteX68-3675" fmla="*/ 2093587 w 5168654"/>
              <a:gd name="connsiteY68-3676" fmla="*/ 1673458 h 2436046"/>
              <a:gd name="connsiteX69-3677" fmla="*/ 2093587 w 5168654"/>
              <a:gd name="connsiteY69-3678" fmla="*/ 1684049 h 2436046"/>
              <a:gd name="connsiteX70-3679" fmla="*/ 2097118 w 5168654"/>
              <a:gd name="connsiteY70-3680" fmla="*/ 1684049 h 2436046"/>
              <a:gd name="connsiteX71-3681" fmla="*/ 2097118 w 5168654"/>
              <a:gd name="connsiteY71-3682" fmla="*/ 1701702 h 2436046"/>
              <a:gd name="connsiteX72-3683" fmla="*/ 2111240 w 5168654"/>
              <a:gd name="connsiteY72-3684" fmla="*/ 1701702 h 2436046"/>
              <a:gd name="connsiteX73-3685" fmla="*/ 2114770 w 5168654"/>
              <a:gd name="connsiteY73-3686" fmla="*/ 1715824 h 2436046"/>
              <a:gd name="connsiteX74-3687" fmla="*/ 2421923 w 5168654"/>
              <a:gd name="connsiteY74-3688" fmla="*/ 1722885 h 2436046"/>
              <a:gd name="connsiteX75-3689" fmla="*/ 2418393 w 5168654"/>
              <a:gd name="connsiteY75-3690" fmla="*/ 1744068 h 2436046"/>
              <a:gd name="connsiteX76-3691" fmla="*/ 2418393 w 5168654"/>
              <a:gd name="connsiteY76-3692" fmla="*/ 1744068 h 2436046"/>
              <a:gd name="connsiteX77-3693" fmla="*/ 2446637 w 5168654"/>
              <a:gd name="connsiteY77-3694" fmla="*/ 1772312 h 2436046"/>
              <a:gd name="connsiteX78-3695" fmla="*/ 2460759 w 5168654"/>
              <a:gd name="connsiteY78-3696" fmla="*/ 1772312 h 2436046"/>
              <a:gd name="connsiteX79-3697" fmla="*/ 2460759 w 5168654"/>
              <a:gd name="connsiteY79-3698" fmla="*/ 1821739 h 2436046"/>
              <a:gd name="connsiteX80-3699" fmla="*/ 2478412 w 5168654"/>
              <a:gd name="connsiteY80-3700" fmla="*/ 1821739 h 2436046"/>
              <a:gd name="connsiteX81-3701" fmla="*/ 2478412 w 5168654"/>
              <a:gd name="connsiteY81-3702" fmla="*/ 1920593 h 2436046"/>
              <a:gd name="connsiteX82-3703" fmla="*/ 2633754 w 5168654"/>
              <a:gd name="connsiteY82-3704" fmla="*/ 1920593 h 2436046"/>
              <a:gd name="connsiteX83-3705" fmla="*/ 2633754 w 5168654"/>
              <a:gd name="connsiteY83-3706" fmla="*/ 1941776 h 2436046"/>
              <a:gd name="connsiteX84-3707" fmla="*/ 2732608 w 5168654"/>
              <a:gd name="connsiteY84-3708" fmla="*/ 1941776 h 2436046"/>
              <a:gd name="connsiteX85-3709" fmla="*/ 2771443 w 5168654"/>
              <a:gd name="connsiteY85-3710" fmla="*/ 1980611 h 2436046"/>
              <a:gd name="connsiteX86-3711" fmla="*/ 2782035 w 5168654"/>
              <a:gd name="connsiteY86-3712" fmla="*/ 1991203 h 2436046"/>
              <a:gd name="connsiteX87-3713" fmla="*/ 2838523 w 5168654"/>
              <a:gd name="connsiteY87-3714" fmla="*/ 1991203 h 2436046"/>
              <a:gd name="connsiteX88-3715" fmla="*/ 2838523 w 5168654"/>
              <a:gd name="connsiteY88-3716" fmla="*/ 2019447 h 2436046"/>
              <a:gd name="connsiteX89-3717" fmla="*/ 2852645 w 5168654"/>
              <a:gd name="connsiteY89-3718" fmla="*/ 2019447 h 2436046"/>
              <a:gd name="connsiteX90-3719" fmla="*/ 2852645 w 5168654"/>
              <a:gd name="connsiteY90-3720" fmla="*/ 2075935 h 2436046"/>
              <a:gd name="connsiteX91-3721" fmla="*/ 3219817 w 5168654"/>
              <a:gd name="connsiteY91-3722" fmla="*/ 2075934 h 2436046"/>
              <a:gd name="connsiteX92-3723" fmla="*/ 3205695 w 5168654"/>
              <a:gd name="connsiteY92-3724" fmla="*/ 2107709 h 2436046"/>
              <a:gd name="connsiteX93-3725" fmla="*/ 3237470 w 5168654"/>
              <a:gd name="connsiteY93-3726" fmla="*/ 2118300 h 2436046"/>
              <a:gd name="connsiteX94-3727" fmla="*/ 3230409 w 5168654"/>
              <a:gd name="connsiteY94-3728" fmla="*/ 2181850 h 2436046"/>
              <a:gd name="connsiteX95-3729" fmla="*/ 3438709 w 5168654"/>
              <a:gd name="connsiteY95-3730" fmla="*/ 2181850 h 2436046"/>
              <a:gd name="connsiteX96-3731" fmla="*/ 3438709 w 5168654"/>
              <a:gd name="connsiteY96-3732" fmla="*/ 2199502 h 2436046"/>
              <a:gd name="connsiteX97-3733" fmla="*/ 3565807 w 5168654"/>
              <a:gd name="connsiteY97-3734" fmla="*/ 2199502 h 2436046"/>
              <a:gd name="connsiteX98-3735" fmla="*/ 3565807 w 5168654"/>
              <a:gd name="connsiteY98-3736" fmla="*/ 2227746 h 2436046"/>
              <a:gd name="connsiteX99-3737" fmla="*/ 3618764 w 5168654"/>
              <a:gd name="connsiteY99-3738" fmla="*/ 2227746 h 2436046"/>
              <a:gd name="connsiteX100-3739" fmla="*/ 3618764 w 5168654"/>
              <a:gd name="connsiteY100-3740" fmla="*/ 2252460 h 2436046"/>
              <a:gd name="connsiteX101-3741" fmla="*/ 3890613 w 5168654"/>
              <a:gd name="connsiteY101-3742" fmla="*/ 2252460 h 2436046"/>
              <a:gd name="connsiteX102-3743" fmla="*/ 3890613 w 5168654"/>
              <a:gd name="connsiteY102-3744" fmla="*/ 2287765 h 2436046"/>
              <a:gd name="connsiteX103-3745" fmla="*/ 3975345 w 5168654"/>
              <a:gd name="connsiteY103-3746" fmla="*/ 2287765 h 2436046"/>
              <a:gd name="connsiteX104-3747" fmla="*/ 3975345 w 5168654"/>
              <a:gd name="connsiteY104-3748" fmla="*/ 2316009 h 2436046"/>
              <a:gd name="connsiteX105-3749" fmla="*/ 4007119 w 5168654"/>
              <a:gd name="connsiteY105-3750" fmla="*/ 2316009 h 2436046"/>
              <a:gd name="connsiteX106-3751" fmla="*/ 4007119 w 5168654"/>
              <a:gd name="connsiteY106-3752" fmla="*/ 2368967 h 2436046"/>
              <a:gd name="connsiteX107-3753" fmla="*/ 4614366 w 5168654"/>
              <a:gd name="connsiteY107-3754" fmla="*/ 2368967 h 2436046"/>
              <a:gd name="connsiteX108-3755" fmla="*/ 4614366 w 5168654"/>
              <a:gd name="connsiteY108-3756" fmla="*/ 2436046 h 2436046"/>
              <a:gd name="connsiteX109-3757" fmla="*/ 5168654 w 5168654"/>
              <a:gd name="connsiteY109-3758" fmla="*/ 2436046 h 2436046"/>
              <a:gd name="connsiteX0-3759" fmla="*/ 0 w 5168654"/>
              <a:gd name="connsiteY0-3760" fmla="*/ 0 h 2436046"/>
              <a:gd name="connsiteX1-3761" fmla="*/ 144750 w 5168654"/>
              <a:gd name="connsiteY1-3762" fmla="*/ 0 h 2436046"/>
              <a:gd name="connsiteX2-3763" fmla="*/ 144750 w 5168654"/>
              <a:gd name="connsiteY2-3764" fmla="*/ 42366 h 2436046"/>
              <a:gd name="connsiteX3-3765" fmla="*/ 158872 w 5168654"/>
              <a:gd name="connsiteY3-3766" fmla="*/ 42366 h 2436046"/>
              <a:gd name="connsiteX4-3767" fmla="*/ 158872 w 5168654"/>
              <a:gd name="connsiteY4-3768" fmla="*/ 81201 h 2436046"/>
              <a:gd name="connsiteX5-3769" fmla="*/ 162403 w 5168654"/>
              <a:gd name="connsiteY5-3770" fmla="*/ 84732 h 2436046"/>
              <a:gd name="connsiteX6-3771" fmla="*/ 162403 w 5168654"/>
              <a:gd name="connsiteY6-3772" fmla="*/ 155342 h 2436046"/>
              <a:gd name="connsiteX7-3773" fmla="*/ 257726 w 5168654"/>
              <a:gd name="connsiteY7-3774" fmla="*/ 155342 h 2436046"/>
              <a:gd name="connsiteX8-3775" fmla="*/ 257726 w 5168654"/>
              <a:gd name="connsiteY8-3776" fmla="*/ 190647 h 2436046"/>
              <a:gd name="connsiteX9-3777" fmla="*/ 268318 w 5168654"/>
              <a:gd name="connsiteY9-3778" fmla="*/ 190647 h 2436046"/>
              <a:gd name="connsiteX10-3779" fmla="*/ 268318 w 5168654"/>
              <a:gd name="connsiteY10-3780" fmla="*/ 211830 h 2436046"/>
              <a:gd name="connsiteX11-3781" fmla="*/ 508392 w 5168654"/>
              <a:gd name="connsiteY11-3782" fmla="*/ 211830 h 2436046"/>
              <a:gd name="connsiteX12-3783" fmla="*/ 508392 w 5168654"/>
              <a:gd name="connsiteY12-3784" fmla="*/ 243604 h 2436046"/>
              <a:gd name="connsiteX13-3785" fmla="*/ 536636 w 5168654"/>
              <a:gd name="connsiteY13-3786" fmla="*/ 243604 h 2436046"/>
              <a:gd name="connsiteX14-3787" fmla="*/ 536636 w 5168654"/>
              <a:gd name="connsiteY14-3788" fmla="*/ 363641 h 2436046"/>
              <a:gd name="connsiteX15-3789" fmla="*/ 554288 w 5168654"/>
              <a:gd name="connsiteY15-3790" fmla="*/ 363641 h 2436046"/>
              <a:gd name="connsiteX16-3791" fmla="*/ 554288 w 5168654"/>
              <a:gd name="connsiteY16-3792" fmla="*/ 423660 h 2436046"/>
              <a:gd name="connsiteX17-3793" fmla="*/ 769649 w 5168654"/>
              <a:gd name="connsiteY17-3794" fmla="*/ 423660 h 2436046"/>
              <a:gd name="connsiteX18-3795" fmla="*/ 769649 w 5168654"/>
              <a:gd name="connsiteY18-3796" fmla="*/ 430721 h 2436046"/>
              <a:gd name="connsiteX19-3797" fmla="*/ 776710 w 5168654"/>
              <a:gd name="connsiteY19-3798" fmla="*/ 437782 h 2436046"/>
              <a:gd name="connsiteX20-3799" fmla="*/ 776710 w 5168654"/>
              <a:gd name="connsiteY20-3800" fmla="*/ 455434 h 2436046"/>
              <a:gd name="connsiteX21-3801" fmla="*/ 794363 w 5168654"/>
              <a:gd name="connsiteY21-3802" fmla="*/ 455434 h 2436046"/>
              <a:gd name="connsiteX22-3803" fmla="*/ 794363 w 5168654"/>
              <a:gd name="connsiteY22-3804" fmla="*/ 497801 h 2436046"/>
              <a:gd name="connsiteX23-3805" fmla="*/ 808485 w 5168654"/>
              <a:gd name="connsiteY23-3806" fmla="*/ 497801 h 2436046"/>
              <a:gd name="connsiteX24-3807" fmla="*/ 808485 w 5168654"/>
              <a:gd name="connsiteY24-3808" fmla="*/ 621368 h 2436046"/>
              <a:gd name="connsiteX25-3809" fmla="*/ 822607 w 5168654"/>
              <a:gd name="connsiteY25-3810" fmla="*/ 621368 h 2436046"/>
              <a:gd name="connsiteX26-3811" fmla="*/ 822607 w 5168654"/>
              <a:gd name="connsiteY26-3812" fmla="*/ 639021 h 2436046"/>
              <a:gd name="connsiteX27-3813" fmla="*/ 1045028 w 5168654"/>
              <a:gd name="connsiteY27-3814" fmla="*/ 639021 h 2436046"/>
              <a:gd name="connsiteX28-3815" fmla="*/ 1045028 w 5168654"/>
              <a:gd name="connsiteY28-3816" fmla="*/ 790832 h 2436046"/>
              <a:gd name="connsiteX29-3817" fmla="*/ 1059150 w 5168654"/>
              <a:gd name="connsiteY29-3818" fmla="*/ 790832 h 2436046"/>
              <a:gd name="connsiteX30-3819" fmla="*/ 1059150 w 5168654"/>
              <a:gd name="connsiteY30-3820" fmla="*/ 889686 h 2436046"/>
              <a:gd name="connsiteX31-3821" fmla="*/ 1083864 w 5168654"/>
              <a:gd name="connsiteY31-3822" fmla="*/ 889686 h 2436046"/>
              <a:gd name="connsiteX32-3823" fmla="*/ 1101516 w 5168654"/>
              <a:gd name="connsiteY32-3824" fmla="*/ 889686 h 2436046"/>
              <a:gd name="connsiteX33-3825" fmla="*/ 1158004 w 5168654"/>
              <a:gd name="connsiteY33-3826" fmla="*/ 889686 h 2436046"/>
              <a:gd name="connsiteX34-3827" fmla="*/ 1158004 w 5168654"/>
              <a:gd name="connsiteY34-3828" fmla="*/ 917930 h 2436046"/>
              <a:gd name="connsiteX35-3829" fmla="*/ 1302755 w 5168654"/>
              <a:gd name="connsiteY35-3830" fmla="*/ 917930 h 2436046"/>
              <a:gd name="connsiteX36-3831" fmla="*/ 1302755 w 5168654"/>
              <a:gd name="connsiteY36-3832" fmla="*/ 942644 h 2436046"/>
              <a:gd name="connsiteX37-3833" fmla="*/ 1313346 w 5168654"/>
              <a:gd name="connsiteY37-3834" fmla="*/ 942644 h 2436046"/>
              <a:gd name="connsiteX38-3835" fmla="*/ 1313346 w 5168654"/>
              <a:gd name="connsiteY38-3836" fmla="*/ 1034437 h 2436046"/>
              <a:gd name="connsiteX39-3837" fmla="*/ 1316877 w 5168654"/>
              <a:gd name="connsiteY39-3838" fmla="*/ 1034437 h 2436046"/>
              <a:gd name="connsiteX40-3839" fmla="*/ 1316877 w 5168654"/>
              <a:gd name="connsiteY40-3840" fmla="*/ 1080333 h 2436046"/>
              <a:gd name="connsiteX41-3841" fmla="*/ 1489871 w 5168654"/>
              <a:gd name="connsiteY41-3842" fmla="*/ 1080333 h 2436046"/>
              <a:gd name="connsiteX42-3843" fmla="*/ 1489871 w 5168654"/>
              <a:gd name="connsiteY42-3844" fmla="*/ 1097986 h 2436046"/>
              <a:gd name="connsiteX43-3845" fmla="*/ 1518115 w 5168654"/>
              <a:gd name="connsiteY43-3846" fmla="*/ 1097986 h 2436046"/>
              <a:gd name="connsiteX44-3847" fmla="*/ 1518115 w 5168654"/>
              <a:gd name="connsiteY44-3848" fmla="*/ 1122699 h 2436046"/>
              <a:gd name="connsiteX45-3849" fmla="*/ 1532237 w 5168654"/>
              <a:gd name="connsiteY45-3850" fmla="*/ 1122699 h 2436046"/>
              <a:gd name="connsiteX46-3851" fmla="*/ 1539298 w 5168654"/>
              <a:gd name="connsiteY46-3852" fmla="*/ 1129760 h 2436046"/>
              <a:gd name="connsiteX47-3853" fmla="*/ 1553420 w 5168654"/>
              <a:gd name="connsiteY47-3854" fmla="*/ 1143882 h 2436046"/>
              <a:gd name="connsiteX48-3855" fmla="*/ 1553420 w 5168654"/>
              <a:gd name="connsiteY48-3856" fmla="*/ 1189779 h 2436046"/>
              <a:gd name="connsiteX49-3857" fmla="*/ 1564012 w 5168654"/>
              <a:gd name="connsiteY49-3858" fmla="*/ 1189779 h 2436046"/>
              <a:gd name="connsiteX50-3859" fmla="*/ 1564012 w 5168654"/>
              <a:gd name="connsiteY50-3860" fmla="*/ 1253328 h 2436046"/>
              <a:gd name="connsiteX51-3861" fmla="*/ 1578134 w 5168654"/>
              <a:gd name="connsiteY51-3862" fmla="*/ 1253328 h 2436046"/>
              <a:gd name="connsiteX52-3863" fmla="*/ 1578134 w 5168654"/>
              <a:gd name="connsiteY52-3864" fmla="*/ 1345121 h 2436046"/>
              <a:gd name="connsiteX53-3865" fmla="*/ 1588726 w 5168654"/>
              <a:gd name="connsiteY53-3866" fmla="*/ 1345121 h 2436046"/>
              <a:gd name="connsiteX54-3867" fmla="*/ 1588726 w 5168654"/>
              <a:gd name="connsiteY54-3868" fmla="*/ 1380426 h 2436046"/>
              <a:gd name="connsiteX55-3869" fmla="*/ 1588726 w 5168654"/>
              <a:gd name="connsiteY55-3870" fmla="*/ 1380426 h 2436046"/>
              <a:gd name="connsiteX56-3871" fmla="*/ 1627561 w 5168654"/>
              <a:gd name="connsiteY56-3872" fmla="*/ 1380426 h 2436046"/>
              <a:gd name="connsiteX57-3873" fmla="*/ 1797025 w 5168654"/>
              <a:gd name="connsiteY57-3874" fmla="*/ 1380426 h 2436046"/>
              <a:gd name="connsiteX58-3875" fmla="*/ 1797025 w 5168654"/>
              <a:gd name="connsiteY58-3876" fmla="*/ 1472219 h 2436046"/>
              <a:gd name="connsiteX59-3877" fmla="*/ 1828800 w 5168654"/>
              <a:gd name="connsiteY59-3878" fmla="*/ 1472219 h 2436046"/>
              <a:gd name="connsiteX60-3879" fmla="*/ 1828800 w 5168654"/>
              <a:gd name="connsiteY60-3880" fmla="*/ 1489872 h 2436046"/>
              <a:gd name="connsiteX61-3881" fmla="*/ 1828800 w 5168654"/>
              <a:gd name="connsiteY61-3882" fmla="*/ 1503994 h 2436046"/>
              <a:gd name="connsiteX62-3883" fmla="*/ 1846452 w 5168654"/>
              <a:gd name="connsiteY62-3884" fmla="*/ 1503994 h 2436046"/>
              <a:gd name="connsiteX63-3885" fmla="*/ 1846452 w 5168654"/>
              <a:gd name="connsiteY63-3886" fmla="*/ 1564012 h 2436046"/>
              <a:gd name="connsiteX64-3887" fmla="*/ 1878227 w 5168654"/>
              <a:gd name="connsiteY64-3888" fmla="*/ 1564012 h 2436046"/>
              <a:gd name="connsiteX65-3889" fmla="*/ 1878227 w 5168654"/>
              <a:gd name="connsiteY65-3890" fmla="*/ 1595787 h 2436046"/>
              <a:gd name="connsiteX66-3891" fmla="*/ 2072404 w 5168654"/>
              <a:gd name="connsiteY66-3892" fmla="*/ 1595787 h 2436046"/>
              <a:gd name="connsiteX67-3893" fmla="*/ 2072404 w 5168654"/>
              <a:gd name="connsiteY67-3894" fmla="*/ 1673458 h 2436046"/>
              <a:gd name="connsiteX68-3895" fmla="*/ 2093587 w 5168654"/>
              <a:gd name="connsiteY68-3896" fmla="*/ 1673458 h 2436046"/>
              <a:gd name="connsiteX69-3897" fmla="*/ 2093587 w 5168654"/>
              <a:gd name="connsiteY69-3898" fmla="*/ 1684049 h 2436046"/>
              <a:gd name="connsiteX70-3899" fmla="*/ 2097118 w 5168654"/>
              <a:gd name="connsiteY70-3900" fmla="*/ 1684049 h 2436046"/>
              <a:gd name="connsiteX71-3901" fmla="*/ 2097118 w 5168654"/>
              <a:gd name="connsiteY71-3902" fmla="*/ 1701702 h 2436046"/>
              <a:gd name="connsiteX72-3903" fmla="*/ 2111240 w 5168654"/>
              <a:gd name="connsiteY72-3904" fmla="*/ 1701702 h 2436046"/>
              <a:gd name="connsiteX73-3905" fmla="*/ 2114770 w 5168654"/>
              <a:gd name="connsiteY73-3906" fmla="*/ 1715824 h 2436046"/>
              <a:gd name="connsiteX74-3907" fmla="*/ 2418392 w 5168654"/>
              <a:gd name="connsiteY74-3908" fmla="*/ 1715824 h 2436046"/>
              <a:gd name="connsiteX75-3909" fmla="*/ 2418393 w 5168654"/>
              <a:gd name="connsiteY75-3910" fmla="*/ 1744068 h 2436046"/>
              <a:gd name="connsiteX76-3911" fmla="*/ 2418393 w 5168654"/>
              <a:gd name="connsiteY76-3912" fmla="*/ 1744068 h 2436046"/>
              <a:gd name="connsiteX77-3913" fmla="*/ 2446637 w 5168654"/>
              <a:gd name="connsiteY77-3914" fmla="*/ 1772312 h 2436046"/>
              <a:gd name="connsiteX78-3915" fmla="*/ 2460759 w 5168654"/>
              <a:gd name="connsiteY78-3916" fmla="*/ 1772312 h 2436046"/>
              <a:gd name="connsiteX79-3917" fmla="*/ 2460759 w 5168654"/>
              <a:gd name="connsiteY79-3918" fmla="*/ 1821739 h 2436046"/>
              <a:gd name="connsiteX80-3919" fmla="*/ 2478412 w 5168654"/>
              <a:gd name="connsiteY80-3920" fmla="*/ 1821739 h 2436046"/>
              <a:gd name="connsiteX81-3921" fmla="*/ 2478412 w 5168654"/>
              <a:gd name="connsiteY81-3922" fmla="*/ 1920593 h 2436046"/>
              <a:gd name="connsiteX82-3923" fmla="*/ 2633754 w 5168654"/>
              <a:gd name="connsiteY82-3924" fmla="*/ 1920593 h 2436046"/>
              <a:gd name="connsiteX83-3925" fmla="*/ 2633754 w 5168654"/>
              <a:gd name="connsiteY83-3926" fmla="*/ 1941776 h 2436046"/>
              <a:gd name="connsiteX84-3927" fmla="*/ 2732608 w 5168654"/>
              <a:gd name="connsiteY84-3928" fmla="*/ 1941776 h 2436046"/>
              <a:gd name="connsiteX85-3929" fmla="*/ 2771443 w 5168654"/>
              <a:gd name="connsiteY85-3930" fmla="*/ 1980611 h 2436046"/>
              <a:gd name="connsiteX86-3931" fmla="*/ 2782035 w 5168654"/>
              <a:gd name="connsiteY86-3932" fmla="*/ 1991203 h 2436046"/>
              <a:gd name="connsiteX87-3933" fmla="*/ 2838523 w 5168654"/>
              <a:gd name="connsiteY87-3934" fmla="*/ 1991203 h 2436046"/>
              <a:gd name="connsiteX88-3935" fmla="*/ 2838523 w 5168654"/>
              <a:gd name="connsiteY88-3936" fmla="*/ 2019447 h 2436046"/>
              <a:gd name="connsiteX89-3937" fmla="*/ 2852645 w 5168654"/>
              <a:gd name="connsiteY89-3938" fmla="*/ 2019447 h 2436046"/>
              <a:gd name="connsiteX90-3939" fmla="*/ 2852645 w 5168654"/>
              <a:gd name="connsiteY90-3940" fmla="*/ 2075935 h 2436046"/>
              <a:gd name="connsiteX91-3941" fmla="*/ 3219817 w 5168654"/>
              <a:gd name="connsiteY91-3942" fmla="*/ 2075934 h 2436046"/>
              <a:gd name="connsiteX92-3943" fmla="*/ 3205695 w 5168654"/>
              <a:gd name="connsiteY92-3944" fmla="*/ 2107709 h 2436046"/>
              <a:gd name="connsiteX93-3945" fmla="*/ 3237470 w 5168654"/>
              <a:gd name="connsiteY93-3946" fmla="*/ 2118300 h 2436046"/>
              <a:gd name="connsiteX94-3947" fmla="*/ 3230409 w 5168654"/>
              <a:gd name="connsiteY94-3948" fmla="*/ 2181850 h 2436046"/>
              <a:gd name="connsiteX95-3949" fmla="*/ 3438709 w 5168654"/>
              <a:gd name="connsiteY95-3950" fmla="*/ 2181850 h 2436046"/>
              <a:gd name="connsiteX96-3951" fmla="*/ 3438709 w 5168654"/>
              <a:gd name="connsiteY96-3952" fmla="*/ 2199502 h 2436046"/>
              <a:gd name="connsiteX97-3953" fmla="*/ 3565807 w 5168654"/>
              <a:gd name="connsiteY97-3954" fmla="*/ 2199502 h 2436046"/>
              <a:gd name="connsiteX98-3955" fmla="*/ 3565807 w 5168654"/>
              <a:gd name="connsiteY98-3956" fmla="*/ 2227746 h 2436046"/>
              <a:gd name="connsiteX99-3957" fmla="*/ 3618764 w 5168654"/>
              <a:gd name="connsiteY99-3958" fmla="*/ 2227746 h 2436046"/>
              <a:gd name="connsiteX100-3959" fmla="*/ 3618764 w 5168654"/>
              <a:gd name="connsiteY100-3960" fmla="*/ 2252460 h 2436046"/>
              <a:gd name="connsiteX101-3961" fmla="*/ 3890613 w 5168654"/>
              <a:gd name="connsiteY101-3962" fmla="*/ 2252460 h 2436046"/>
              <a:gd name="connsiteX102-3963" fmla="*/ 3890613 w 5168654"/>
              <a:gd name="connsiteY102-3964" fmla="*/ 2287765 h 2436046"/>
              <a:gd name="connsiteX103-3965" fmla="*/ 3975345 w 5168654"/>
              <a:gd name="connsiteY103-3966" fmla="*/ 2287765 h 2436046"/>
              <a:gd name="connsiteX104-3967" fmla="*/ 3975345 w 5168654"/>
              <a:gd name="connsiteY104-3968" fmla="*/ 2316009 h 2436046"/>
              <a:gd name="connsiteX105-3969" fmla="*/ 4007119 w 5168654"/>
              <a:gd name="connsiteY105-3970" fmla="*/ 2316009 h 2436046"/>
              <a:gd name="connsiteX106-3971" fmla="*/ 4007119 w 5168654"/>
              <a:gd name="connsiteY106-3972" fmla="*/ 2368967 h 2436046"/>
              <a:gd name="connsiteX107-3973" fmla="*/ 4614366 w 5168654"/>
              <a:gd name="connsiteY107-3974" fmla="*/ 2368967 h 2436046"/>
              <a:gd name="connsiteX108-3975" fmla="*/ 4614366 w 5168654"/>
              <a:gd name="connsiteY108-3976" fmla="*/ 2436046 h 2436046"/>
              <a:gd name="connsiteX109-3977" fmla="*/ 5168654 w 5168654"/>
              <a:gd name="connsiteY109-3978" fmla="*/ 2436046 h 2436046"/>
              <a:gd name="connsiteX0-3979" fmla="*/ 0 w 5168654"/>
              <a:gd name="connsiteY0-3980" fmla="*/ 0 h 2436046"/>
              <a:gd name="connsiteX1-3981" fmla="*/ 144750 w 5168654"/>
              <a:gd name="connsiteY1-3982" fmla="*/ 0 h 2436046"/>
              <a:gd name="connsiteX2-3983" fmla="*/ 144750 w 5168654"/>
              <a:gd name="connsiteY2-3984" fmla="*/ 42366 h 2436046"/>
              <a:gd name="connsiteX3-3985" fmla="*/ 158872 w 5168654"/>
              <a:gd name="connsiteY3-3986" fmla="*/ 42366 h 2436046"/>
              <a:gd name="connsiteX4-3987" fmla="*/ 158872 w 5168654"/>
              <a:gd name="connsiteY4-3988" fmla="*/ 81201 h 2436046"/>
              <a:gd name="connsiteX5-3989" fmla="*/ 162403 w 5168654"/>
              <a:gd name="connsiteY5-3990" fmla="*/ 84732 h 2436046"/>
              <a:gd name="connsiteX6-3991" fmla="*/ 162403 w 5168654"/>
              <a:gd name="connsiteY6-3992" fmla="*/ 155342 h 2436046"/>
              <a:gd name="connsiteX7-3993" fmla="*/ 257726 w 5168654"/>
              <a:gd name="connsiteY7-3994" fmla="*/ 155342 h 2436046"/>
              <a:gd name="connsiteX8-3995" fmla="*/ 257726 w 5168654"/>
              <a:gd name="connsiteY8-3996" fmla="*/ 190647 h 2436046"/>
              <a:gd name="connsiteX9-3997" fmla="*/ 268318 w 5168654"/>
              <a:gd name="connsiteY9-3998" fmla="*/ 190647 h 2436046"/>
              <a:gd name="connsiteX10-3999" fmla="*/ 268318 w 5168654"/>
              <a:gd name="connsiteY10-4000" fmla="*/ 211830 h 2436046"/>
              <a:gd name="connsiteX11-4001" fmla="*/ 508392 w 5168654"/>
              <a:gd name="connsiteY11-4002" fmla="*/ 211830 h 2436046"/>
              <a:gd name="connsiteX12-4003" fmla="*/ 508392 w 5168654"/>
              <a:gd name="connsiteY12-4004" fmla="*/ 243604 h 2436046"/>
              <a:gd name="connsiteX13-4005" fmla="*/ 536636 w 5168654"/>
              <a:gd name="connsiteY13-4006" fmla="*/ 243604 h 2436046"/>
              <a:gd name="connsiteX14-4007" fmla="*/ 536636 w 5168654"/>
              <a:gd name="connsiteY14-4008" fmla="*/ 363641 h 2436046"/>
              <a:gd name="connsiteX15-4009" fmla="*/ 554288 w 5168654"/>
              <a:gd name="connsiteY15-4010" fmla="*/ 363641 h 2436046"/>
              <a:gd name="connsiteX16-4011" fmla="*/ 554288 w 5168654"/>
              <a:gd name="connsiteY16-4012" fmla="*/ 423660 h 2436046"/>
              <a:gd name="connsiteX17-4013" fmla="*/ 769649 w 5168654"/>
              <a:gd name="connsiteY17-4014" fmla="*/ 423660 h 2436046"/>
              <a:gd name="connsiteX18-4015" fmla="*/ 769649 w 5168654"/>
              <a:gd name="connsiteY18-4016" fmla="*/ 430721 h 2436046"/>
              <a:gd name="connsiteX19-4017" fmla="*/ 776710 w 5168654"/>
              <a:gd name="connsiteY19-4018" fmla="*/ 437782 h 2436046"/>
              <a:gd name="connsiteX20-4019" fmla="*/ 776710 w 5168654"/>
              <a:gd name="connsiteY20-4020" fmla="*/ 455434 h 2436046"/>
              <a:gd name="connsiteX21-4021" fmla="*/ 794363 w 5168654"/>
              <a:gd name="connsiteY21-4022" fmla="*/ 455434 h 2436046"/>
              <a:gd name="connsiteX22-4023" fmla="*/ 794363 w 5168654"/>
              <a:gd name="connsiteY22-4024" fmla="*/ 497801 h 2436046"/>
              <a:gd name="connsiteX23-4025" fmla="*/ 808485 w 5168654"/>
              <a:gd name="connsiteY23-4026" fmla="*/ 497801 h 2436046"/>
              <a:gd name="connsiteX24-4027" fmla="*/ 808485 w 5168654"/>
              <a:gd name="connsiteY24-4028" fmla="*/ 621368 h 2436046"/>
              <a:gd name="connsiteX25-4029" fmla="*/ 822607 w 5168654"/>
              <a:gd name="connsiteY25-4030" fmla="*/ 621368 h 2436046"/>
              <a:gd name="connsiteX26-4031" fmla="*/ 822607 w 5168654"/>
              <a:gd name="connsiteY26-4032" fmla="*/ 639021 h 2436046"/>
              <a:gd name="connsiteX27-4033" fmla="*/ 1045028 w 5168654"/>
              <a:gd name="connsiteY27-4034" fmla="*/ 639021 h 2436046"/>
              <a:gd name="connsiteX28-4035" fmla="*/ 1045028 w 5168654"/>
              <a:gd name="connsiteY28-4036" fmla="*/ 790832 h 2436046"/>
              <a:gd name="connsiteX29-4037" fmla="*/ 1059150 w 5168654"/>
              <a:gd name="connsiteY29-4038" fmla="*/ 790832 h 2436046"/>
              <a:gd name="connsiteX30-4039" fmla="*/ 1059150 w 5168654"/>
              <a:gd name="connsiteY30-4040" fmla="*/ 889686 h 2436046"/>
              <a:gd name="connsiteX31-4041" fmla="*/ 1083864 w 5168654"/>
              <a:gd name="connsiteY31-4042" fmla="*/ 889686 h 2436046"/>
              <a:gd name="connsiteX32-4043" fmla="*/ 1101516 w 5168654"/>
              <a:gd name="connsiteY32-4044" fmla="*/ 889686 h 2436046"/>
              <a:gd name="connsiteX33-4045" fmla="*/ 1158004 w 5168654"/>
              <a:gd name="connsiteY33-4046" fmla="*/ 889686 h 2436046"/>
              <a:gd name="connsiteX34-4047" fmla="*/ 1158004 w 5168654"/>
              <a:gd name="connsiteY34-4048" fmla="*/ 917930 h 2436046"/>
              <a:gd name="connsiteX35-4049" fmla="*/ 1302755 w 5168654"/>
              <a:gd name="connsiteY35-4050" fmla="*/ 917930 h 2436046"/>
              <a:gd name="connsiteX36-4051" fmla="*/ 1302755 w 5168654"/>
              <a:gd name="connsiteY36-4052" fmla="*/ 942644 h 2436046"/>
              <a:gd name="connsiteX37-4053" fmla="*/ 1313346 w 5168654"/>
              <a:gd name="connsiteY37-4054" fmla="*/ 942644 h 2436046"/>
              <a:gd name="connsiteX38-4055" fmla="*/ 1313346 w 5168654"/>
              <a:gd name="connsiteY38-4056" fmla="*/ 1034437 h 2436046"/>
              <a:gd name="connsiteX39-4057" fmla="*/ 1316877 w 5168654"/>
              <a:gd name="connsiteY39-4058" fmla="*/ 1034437 h 2436046"/>
              <a:gd name="connsiteX40-4059" fmla="*/ 1316877 w 5168654"/>
              <a:gd name="connsiteY40-4060" fmla="*/ 1080333 h 2436046"/>
              <a:gd name="connsiteX41-4061" fmla="*/ 1489871 w 5168654"/>
              <a:gd name="connsiteY41-4062" fmla="*/ 1080333 h 2436046"/>
              <a:gd name="connsiteX42-4063" fmla="*/ 1489871 w 5168654"/>
              <a:gd name="connsiteY42-4064" fmla="*/ 1097986 h 2436046"/>
              <a:gd name="connsiteX43-4065" fmla="*/ 1518115 w 5168654"/>
              <a:gd name="connsiteY43-4066" fmla="*/ 1097986 h 2436046"/>
              <a:gd name="connsiteX44-4067" fmla="*/ 1518115 w 5168654"/>
              <a:gd name="connsiteY44-4068" fmla="*/ 1122699 h 2436046"/>
              <a:gd name="connsiteX45-4069" fmla="*/ 1532237 w 5168654"/>
              <a:gd name="connsiteY45-4070" fmla="*/ 1122699 h 2436046"/>
              <a:gd name="connsiteX46-4071" fmla="*/ 1539298 w 5168654"/>
              <a:gd name="connsiteY46-4072" fmla="*/ 1129760 h 2436046"/>
              <a:gd name="connsiteX47-4073" fmla="*/ 1553420 w 5168654"/>
              <a:gd name="connsiteY47-4074" fmla="*/ 1143882 h 2436046"/>
              <a:gd name="connsiteX48-4075" fmla="*/ 1553420 w 5168654"/>
              <a:gd name="connsiteY48-4076" fmla="*/ 1189779 h 2436046"/>
              <a:gd name="connsiteX49-4077" fmla="*/ 1564012 w 5168654"/>
              <a:gd name="connsiteY49-4078" fmla="*/ 1189779 h 2436046"/>
              <a:gd name="connsiteX50-4079" fmla="*/ 1564012 w 5168654"/>
              <a:gd name="connsiteY50-4080" fmla="*/ 1253328 h 2436046"/>
              <a:gd name="connsiteX51-4081" fmla="*/ 1578134 w 5168654"/>
              <a:gd name="connsiteY51-4082" fmla="*/ 1253328 h 2436046"/>
              <a:gd name="connsiteX52-4083" fmla="*/ 1578134 w 5168654"/>
              <a:gd name="connsiteY52-4084" fmla="*/ 1345121 h 2436046"/>
              <a:gd name="connsiteX53-4085" fmla="*/ 1588726 w 5168654"/>
              <a:gd name="connsiteY53-4086" fmla="*/ 1345121 h 2436046"/>
              <a:gd name="connsiteX54-4087" fmla="*/ 1588726 w 5168654"/>
              <a:gd name="connsiteY54-4088" fmla="*/ 1380426 h 2436046"/>
              <a:gd name="connsiteX55-4089" fmla="*/ 1588726 w 5168654"/>
              <a:gd name="connsiteY55-4090" fmla="*/ 1380426 h 2436046"/>
              <a:gd name="connsiteX56-4091" fmla="*/ 1627561 w 5168654"/>
              <a:gd name="connsiteY56-4092" fmla="*/ 1380426 h 2436046"/>
              <a:gd name="connsiteX57-4093" fmla="*/ 1797025 w 5168654"/>
              <a:gd name="connsiteY57-4094" fmla="*/ 1380426 h 2436046"/>
              <a:gd name="connsiteX58-4095" fmla="*/ 1797025 w 5168654"/>
              <a:gd name="connsiteY58-4096" fmla="*/ 1472219 h 2436046"/>
              <a:gd name="connsiteX59-4097" fmla="*/ 1828800 w 5168654"/>
              <a:gd name="connsiteY59-4098" fmla="*/ 1472219 h 2436046"/>
              <a:gd name="connsiteX60-4099" fmla="*/ 1828800 w 5168654"/>
              <a:gd name="connsiteY60-4100" fmla="*/ 1489872 h 2436046"/>
              <a:gd name="connsiteX61-4101" fmla="*/ 1828800 w 5168654"/>
              <a:gd name="connsiteY61-4102" fmla="*/ 1503994 h 2436046"/>
              <a:gd name="connsiteX62-4103" fmla="*/ 1846452 w 5168654"/>
              <a:gd name="connsiteY62-4104" fmla="*/ 1503994 h 2436046"/>
              <a:gd name="connsiteX63-4105" fmla="*/ 1846452 w 5168654"/>
              <a:gd name="connsiteY63-4106" fmla="*/ 1564012 h 2436046"/>
              <a:gd name="connsiteX64-4107" fmla="*/ 1878227 w 5168654"/>
              <a:gd name="connsiteY64-4108" fmla="*/ 1564012 h 2436046"/>
              <a:gd name="connsiteX65-4109" fmla="*/ 1878227 w 5168654"/>
              <a:gd name="connsiteY65-4110" fmla="*/ 1595787 h 2436046"/>
              <a:gd name="connsiteX66-4111" fmla="*/ 2072404 w 5168654"/>
              <a:gd name="connsiteY66-4112" fmla="*/ 1595787 h 2436046"/>
              <a:gd name="connsiteX67-4113" fmla="*/ 2072404 w 5168654"/>
              <a:gd name="connsiteY67-4114" fmla="*/ 1673458 h 2436046"/>
              <a:gd name="connsiteX68-4115" fmla="*/ 2093587 w 5168654"/>
              <a:gd name="connsiteY68-4116" fmla="*/ 1673458 h 2436046"/>
              <a:gd name="connsiteX69-4117" fmla="*/ 2093587 w 5168654"/>
              <a:gd name="connsiteY69-4118" fmla="*/ 1684049 h 2436046"/>
              <a:gd name="connsiteX70-4119" fmla="*/ 2097118 w 5168654"/>
              <a:gd name="connsiteY70-4120" fmla="*/ 1684049 h 2436046"/>
              <a:gd name="connsiteX71-4121" fmla="*/ 2097118 w 5168654"/>
              <a:gd name="connsiteY71-4122" fmla="*/ 1701702 h 2436046"/>
              <a:gd name="connsiteX72-4123" fmla="*/ 2111240 w 5168654"/>
              <a:gd name="connsiteY72-4124" fmla="*/ 1701702 h 2436046"/>
              <a:gd name="connsiteX73-4125" fmla="*/ 2114770 w 5168654"/>
              <a:gd name="connsiteY73-4126" fmla="*/ 1715824 h 2436046"/>
              <a:gd name="connsiteX74-4127" fmla="*/ 2418392 w 5168654"/>
              <a:gd name="connsiteY74-4128" fmla="*/ 1715824 h 2436046"/>
              <a:gd name="connsiteX75-4129" fmla="*/ 2418393 w 5168654"/>
              <a:gd name="connsiteY75-4130" fmla="*/ 1744068 h 2436046"/>
              <a:gd name="connsiteX76-4131" fmla="*/ 2418393 w 5168654"/>
              <a:gd name="connsiteY76-4132" fmla="*/ 1744068 h 2436046"/>
              <a:gd name="connsiteX77-4133" fmla="*/ 2446637 w 5168654"/>
              <a:gd name="connsiteY77-4134" fmla="*/ 1772312 h 2436046"/>
              <a:gd name="connsiteX78-4135" fmla="*/ 2460759 w 5168654"/>
              <a:gd name="connsiteY78-4136" fmla="*/ 1772312 h 2436046"/>
              <a:gd name="connsiteX79-4137" fmla="*/ 2460759 w 5168654"/>
              <a:gd name="connsiteY79-4138" fmla="*/ 1821739 h 2436046"/>
              <a:gd name="connsiteX80-4139" fmla="*/ 2478412 w 5168654"/>
              <a:gd name="connsiteY80-4140" fmla="*/ 1821739 h 2436046"/>
              <a:gd name="connsiteX81-4141" fmla="*/ 2478412 w 5168654"/>
              <a:gd name="connsiteY81-4142" fmla="*/ 1920593 h 2436046"/>
              <a:gd name="connsiteX82-4143" fmla="*/ 2633754 w 5168654"/>
              <a:gd name="connsiteY82-4144" fmla="*/ 1920593 h 2436046"/>
              <a:gd name="connsiteX83-4145" fmla="*/ 2633754 w 5168654"/>
              <a:gd name="connsiteY83-4146" fmla="*/ 1941776 h 2436046"/>
              <a:gd name="connsiteX84-4147" fmla="*/ 2732608 w 5168654"/>
              <a:gd name="connsiteY84-4148" fmla="*/ 1941776 h 2436046"/>
              <a:gd name="connsiteX85-4149" fmla="*/ 2734337 w 5168654"/>
              <a:gd name="connsiteY85-4150" fmla="*/ 1975310 h 2436046"/>
              <a:gd name="connsiteX86-4151" fmla="*/ 2782035 w 5168654"/>
              <a:gd name="connsiteY86-4152" fmla="*/ 1991203 h 2436046"/>
              <a:gd name="connsiteX87-4153" fmla="*/ 2838523 w 5168654"/>
              <a:gd name="connsiteY87-4154" fmla="*/ 1991203 h 2436046"/>
              <a:gd name="connsiteX88-4155" fmla="*/ 2838523 w 5168654"/>
              <a:gd name="connsiteY88-4156" fmla="*/ 2019447 h 2436046"/>
              <a:gd name="connsiteX89-4157" fmla="*/ 2852645 w 5168654"/>
              <a:gd name="connsiteY89-4158" fmla="*/ 2019447 h 2436046"/>
              <a:gd name="connsiteX90-4159" fmla="*/ 2852645 w 5168654"/>
              <a:gd name="connsiteY90-4160" fmla="*/ 2075935 h 2436046"/>
              <a:gd name="connsiteX91-4161" fmla="*/ 3219817 w 5168654"/>
              <a:gd name="connsiteY91-4162" fmla="*/ 2075934 h 2436046"/>
              <a:gd name="connsiteX92-4163" fmla="*/ 3205695 w 5168654"/>
              <a:gd name="connsiteY92-4164" fmla="*/ 2107709 h 2436046"/>
              <a:gd name="connsiteX93-4165" fmla="*/ 3237470 w 5168654"/>
              <a:gd name="connsiteY93-4166" fmla="*/ 2118300 h 2436046"/>
              <a:gd name="connsiteX94-4167" fmla="*/ 3230409 w 5168654"/>
              <a:gd name="connsiteY94-4168" fmla="*/ 2181850 h 2436046"/>
              <a:gd name="connsiteX95-4169" fmla="*/ 3438709 w 5168654"/>
              <a:gd name="connsiteY95-4170" fmla="*/ 2181850 h 2436046"/>
              <a:gd name="connsiteX96-4171" fmla="*/ 3438709 w 5168654"/>
              <a:gd name="connsiteY96-4172" fmla="*/ 2199502 h 2436046"/>
              <a:gd name="connsiteX97-4173" fmla="*/ 3565807 w 5168654"/>
              <a:gd name="connsiteY97-4174" fmla="*/ 2199502 h 2436046"/>
              <a:gd name="connsiteX98-4175" fmla="*/ 3565807 w 5168654"/>
              <a:gd name="connsiteY98-4176" fmla="*/ 2227746 h 2436046"/>
              <a:gd name="connsiteX99-4177" fmla="*/ 3618764 w 5168654"/>
              <a:gd name="connsiteY99-4178" fmla="*/ 2227746 h 2436046"/>
              <a:gd name="connsiteX100-4179" fmla="*/ 3618764 w 5168654"/>
              <a:gd name="connsiteY100-4180" fmla="*/ 2252460 h 2436046"/>
              <a:gd name="connsiteX101-4181" fmla="*/ 3890613 w 5168654"/>
              <a:gd name="connsiteY101-4182" fmla="*/ 2252460 h 2436046"/>
              <a:gd name="connsiteX102-4183" fmla="*/ 3890613 w 5168654"/>
              <a:gd name="connsiteY102-4184" fmla="*/ 2287765 h 2436046"/>
              <a:gd name="connsiteX103-4185" fmla="*/ 3975345 w 5168654"/>
              <a:gd name="connsiteY103-4186" fmla="*/ 2287765 h 2436046"/>
              <a:gd name="connsiteX104-4187" fmla="*/ 3975345 w 5168654"/>
              <a:gd name="connsiteY104-4188" fmla="*/ 2316009 h 2436046"/>
              <a:gd name="connsiteX105-4189" fmla="*/ 4007119 w 5168654"/>
              <a:gd name="connsiteY105-4190" fmla="*/ 2316009 h 2436046"/>
              <a:gd name="connsiteX106-4191" fmla="*/ 4007119 w 5168654"/>
              <a:gd name="connsiteY106-4192" fmla="*/ 2368967 h 2436046"/>
              <a:gd name="connsiteX107-4193" fmla="*/ 4614366 w 5168654"/>
              <a:gd name="connsiteY107-4194" fmla="*/ 2368967 h 2436046"/>
              <a:gd name="connsiteX108-4195" fmla="*/ 4614366 w 5168654"/>
              <a:gd name="connsiteY108-4196" fmla="*/ 2436046 h 2436046"/>
              <a:gd name="connsiteX109-4197" fmla="*/ 5168654 w 5168654"/>
              <a:gd name="connsiteY109-4198" fmla="*/ 2436046 h 2436046"/>
              <a:gd name="connsiteX0-4199" fmla="*/ 0 w 5168654"/>
              <a:gd name="connsiteY0-4200" fmla="*/ 0 h 2436046"/>
              <a:gd name="connsiteX1-4201" fmla="*/ 144750 w 5168654"/>
              <a:gd name="connsiteY1-4202" fmla="*/ 0 h 2436046"/>
              <a:gd name="connsiteX2-4203" fmla="*/ 144750 w 5168654"/>
              <a:gd name="connsiteY2-4204" fmla="*/ 42366 h 2436046"/>
              <a:gd name="connsiteX3-4205" fmla="*/ 158872 w 5168654"/>
              <a:gd name="connsiteY3-4206" fmla="*/ 42366 h 2436046"/>
              <a:gd name="connsiteX4-4207" fmla="*/ 158872 w 5168654"/>
              <a:gd name="connsiteY4-4208" fmla="*/ 81201 h 2436046"/>
              <a:gd name="connsiteX5-4209" fmla="*/ 162403 w 5168654"/>
              <a:gd name="connsiteY5-4210" fmla="*/ 84732 h 2436046"/>
              <a:gd name="connsiteX6-4211" fmla="*/ 162403 w 5168654"/>
              <a:gd name="connsiteY6-4212" fmla="*/ 155342 h 2436046"/>
              <a:gd name="connsiteX7-4213" fmla="*/ 257726 w 5168654"/>
              <a:gd name="connsiteY7-4214" fmla="*/ 155342 h 2436046"/>
              <a:gd name="connsiteX8-4215" fmla="*/ 257726 w 5168654"/>
              <a:gd name="connsiteY8-4216" fmla="*/ 190647 h 2436046"/>
              <a:gd name="connsiteX9-4217" fmla="*/ 268318 w 5168654"/>
              <a:gd name="connsiteY9-4218" fmla="*/ 190647 h 2436046"/>
              <a:gd name="connsiteX10-4219" fmla="*/ 268318 w 5168654"/>
              <a:gd name="connsiteY10-4220" fmla="*/ 211830 h 2436046"/>
              <a:gd name="connsiteX11-4221" fmla="*/ 508392 w 5168654"/>
              <a:gd name="connsiteY11-4222" fmla="*/ 211830 h 2436046"/>
              <a:gd name="connsiteX12-4223" fmla="*/ 508392 w 5168654"/>
              <a:gd name="connsiteY12-4224" fmla="*/ 243604 h 2436046"/>
              <a:gd name="connsiteX13-4225" fmla="*/ 536636 w 5168654"/>
              <a:gd name="connsiteY13-4226" fmla="*/ 243604 h 2436046"/>
              <a:gd name="connsiteX14-4227" fmla="*/ 536636 w 5168654"/>
              <a:gd name="connsiteY14-4228" fmla="*/ 363641 h 2436046"/>
              <a:gd name="connsiteX15-4229" fmla="*/ 554288 w 5168654"/>
              <a:gd name="connsiteY15-4230" fmla="*/ 363641 h 2436046"/>
              <a:gd name="connsiteX16-4231" fmla="*/ 554288 w 5168654"/>
              <a:gd name="connsiteY16-4232" fmla="*/ 423660 h 2436046"/>
              <a:gd name="connsiteX17-4233" fmla="*/ 769649 w 5168654"/>
              <a:gd name="connsiteY17-4234" fmla="*/ 423660 h 2436046"/>
              <a:gd name="connsiteX18-4235" fmla="*/ 769649 w 5168654"/>
              <a:gd name="connsiteY18-4236" fmla="*/ 430721 h 2436046"/>
              <a:gd name="connsiteX19-4237" fmla="*/ 776710 w 5168654"/>
              <a:gd name="connsiteY19-4238" fmla="*/ 437782 h 2436046"/>
              <a:gd name="connsiteX20-4239" fmla="*/ 776710 w 5168654"/>
              <a:gd name="connsiteY20-4240" fmla="*/ 455434 h 2436046"/>
              <a:gd name="connsiteX21-4241" fmla="*/ 794363 w 5168654"/>
              <a:gd name="connsiteY21-4242" fmla="*/ 455434 h 2436046"/>
              <a:gd name="connsiteX22-4243" fmla="*/ 794363 w 5168654"/>
              <a:gd name="connsiteY22-4244" fmla="*/ 497801 h 2436046"/>
              <a:gd name="connsiteX23-4245" fmla="*/ 808485 w 5168654"/>
              <a:gd name="connsiteY23-4246" fmla="*/ 497801 h 2436046"/>
              <a:gd name="connsiteX24-4247" fmla="*/ 808485 w 5168654"/>
              <a:gd name="connsiteY24-4248" fmla="*/ 621368 h 2436046"/>
              <a:gd name="connsiteX25-4249" fmla="*/ 822607 w 5168654"/>
              <a:gd name="connsiteY25-4250" fmla="*/ 621368 h 2436046"/>
              <a:gd name="connsiteX26-4251" fmla="*/ 822607 w 5168654"/>
              <a:gd name="connsiteY26-4252" fmla="*/ 639021 h 2436046"/>
              <a:gd name="connsiteX27-4253" fmla="*/ 1045028 w 5168654"/>
              <a:gd name="connsiteY27-4254" fmla="*/ 639021 h 2436046"/>
              <a:gd name="connsiteX28-4255" fmla="*/ 1045028 w 5168654"/>
              <a:gd name="connsiteY28-4256" fmla="*/ 790832 h 2436046"/>
              <a:gd name="connsiteX29-4257" fmla="*/ 1059150 w 5168654"/>
              <a:gd name="connsiteY29-4258" fmla="*/ 790832 h 2436046"/>
              <a:gd name="connsiteX30-4259" fmla="*/ 1059150 w 5168654"/>
              <a:gd name="connsiteY30-4260" fmla="*/ 889686 h 2436046"/>
              <a:gd name="connsiteX31-4261" fmla="*/ 1083864 w 5168654"/>
              <a:gd name="connsiteY31-4262" fmla="*/ 889686 h 2436046"/>
              <a:gd name="connsiteX32-4263" fmla="*/ 1101516 w 5168654"/>
              <a:gd name="connsiteY32-4264" fmla="*/ 889686 h 2436046"/>
              <a:gd name="connsiteX33-4265" fmla="*/ 1158004 w 5168654"/>
              <a:gd name="connsiteY33-4266" fmla="*/ 889686 h 2436046"/>
              <a:gd name="connsiteX34-4267" fmla="*/ 1158004 w 5168654"/>
              <a:gd name="connsiteY34-4268" fmla="*/ 917930 h 2436046"/>
              <a:gd name="connsiteX35-4269" fmla="*/ 1302755 w 5168654"/>
              <a:gd name="connsiteY35-4270" fmla="*/ 917930 h 2436046"/>
              <a:gd name="connsiteX36-4271" fmla="*/ 1302755 w 5168654"/>
              <a:gd name="connsiteY36-4272" fmla="*/ 942644 h 2436046"/>
              <a:gd name="connsiteX37-4273" fmla="*/ 1313346 w 5168654"/>
              <a:gd name="connsiteY37-4274" fmla="*/ 942644 h 2436046"/>
              <a:gd name="connsiteX38-4275" fmla="*/ 1313346 w 5168654"/>
              <a:gd name="connsiteY38-4276" fmla="*/ 1034437 h 2436046"/>
              <a:gd name="connsiteX39-4277" fmla="*/ 1316877 w 5168654"/>
              <a:gd name="connsiteY39-4278" fmla="*/ 1034437 h 2436046"/>
              <a:gd name="connsiteX40-4279" fmla="*/ 1316877 w 5168654"/>
              <a:gd name="connsiteY40-4280" fmla="*/ 1080333 h 2436046"/>
              <a:gd name="connsiteX41-4281" fmla="*/ 1489871 w 5168654"/>
              <a:gd name="connsiteY41-4282" fmla="*/ 1080333 h 2436046"/>
              <a:gd name="connsiteX42-4283" fmla="*/ 1489871 w 5168654"/>
              <a:gd name="connsiteY42-4284" fmla="*/ 1097986 h 2436046"/>
              <a:gd name="connsiteX43-4285" fmla="*/ 1518115 w 5168654"/>
              <a:gd name="connsiteY43-4286" fmla="*/ 1097986 h 2436046"/>
              <a:gd name="connsiteX44-4287" fmla="*/ 1518115 w 5168654"/>
              <a:gd name="connsiteY44-4288" fmla="*/ 1122699 h 2436046"/>
              <a:gd name="connsiteX45-4289" fmla="*/ 1532237 w 5168654"/>
              <a:gd name="connsiteY45-4290" fmla="*/ 1122699 h 2436046"/>
              <a:gd name="connsiteX46-4291" fmla="*/ 1539298 w 5168654"/>
              <a:gd name="connsiteY46-4292" fmla="*/ 1129760 h 2436046"/>
              <a:gd name="connsiteX47-4293" fmla="*/ 1553420 w 5168654"/>
              <a:gd name="connsiteY47-4294" fmla="*/ 1143882 h 2436046"/>
              <a:gd name="connsiteX48-4295" fmla="*/ 1553420 w 5168654"/>
              <a:gd name="connsiteY48-4296" fmla="*/ 1189779 h 2436046"/>
              <a:gd name="connsiteX49-4297" fmla="*/ 1564012 w 5168654"/>
              <a:gd name="connsiteY49-4298" fmla="*/ 1189779 h 2436046"/>
              <a:gd name="connsiteX50-4299" fmla="*/ 1564012 w 5168654"/>
              <a:gd name="connsiteY50-4300" fmla="*/ 1253328 h 2436046"/>
              <a:gd name="connsiteX51-4301" fmla="*/ 1578134 w 5168654"/>
              <a:gd name="connsiteY51-4302" fmla="*/ 1253328 h 2436046"/>
              <a:gd name="connsiteX52-4303" fmla="*/ 1578134 w 5168654"/>
              <a:gd name="connsiteY52-4304" fmla="*/ 1345121 h 2436046"/>
              <a:gd name="connsiteX53-4305" fmla="*/ 1588726 w 5168654"/>
              <a:gd name="connsiteY53-4306" fmla="*/ 1345121 h 2436046"/>
              <a:gd name="connsiteX54-4307" fmla="*/ 1588726 w 5168654"/>
              <a:gd name="connsiteY54-4308" fmla="*/ 1380426 h 2436046"/>
              <a:gd name="connsiteX55-4309" fmla="*/ 1588726 w 5168654"/>
              <a:gd name="connsiteY55-4310" fmla="*/ 1380426 h 2436046"/>
              <a:gd name="connsiteX56-4311" fmla="*/ 1627561 w 5168654"/>
              <a:gd name="connsiteY56-4312" fmla="*/ 1380426 h 2436046"/>
              <a:gd name="connsiteX57-4313" fmla="*/ 1797025 w 5168654"/>
              <a:gd name="connsiteY57-4314" fmla="*/ 1380426 h 2436046"/>
              <a:gd name="connsiteX58-4315" fmla="*/ 1797025 w 5168654"/>
              <a:gd name="connsiteY58-4316" fmla="*/ 1472219 h 2436046"/>
              <a:gd name="connsiteX59-4317" fmla="*/ 1828800 w 5168654"/>
              <a:gd name="connsiteY59-4318" fmla="*/ 1472219 h 2436046"/>
              <a:gd name="connsiteX60-4319" fmla="*/ 1828800 w 5168654"/>
              <a:gd name="connsiteY60-4320" fmla="*/ 1489872 h 2436046"/>
              <a:gd name="connsiteX61-4321" fmla="*/ 1828800 w 5168654"/>
              <a:gd name="connsiteY61-4322" fmla="*/ 1503994 h 2436046"/>
              <a:gd name="connsiteX62-4323" fmla="*/ 1846452 w 5168654"/>
              <a:gd name="connsiteY62-4324" fmla="*/ 1503994 h 2436046"/>
              <a:gd name="connsiteX63-4325" fmla="*/ 1846452 w 5168654"/>
              <a:gd name="connsiteY63-4326" fmla="*/ 1564012 h 2436046"/>
              <a:gd name="connsiteX64-4327" fmla="*/ 1878227 w 5168654"/>
              <a:gd name="connsiteY64-4328" fmla="*/ 1564012 h 2436046"/>
              <a:gd name="connsiteX65-4329" fmla="*/ 1878227 w 5168654"/>
              <a:gd name="connsiteY65-4330" fmla="*/ 1595787 h 2436046"/>
              <a:gd name="connsiteX66-4331" fmla="*/ 2072404 w 5168654"/>
              <a:gd name="connsiteY66-4332" fmla="*/ 1595787 h 2436046"/>
              <a:gd name="connsiteX67-4333" fmla="*/ 2072404 w 5168654"/>
              <a:gd name="connsiteY67-4334" fmla="*/ 1673458 h 2436046"/>
              <a:gd name="connsiteX68-4335" fmla="*/ 2093587 w 5168654"/>
              <a:gd name="connsiteY68-4336" fmla="*/ 1673458 h 2436046"/>
              <a:gd name="connsiteX69-4337" fmla="*/ 2093587 w 5168654"/>
              <a:gd name="connsiteY69-4338" fmla="*/ 1684049 h 2436046"/>
              <a:gd name="connsiteX70-4339" fmla="*/ 2097118 w 5168654"/>
              <a:gd name="connsiteY70-4340" fmla="*/ 1684049 h 2436046"/>
              <a:gd name="connsiteX71-4341" fmla="*/ 2097118 w 5168654"/>
              <a:gd name="connsiteY71-4342" fmla="*/ 1701702 h 2436046"/>
              <a:gd name="connsiteX72-4343" fmla="*/ 2111240 w 5168654"/>
              <a:gd name="connsiteY72-4344" fmla="*/ 1701702 h 2436046"/>
              <a:gd name="connsiteX73-4345" fmla="*/ 2114770 w 5168654"/>
              <a:gd name="connsiteY73-4346" fmla="*/ 1715824 h 2436046"/>
              <a:gd name="connsiteX74-4347" fmla="*/ 2418392 w 5168654"/>
              <a:gd name="connsiteY74-4348" fmla="*/ 1715824 h 2436046"/>
              <a:gd name="connsiteX75-4349" fmla="*/ 2418393 w 5168654"/>
              <a:gd name="connsiteY75-4350" fmla="*/ 1744068 h 2436046"/>
              <a:gd name="connsiteX76-4351" fmla="*/ 2418393 w 5168654"/>
              <a:gd name="connsiteY76-4352" fmla="*/ 1744068 h 2436046"/>
              <a:gd name="connsiteX77-4353" fmla="*/ 2446637 w 5168654"/>
              <a:gd name="connsiteY77-4354" fmla="*/ 1772312 h 2436046"/>
              <a:gd name="connsiteX78-4355" fmla="*/ 2460759 w 5168654"/>
              <a:gd name="connsiteY78-4356" fmla="*/ 1772312 h 2436046"/>
              <a:gd name="connsiteX79-4357" fmla="*/ 2460759 w 5168654"/>
              <a:gd name="connsiteY79-4358" fmla="*/ 1821739 h 2436046"/>
              <a:gd name="connsiteX80-4359" fmla="*/ 2478412 w 5168654"/>
              <a:gd name="connsiteY80-4360" fmla="*/ 1821739 h 2436046"/>
              <a:gd name="connsiteX81-4361" fmla="*/ 2478412 w 5168654"/>
              <a:gd name="connsiteY81-4362" fmla="*/ 1920593 h 2436046"/>
              <a:gd name="connsiteX82-4363" fmla="*/ 2633754 w 5168654"/>
              <a:gd name="connsiteY82-4364" fmla="*/ 1920593 h 2436046"/>
              <a:gd name="connsiteX83-4365" fmla="*/ 2633754 w 5168654"/>
              <a:gd name="connsiteY83-4366" fmla="*/ 1941776 h 2436046"/>
              <a:gd name="connsiteX84-4367" fmla="*/ 2732608 w 5168654"/>
              <a:gd name="connsiteY84-4368" fmla="*/ 1941776 h 2436046"/>
              <a:gd name="connsiteX85-4369" fmla="*/ 2729036 w 5168654"/>
              <a:gd name="connsiteY85-4370" fmla="*/ 1959407 h 2436046"/>
              <a:gd name="connsiteX86-4371" fmla="*/ 2782035 w 5168654"/>
              <a:gd name="connsiteY86-4372" fmla="*/ 1991203 h 2436046"/>
              <a:gd name="connsiteX87-4373" fmla="*/ 2838523 w 5168654"/>
              <a:gd name="connsiteY87-4374" fmla="*/ 1991203 h 2436046"/>
              <a:gd name="connsiteX88-4375" fmla="*/ 2838523 w 5168654"/>
              <a:gd name="connsiteY88-4376" fmla="*/ 2019447 h 2436046"/>
              <a:gd name="connsiteX89-4377" fmla="*/ 2852645 w 5168654"/>
              <a:gd name="connsiteY89-4378" fmla="*/ 2019447 h 2436046"/>
              <a:gd name="connsiteX90-4379" fmla="*/ 2852645 w 5168654"/>
              <a:gd name="connsiteY90-4380" fmla="*/ 2075935 h 2436046"/>
              <a:gd name="connsiteX91-4381" fmla="*/ 3219817 w 5168654"/>
              <a:gd name="connsiteY91-4382" fmla="*/ 2075934 h 2436046"/>
              <a:gd name="connsiteX92-4383" fmla="*/ 3205695 w 5168654"/>
              <a:gd name="connsiteY92-4384" fmla="*/ 2107709 h 2436046"/>
              <a:gd name="connsiteX93-4385" fmla="*/ 3237470 w 5168654"/>
              <a:gd name="connsiteY93-4386" fmla="*/ 2118300 h 2436046"/>
              <a:gd name="connsiteX94-4387" fmla="*/ 3230409 w 5168654"/>
              <a:gd name="connsiteY94-4388" fmla="*/ 2181850 h 2436046"/>
              <a:gd name="connsiteX95-4389" fmla="*/ 3438709 w 5168654"/>
              <a:gd name="connsiteY95-4390" fmla="*/ 2181850 h 2436046"/>
              <a:gd name="connsiteX96-4391" fmla="*/ 3438709 w 5168654"/>
              <a:gd name="connsiteY96-4392" fmla="*/ 2199502 h 2436046"/>
              <a:gd name="connsiteX97-4393" fmla="*/ 3565807 w 5168654"/>
              <a:gd name="connsiteY97-4394" fmla="*/ 2199502 h 2436046"/>
              <a:gd name="connsiteX98-4395" fmla="*/ 3565807 w 5168654"/>
              <a:gd name="connsiteY98-4396" fmla="*/ 2227746 h 2436046"/>
              <a:gd name="connsiteX99-4397" fmla="*/ 3618764 w 5168654"/>
              <a:gd name="connsiteY99-4398" fmla="*/ 2227746 h 2436046"/>
              <a:gd name="connsiteX100-4399" fmla="*/ 3618764 w 5168654"/>
              <a:gd name="connsiteY100-4400" fmla="*/ 2252460 h 2436046"/>
              <a:gd name="connsiteX101-4401" fmla="*/ 3890613 w 5168654"/>
              <a:gd name="connsiteY101-4402" fmla="*/ 2252460 h 2436046"/>
              <a:gd name="connsiteX102-4403" fmla="*/ 3890613 w 5168654"/>
              <a:gd name="connsiteY102-4404" fmla="*/ 2287765 h 2436046"/>
              <a:gd name="connsiteX103-4405" fmla="*/ 3975345 w 5168654"/>
              <a:gd name="connsiteY103-4406" fmla="*/ 2287765 h 2436046"/>
              <a:gd name="connsiteX104-4407" fmla="*/ 3975345 w 5168654"/>
              <a:gd name="connsiteY104-4408" fmla="*/ 2316009 h 2436046"/>
              <a:gd name="connsiteX105-4409" fmla="*/ 4007119 w 5168654"/>
              <a:gd name="connsiteY105-4410" fmla="*/ 2316009 h 2436046"/>
              <a:gd name="connsiteX106-4411" fmla="*/ 4007119 w 5168654"/>
              <a:gd name="connsiteY106-4412" fmla="*/ 2368967 h 2436046"/>
              <a:gd name="connsiteX107-4413" fmla="*/ 4614366 w 5168654"/>
              <a:gd name="connsiteY107-4414" fmla="*/ 2368967 h 2436046"/>
              <a:gd name="connsiteX108-4415" fmla="*/ 4614366 w 5168654"/>
              <a:gd name="connsiteY108-4416" fmla="*/ 2436046 h 2436046"/>
              <a:gd name="connsiteX109-4417" fmla="*/ 5168654 w 5168654"/>
              <a:gd name="connsiteY109-4418" fmla="*/ 2436046 h 2436046"/>
              <a:gd name="connsiteX0-4419" fmla="*/ 0 w 5168654"/>
              <a:gd name="connsiteY0-4420" fmla="*/ 0 h 2436046"/>
              <a:gd name="connsiteX1-4421" fmla="*/ 144750 w 5168654"/>
              <a:gd name="connsiteY1-4422" fmla="*/ 0 h 2436046"/>
              <a:gd name="connsiteX2-4423" fmla="*/ 144750 w 5168654"/>
              <a:gd name="connsiteY2-4424" fmla="*/ 42366 h 2436046"/>
              <a:gd name="connsiteX3-4425" fmla="*/ 158872 w 5168654"/>
              <a:gd name="connsiteY3-4426" fmla="*/ 42366 h 2436046"/>
              <a:gd name="connsiteX4-4427" fmla="*/ 158872 w 5168654"/>
              <a:gd name="connsiteY4-4428" fmla="*/ 81201 h 2436046"/>
              <a:gd name="connsiteX5-4429" fmla="*/ 162403 w 5168654"/>
              <a:gd name="connsiteY5-4430" fmla="*/ 84732 h 2436046"/>
              <a:gd name="connsiteX6-4431" fmla="*/ 162403 w 5168654"/>
              <a:gd name="connsiteY6-4432" fmla="*/ 155342 h 2436046"/>
              <a:gd name="connsiteX7-4433" fmla="*/ 257726 w 5168654"/>
              <a:gd name="connsiteY7-4434" fmla="*/ 155342 h 2436046"/>
              <a:gd name="connsiteX8-4435" fmla="*/ 257726 w 5168654"/>
              <a:gd name="connsiteY8-4436" fmla="*/ 190647 h 2436046"/>
              <a:gd name="connsiteX9-4437" fmla="*/ 268318 w 5168654"/>
              <a:gd name="connsiteY9-4438" fmla="*/ 190647 h 2436046"/>
              <a:gd name="connsiteX10-4439" fmla="*/ 268318 w 5168654"/>
              <a:gd name="connsiteY10-4440" fmla="*/ 211830 h 2436046"/>
              <a:gd name="connsiteX11-4441" fmla="*/ 508392 w 5168654"/>
              <a:gd name="connsiteY11-4442" fmla="*/ 211830 h 2436046"/>
              <a:gd name="connsiteX12-4443" fmla="*/ 508392 w 5168654"/>
              <a:gd name="connsiteY12-4444" fmla="*/ 243604 h 2436046"/>
              <a:gd name="connsiteX13-4445" fmla="*/ 536636 w 5168654"/>
              <a:gd name="connsiteY13-4446" fmla="*/ 243604 h 2436046"/>
              <a:gd name="connsiteX14-4447" fmla="*/ 536636 w 5168654"/>
              <a:gd name="connsiteY14-4448" fmla="*/ 363641 h 2436046"/>
              <a:gd name="connsiteX15-4449" fmla="*/ 554288 w 5168654"/>
              <a:gd name="connsiteY15-4450" fmla="*/ 363641 h 2436046"/>
              <a:gd name="connsiteX16-4451" fmla="*/ 554288 w 5168654"/>
              <a:gd name="connsiteY16-4452" fmla="*/ 423660 h 2436046"/>
              <a:gd name="connsiteX17-4453" fmla="*/ 769649 w 5168654"/>
              <a:gd name="connsiteY17-4454" fmla="*/ 423660 h 2436046"/>
              <a:gd name="connsiteX18-4455" fmla="*/ 769649 w 5168654"/>
              <a:gd name="connsiteY18-4456" fmla="*/ 430721 h 2436046"/>
              <a:gd name="connsiteX19-4457" fmla="*/ 776710 w 5168654"/>
              <a:gd name="connsiteY19-4458" fmla="*/ 437782 h 2436046"/>
              <a:gd name="connsiteX20-4459" fmla="*/ 776710 w 5168654"/>
              <a:gd name="connsiteY20-4460" fmla="*/ 455434 h 2436046"/>
              <a:gd name="connsiteX21-4461" fmla="*/ 794363 w 5168654"/>
              <a:gd name="connsiteY21-4462" fmla="*/ 455434 h 2436046"/>
              <a:gd name="connsiteX22-4463" fmla="*/ 794363 w 5168654"/>
              <a:gd name="connsiteY22-4464" fmla="*/ 497801 h 2436046"/>
              <a:gd name="connsiteX23-4465" fmla="*/ 808485 w 5168654"/>
              <a:gd name="connsiteY23-4466" fmla="*/ 497801 h 2436046"/>
              <a:gd name="connsiteX24-4467" fmla="*/ 808485 w 5168654"/>
              <a:gd name="connsiteY24-4468" fmla="*/ 621368 h 2436046"/>
              <a:gd name="connsiteX25-4469" fmla="*/ 822607 w 5168654"/>
              <a:gd name="connsiteY25-4470" fmla="*/ 621368 h 2436046"/>
              <a:gd name="connsiteX26-4471" fmla="*/ 822607 w 5168654"/>
              <a:gd name="connsiteY26-4472" fmla="*/ 639021 h 2436046"/>
              <a:gd name="connsiteX27-4473" fmla="*/ 1045028 w 5168654"/>
              <a:gd name="connsiteY27-4474" fmla="*/ 639021 h 2436046"/>
              <a:gd name="connsiteX28-4475" fmla="*/ 1045028 w 5168654"/>
              <a:gd name="connsiteY28-4476" fmla="*/ 790832 h 2436046"/>
              <a:gd name="connsiteX29-4477" fmla="*/ 1059150 w 5168654"/>
              <a:gd name="connsiteY29-4478" fmla="*/ 790832 h 2436046"/>
              <a:gd name="connsiteX30-4479" fmla="*/ 1059150 w 5168654"/>
              <a:gd name="connsiteY30-4480" fmla="*/ 889686 h 2436046"/>
              <a:gd name="connsiteX31-4481" fmla="*/ 1083864 w 5168654"/>
              <a:gd name="connsiteY31-4482" fmla="*/ 889686 h 2436046"/>
              <a:gd name="connsiteX32-4483" fmla="*/ 1101516 w 5168654"/>
              <a:gd name="connsiteY32-4484" fmla="*/ 889686 h 2436046"/>
              <a:gd name="connsiteX33-4485" fmla="*/ 1158004 w 5168654"/>
              <a:gd name="connsiteY33-4486" fmla="*/ 889686 h 2436046"/>
              <a:gd name="connsiteX34-4487" fmla="*/ 1158004 w 5168654"/>
              <a:gd name="connsiteY34-4488" fmla="*/ 917930 h 2436046"/>
              <a:gd name="connsiteX35-4489" fmla="*/ 1302755 w 5168654"/>
              <a:gd name="connsiteY35-4490" fmla="*/ 917930 h 2436046"/>
              <a:gd name="connsiteX36-4491" fmla="*/ 1302755 w 5168654"/>
              <a:gd name="connsiteY36-4492" fmla="*/ 942644 h 2436046"/>
              <a:gd name="connsiteX37-4493" fmla="*/ 1313346 w 5168654"/>
              <a:gd name="connsiteY37-4494" fmla="*/ 942644 h 2436046"/>
              <a:gd name="connsiteX38-4495" fmla="*/ 1313346 w 5168654"/>
              <a:gd name="connsiteY38-4496" fmla="*/ 1034437 h 2436046"/>
              <a:gd name="connsiteX39-4497" fmla="*/ 1316877 w 5168654"/>
              <a:gd name="connsiteY39-4498" fmla="*/ 1034437 h 2436046"/>
              <a:gd name="connsiteX40-4499" fmla="*/ 1316877 w 5168654"/>
              <a:gd name="connsiteY40-4500" fmla="*/ 1080333 h 2436046"/>
              <a:gd name="connsiteX41-4501" fmla="*/ 1489871 w 5168654"/>
              <a:gd name="connsiteY41-4502" fmla="*/ 1080333 h 2436046"/>
              <a:gd name="connsiteX42-4503" fmla="*/ 1489871 w 5168654"/>
              <a:gd name="connsiteY42-4504" fmla="*/ 1097986 h 2436046"/>
              <a:gd name="connsiteX43-4505" fmla="*/ 1518115 w 5168654"/>
              <a:gd name="connsiteY43-4506" fmla="*/ 1097986 h 2436046"/>
              <a:gd name="connsiteX44-4507" fmla="*/ 1518115 w 5168654"/>
              <a:gd name="connsiteY44-4508" fmla="*/ 1122699 h 2436046"/>
              <a:gd name="connsiteX45-4509" fmla="*/ 1532237 w 5168654"/>
              <a:gd name="connsiteY45-4510" fmla="*/ 1122699 h 2436046"/>
              <a:gd name="connsiteX46-4511" fmla="*/ 1539298 w 5168654"/>
              <a:gd name="connsiteY46-4512" fmla="*/ 1129760 h 2436046"/>
              <a:gd name="connsiteX47-4513" fmla="*/ 1553420 w 5168654"/>
              <a:gd name="connsiteY47-4514" fmla="*/ 1143882 h 2436046"/>
              <a:gd name="connsiteX48-4515" fmla="*/ 1553420 w 5168654"/>
              <a:gd name="connsiteY48-4516" fmla="*/ 1189779 h 2436046"/>
              <a:gd name="connsiteX49-4517" fmla="*/ 1564012 w 5168654"/>
              <a:gd name="connsiteY49-4518" fmla="*/ 1189779 h 2436046"/>
              <a:gd name="connsiteX50-4519" fmla="*/ 1564012 w 5168654"/>
              <a:gd name="connsiteY50-4520" fmla="*/ 1253328 h 2436046"/>
              <a:gd name="connsiteX51-4521" fmla="*/ 1578134 w 5168654"/>
              <a:gd name="connsiteY51-4522" fmla="*/ 1253328 h 2436046"/>
              <a:gd name="connsiteX52-4523" fmla="*/ 1578134 w 5168654"/>
              <a:gd name="connsiteY52-4524" fmla="*/ 1345121 h 2436046"/>
              <a:gd name="connsiteX53-4525" fmla="*/ 1588726 w 5168654"/>
              <a:gd name="connsiteY53-4526" fmla="*/ 1345121 h 2436046"/>
              <a:gd name="connsiteX54-4527" fmla="*/ 1588726 w 5168654"/>
              <a:gd name="connsiteY54-4528" fmla="*/ 1380426 h 2436046"/>
              <a:gd name="connsiteX55-4529" fmla="*/ 1588726 w 5168654"/>
              <a:gd name="connsiteY55-4530" fmla="*/ 1380426 h 2436046"/>
              <a:gd name="connsiteX56-4531" fmla="*/ 1627561 w 5168654"/>
              <a:gd name="connsiteY56-4532" fmla="*/ 1380426 h 2436046"/>
              <a:gd name="connsiteX57-4533" fmla="*/ 1797025 w 5168654"/>
              <a:gd name="connsiteY57-4534" fmla="*/ 1380426 h 2436046"/>
              <a:gd name="connsiteX58-4535" fmla="*/ 1797025 w 5168654"/>
              <a:gd name="connsiteY58-4536" fmla="*/ 1472219 h 2436046"/>
              <a:gd name="connsiteX59-4537" fmla="*/ 1828800 w 5168654"/>
              <a:gd name="connsiteY59-4538" fmla="*/ 1472219 h 2436046"/>
              <a:gd name="connsiteX60-4539" fmla="*/ 1828800 w 5168654"/>
              <a:gd name="connsiteY60-4540" fmla="*/ 1489872 h 2436046"/>
              <a:gd name="connsiteX61-4541" fmla="*/ 1828800 w 5168654"/>
              <a:gd name="connsiteY61-4542" fmla="*/ 1503994 h 2436046"/>
              <a:gd name="connsiteX62-4543" fmla="*/ 1846452 w 5168654"/>
              <a:gd name="connsiteY62-4544" fmla="*/ 1503994 h 2436046"/>
              <a:gd name="connsiteX63-4545" fmla="*/ 1846452 w 5168654"/>
              <a:gd name="connsiteY63-4546" fmla="*/ 1564012 h 2436046"/>
              <a:gd name="connsiteX64-4547" fmla="*/ 1878227 w 5168654"/>
              <a:gd name="connsiteY64-4548" fmla="*/ 1564012 h 2436046"/>
              <a:gd name="connsiteX65-4549" fmla="*/ 1878227 w 5168654"/>
              <a:gd name="connsiteY65-4550" fmla="*/ 1595787 h 2436046"/>
              <a:gd name="connsiteX66-4551" fmla="*/ 2072404 w 5168654"/>
              <a:gd name="connsiteY66-4552" fmla="*/ 1595787 h 2436046"/>
              <a:gd name="connsiteX67-4553" fmla="*/ 2072404 w 5168654"/>
              <a:gd name="connsiteY67-4554" fmla="*/ 1673458 h 2436046"/>
              <a:gd name="connsiteX68-4555" fmla="*/ 2093587 w 5168654"/>
              <a:gd name="connsiteY68-4556" fmla="*/ 1673458 h 2436046"/>
              <a:gd name="connsiteX69-4557" fmla="*/ 2093587 w 5168654"/>
              <a:gd name="connsiteY69-4558" fmla="*/ 1684049 h 2436046"/>
              <a:gd name="connsiteX70-4559" fmla="*/ 2097118 w 5168654"/>
              <a:gd name="connsiteY70-4560" fmla="*/ 1684049 h 2436046"/>
              <a:gd name="connsiteX71-4561" fmla="*/ 2097118 w 5168654"/>
              <a:gd name="connsiteY71-4562" fmla="*/ 1701702 h 2436046"/>
              <a:gd name="connsiteX72-4563" fmla="*/ 2111240 w 5168654"/>
              <a:gd name="connsiteY72-4564" fmla="*/ 1701702 h 2436046"/>
              <a:gd name="connsiteX73-4565" fmla="*/ 2114770 w 5168654"/>
              <a:gd name="connsiteY73-4566" fmla="*/ 1715824 h 2436046"/>
              <a:gd name="connsiteX74-4567" fmla="*/ 2418392 w 5168654"/>
              <a:gd name="connsiteY74-4568" fmla="*/ 1715824 h 2436046"/>
              <a:gd name="connsiteX75-4569" fmla="*/ 2418393 w 5168654"/>
              <a:gd name="connsiteY75-4570" fmla="*/ 1744068 h 2436046"/>
              <a:gd name="connsiteX76-4571" fmla="*/ 2418393 w 5168654"/>
              <a:gd name="connsiteY76-4572" fmla="*/ 1744068 h 2436046"/>
              <a:gd name="connsiteX77-4573" fmla="*/ 2446637 w 5168654"/>
              <a:gd name="connsiteY77-4574" fmla="*/ 1772312 h 2436046"/>
              <a:gd name="connsiteX78-4575" fmla="*/ 2460759 w 5168654"/>
              <a:gd name="connsiteY78-4576" fmla="*/ 1772312 h 2436046"/>
              <a:gd name="connsiteX79-4577" fmla="*/ 2460759 w 5168654"/>
              <a:gd name="connsiteY79-4578" fmla="*/ 1821739 h 2436046"/>
              <a:gd name="connsiteX80-4579" fmla="*/ 2478412 w 5168654"/>
              <a:gd name="connsiteY80-4580" fmla="*/ 1821739 h 2436046"/>
              <a:gd name="connsiteX81-4581" fmla="*/ 2478412 w 5168654"/>
              <a:gd name="connsiteY81-4582" fmla="*/ 1920593 h 2436046"/>
              <a:gd name="connsiteX82-4583" fmla="*/ 2633754 w 5168654"/>
              <a:gd name="connsiteY82-4584" fmla="*/ 1920593 h 2436046"/>
              <a:gd name="connsiteX83-4585" fmla="*/ 2633754 w 5168654"/>
              <a:gd name="connsiteY83-4586" fmla="*/ 1941776 h 2436046"/>
              <a:gd name="connsiteX84-4587" fmla="*/ 2732608 w 5168654"/>
              <a:gd name="connsiteY84-4588" fmla="*/ 1941776 h 2436046"/>
              <a:gd name="connsiteX85-4589" fmla="*/ 2729036 w 5168654"/>
              <a:gd name="connsiteY85-4590" fmla="*/ 1959407 h 2436046"/>
              <a:gd name="connsiteX86-4591" fmla="*/ 2782035 w 5168654"/>
              <a:gd name="connsiteY86-4592" fmla="*/ 1991203 h 2436046"/>
              <a:gd name="connsiteX87-4593" fmla="*/ 2838523 w 5168654"/>
              <a:gd name="connsiteY87-4594" fmla="*/ 1991203 h 2436046"/>
              <a:gd name="connsiteX88-4595" fmla="*/ 2838523 w 5168654"/>
              <a:gd name="connsiteY88-4596" fmla="*/ 2019447 h 2436046"/>
              <a:gd name="connsiteX89-4597" fmla="*/ 2852645 w 5168654"/>
              <a:gd name="connsiteY89-4598" fmla="*/ 2019447 h 2436046"/>
              <a:gd name="connsiteX90-4599" fmla="*/ 2852645 w 5168654"/>
              <a:gd name="connsiteY90-4600" fmla="*/ 2075935 h 2436046"/>
              <a:gd name="connsiteX91-4601" fmla="*/ 3219817 w 5168654"/>
              <a:gd name="connsiteY91-4602" fmla="*/ 2075934 h 2436046"/>
              <a:gd name="connsiteX92-4603" fmla="*/ 3205695 w 5168654"/>
              <a:gd name="connsiteY92-4604" fmla="*/ 2107709 h 2436046"/>
              <a:gd name="connsiteX93-4605" fmla="*/ 3237470 w 5168654"/>
              <a:gd name="connsiteY93-4606" fmla="*/ 2118300 h 2436046"/>
              <a:gd name="connsiteX94-4607" fmla="*/ 3230409 w 5168654"/>
              <a:gd name="connsiteY94-4608" fmla="*/ 2181850 h 2436046"/>
              <a:gd name="connsiteX95-4609" fmla="*/ 3438709 w 5168654"/>
              <a:gd name="connsiteY95-4610" fmla="*/ 2181850 h 2436046"/>
              <a:gd name="connsiteX96-4611" fmla="*/ 3438709 w 5168654"/>
              <a:gd name="connsiteY96-4612" fmla="*/ 2199502 h 2436046"/>
              <a:gd name="connsiteX97-4613" fmla="*/ 3565807 w 5168654"/>
              <a:gd name="connsiteY97-4614" fmla="*/ 2199502 h 2436046"/>
              <a:gd name="connsiteX98-4615" fmla="*/ 3565807 w 5168654"/>
              <a:gd name="connsiteY98-4616" fmla="*/ 2227746 h 2436046"/>
              <a:gd name="connsiteX99-4617" fmla="*/ 3618764 w 5168654"/>
              <a:gd name="connsiteY99-4618" fmla="*/ 2227746 h 2436046"/>
              <a:gd name="connsiteX100-4619" fmla="*/ 3618764 w 5168654"/>
              <a:gd name="connsiteY100-4620" fmla="*/ 2252460 h 2436046"/>
              <a:gd name="connsiteX101-4621" fmla="*/ 3890613 w 5168654"/>
              <a:gd name="connsiteY101-4622" fmla="*/ 2252460 h 2436046"/>
              <a:gd name="connsiteX102-4623" fmla="*/ 3890613 w 5168654"/>
              <a:gd name="connsiteY102-4624" fmla="*/ 2287765 h 2436046"/>
              <a:gd name="connsiteX103-4625" fmla="*/ 3975345 w 5168654"/>
              <a:gd name="connsiteY103-4626" fmla="*/ 2287765 h 2436046"/>
              <a:gd name="connsiteX104-4627" fmla="*/ 3975345 w 5168654"/>
              <a:gd name="connsiteY104-4628" fmla="*/ 2316009 h 2436046"/>
              <a:gd name="connsiteX105-4629" fmla="*/ 4007119 w 5168654"/>
              <a:gd name="connsiteY105-4630" fmla="*/ 2316009 h 2436046"/>
              <a:gd name="connsiteX106-4631" fmla="*/ 4007119 w 5168654"/>
              <a:gd name="connsiteY106-4632" fmla="*/ 2368967 h 2436046"/>
              <a:gd name="connsiteX107-4633" fmla="*/ 4614366 w 5168654"/>
              <a:gd name="connsiteY107-4634" fmla="*/ 2368967 h 2436046"/>
              <a:gd name="connsiteX108-4635" fmla="*/ 4614366 w 5168654"/>
              <a:gd name="connsiteY108-4636" fmla="*/ 2436046 h 2436046"/>
              <a:gd name="connsiteX109-4637" fmla="*/ 5168654 w 5168654"/>
              <a:gd name="connsiteY109-4638" fmla="*/ 2436046 h 2436046"/>
              <a:gd name="connsiteX0-4639" fmla="*/ 0 w 5168654"/>
              <a:gd name="connsiteY0-4640" fmla="*/ 0 h 2436046"/>
              <a:gd name="connsiteX1-4641" fmla="*/ 144750 w 5168654"/>
              <a:gd name="connsiteY1-4642" fmla="*/ 0 h 2436046"/>
              <a:gd name="connsiteX2-4643" fmla="*/ 144750 w 5168654"/>
              <a:gd name="connsiteY2-4644" fmla="*/ 42366 h 2436046"/>
              <a:gd name="connsiteX3-4645" fmla="*/ 158872 w 5168654"/>
              <a:gd name="connsiteY3-4646" fmla="*/ 42366 h 2436046"/>
              <a:gd name="connsiteX4-4647" fmla="*/ 158872 w 5168654"/>
              <a:gd name="connsiteY4-4648" fmla="*/ 81201 h 2436046"/>
              <a:gd name="connsiteX5-4649" fmla="*/ 162403 w 5168654"/>
              <a:gd name="connsiteY5-4650" fmla="*/ 84732 h 2436046"/>
              <a:gd name="connsiteX6-4651" fmla="*/ 162403 w 5168654"/>
              <a:gd name="connsiteY6-4652" fmla="*/ 155342 h 2436046"/>
              <a:gd name="connsiteX7-4653" fmla="*/ 257726 w 5168654"/>
              <a:gd name="connsiteY7-4654" fmla="*/ 155342 h 2436046"/>
              <a:gd name="connsiteX8-4655" fmla="*/ 257726 w 5168654"/>
              <a:gd name="connsiteY8-4656" fmla="*/ 190647 h 2436046"/>
              <a:gd name="connsiteX9-4657" fmla="*/ 268318 w 5168654"/>
              <a:gd name="connsiteY9-4658" fmla="*/ 190647 h 2436046"/>
              <a:gd name="connsiteX10-4659" fmla="*/ 268318 w 5168654"/>
              <a:gd name="connsiteY10-4660" fmla="*/ 211830 h 2436046"/>
              <a:gd name="connsiteX11-4661" fmla="*/ 508392 w 5168654"/>
              <a:gd name="connsiteY11-4662" fmla="*/ 211830 h 2436046"/>
              <a:gd name="connsiteX12-4663" fmla="*/ 508392 w 5168654"/>
              <a:gd name="connsiteY12-4664" fmla="*/ 243604 h 2436046"/>
              <a:gd name="connsiteX13-4665" fmla="*/ 536636 w 5168654"/>
              <a:gd name="connsiteY13-4666" fmla="*/ 243604 h 2436046"/>
              <a:gd name="connsiteX14-4667" fmla="*/ 536636 w 5168654"/>
              <a:gd name="connsiteY14-4668" fmla="*/ 363641 h 2436046"/>
              <a:gd name="connsiteX15-4669" fmla="*/ 554288 w 5168654"/>
              <a:gd name="connsiteY15-4670" fmla="*/ 363641 h 2436046"/>
              <a:gd name="connsiteX16-4671" fmla="*/ 554288 w 5168654"/>
              <a:gd name="connsiteY16-4672" fmla="*/ 423660 h 2436046"/>
              <a:gd name="connsiteX17-4673" fmla="*/ 769649 w 5168654"/>
              <a:gd name="connsiteY17-4674" fmla="*/ 423660 h 2436046"/>
              <a:gd name="connsiteX18-4675" fmla="*/ 769649 w 5168654"/>
              <a:gd name="connsiteY18-4676" fmla="*/ 430721 h 2436046"/>
              <a:gd name="connsiteX19-4677" fmla="*/ 776710 w 5168654"/>
              <a:gd name="connsiteY19-4678" fmla="*/ 437782 h 2436046"/>
              <a:gd name="connsiteX20-4679" fmla="*/ 776710 w 5168654"/>
              <a:gd name="connsiteY20-4680" fmla="*/ 455434 h 2436046"/>
              <a:gd name="connsiteX21-4681" fmla="*/ 794363 w 5168654"/>
              <a:gd name="connsiteY21-4682" fmla="*/ 455434 h 2436046"/>
              <a:gd name="connsiteX22-4683" fmla="*/ 794363 w 5168654"/>
              <a:gd name="connsiteY22-4684" fmla="*/ 497801 h 2436046"/>
              <a:gd name="connsiteX23-4685" fmla="*/ 808485 w 5168654"/>
              <a:gd name="connsiteY23-4686" fmla="*/ 497801 h 2436046"/>
              <a:gd name="connsiteX24-4687" fmla="*/ 808485 w 5168654"/>
              <a:gd name="connsiteY24-4688" fmla="*/ 621368 h 2436046"/>
              <a:gd name="connsiteX25-4689" fmla="*/ 822607 w 5168654"/>
              <a:gd name="connsiteY25-4690" fmla="*/ 621368 h 2436046"/>
              <a:gd name="connsiteX26-4691" fmla="*/ 822607 w 5168654"/>
              <a:gd name="connsiteY26-4692" fmla="*/ 639021 h 2436046"/>
              <a:gd name="connsiteX27-4693" fmla="*/ 1045028 w 5168654"/>
              <a:gd name="connsiteY27-4694" fmla="*/ 639021 h 2436046"/>
              <a:gd name="connsiteX28-4695" fmla="*/ 1045028 w 5168654"/>
              <a:gd name="connsiteY28-4696" fmla="*/ 790832 h 2436046"/>
              <a:gd name="connsiteX29-4697" fmla="*/ 1059150 w 5168654"/>
              <a:gd name="connsiteY29-4698" fmla="*/ 790832 h 2436046"/>
              <a:gd name="connsiteX30-4699" fmla="*/ 1059150 w 5168654"/>
              <a:gd name="connsiteY30-4700" fmla="*/ 889686 h 2436046"/>
              <a:gd name="connsiteX31-4701" fmla="*/ 1083864 w 5168654"/>
              <a:gd name="connsiteY31-4702" fmla="*/ 889686 h 2436046"/>
              <a:gd name="connsiteX32-4703" fmla="*/ 1101516 w 5168654"/>
              <a:gd name="connsiteY32-4704" fmla="*/ 889686 h 2436046"/>
              <a:gd name="connsiteX33-4705" fmla="*/ 1158004 w 5168654"/>
              <a:gd name="connsiteY33-4706" fmla="*/ 889686 h 2436046"/>
              <a:gd name="connsiteX34-4707" fmla="*/ 1158004 w 5168654"/>
              <a:gd name="connsiteY34-4708" fmla="*/ 917930 h 2436046"/>
              <a:gd name="connsiteX35-4709" fmla="*/ 1302755 w 5168654"/>
              <a:gd name="connsiteY35-4710" fmla="*/ 917930 h 2436046"/>
              <a:gd name="connsiteX36-4711" fmla="*/ 1302755 w 5168654"/>
              <a:gd name="connsiteY36-4712" fmla="*/ 942644 h 2436046"/>
              <a:gd name="connsiteX37-4713" fmla="*/ 1313346 w 5168654"/>
              <a:gd name="connsiteY37-4714" fmla="*/ 942644 h 2436046"/>
              <a:gd name="connsiteX38-4715" fmla="*/ 1313346 w 5168654"/>
              <a:gd name="connsiteY38-4716" fmla="*/ 1034437 h 2436046"/>
              <a:gd name="connsiteX39-4717" fmla="*/ 1316877 w 5168654"/>
              <a:gd name="connsiteY39-4718" fmla="*/ 1034437 h 2436046"/>
              <a:gd name="connsiteX40-4719" fmla="*/ 1316877 w 5168654"/>
              <a:gd name="connsiteY40-4720" fmla="*/ 1080333 h 2436046"/>
              <a:gd name="connsiteX41-4721" fmla="*/ 1489871 w 5168654"/>
              <a:gd name="connsiteY41-4722" fmla="*/ 1080333 h 2436046"/>
              <a:gd name="connsiteX42-4723" fmla="*/ 1489871 w 5168654"/>
              <a:gd name="connsiteY42-4724" fmla="*/ 1097986 h 2436046"/>
              <a:gd name="connsiteX43-4725" fmla="*/ 1518115 w 5168654"/>
              <a:gd name="connsiteY43-4726" fmla="*/ 1097986 h 2436046"/>
              <a:gd name="connsiteX44-4727" fmla="*/ 1518115 w 5168654"/>
              <a:gd name="connsiteY44-4728" fmla="*/ 1122699 h 2436046"/>
              <a:gd name="connsiteX45-4729" fmla="*/ 1532237 w 5168654"/>
              <a:gd name="connsiteY45-4730" fmla="*/ 1122699 h 2436046"/>
              <a:gd name="connsiteX46-4731" fmla="*/ 1539298 w 5168654"/>
              <a:gd name="connsiteY46-4732" fmla="*/ 1129760 h 2436046"/>
              <a:gd name="connsiteX47-4733" fmla="*/ 1553420 w 5168654"/>
              <a:gd name="connsiteY47-4734" fmla="*/ 1143882 h 2436046"/>
              <a:gd name="connsiteX48-4735" fmla="*/ 1553420 w 5168654"/>
              <a:gd name="connsiteY48-4736" fmla="*/ 1189779 h 2436046"/>
              <a:gd name="connsiteX49-4737" fmla="*/ 1564012 w 5168654"/>
              <a:gd name="connsiteY49-4738" fmla="*/ 1189779 h 2436046"/>
              <a:gd name="connsiteX50-4739" fmla="*/ 1564012 w 5168654"/>
              <a:gd name="connsiteY50-4740" fmla="*/ 1253328 h 2436046"/>
              <a:gd name="connsiteX51-4741" fmla="*/ 1578134 w 5168654"/>
              <a:gd name="connsiteY51-4742" fmla="*/ 1253328 h 2436046"/>
              <a:gd name="connsiteX52-4743" fmla="*/ 1578134 w 5168654"/>
              <a:gd name="connsiteY52-4744" fmla="*/ 1345121 h 2436046"/>
              <a:gd name="connsiteX53-4745" fmla="*/ 1588726 w 5168654"/>
              <a:gd name="connsiteY53-4746" fmla="*/ 1345121 h 2436046"/>
              <a:gd name="connsiteX54-4747" fmla="*/ 1588726 w 5168654"/>
              <a:gd name="connsiteY54-4748" fmla="*/ 1380426 h 2436046"/>
              <a:gd name="connsiteX55-4749" fmla="*/ 1588726 w 5168654"/>
              <a:gd name="connsiteY55-4750" fmla="*/ 1380426 h 2436046"/>
              <a:gd name="connsiteX56-4751" fmla="*/ 1627561 w 5168654"/>
              <a:gd name="connsiteY56-4752" fmla="*/ 1380426 h 2436046"/>
              <a:gd name="connsiteX57-4753" fmla="*/ 1797025 w 5168654"/>
              <a:gd name="connsiteY57-4754" fmla="*/ 1380426 h 2436046"/>
              <a:gd name="connsiteX58-4755" fmla="*/ 1797025 w 5168654"/>
              <a:gd name="connsiteY58-4756" fmla="*/ 1472219 h 2436046"/>
              <a:gd name="connsiteX59-4757" fmla="*/ 1828800 w 5168654"/>
              <a:gd name="connsiteY59-4758" fmla="*/ 1472219 h 2436046"/>
              <a:gd name="connsiteX60-4759" fmla="*/ 1828800 w 5168654"/>
              <a:gd name="connsiteY60-4760" fmla="*/ 1489872 h 2436046"/>
              <a:gd name="connsiteX61-4761" fmla="*/ 1828800 w 5168654"/>
              <a:gd name="connsiteY61-4762" fmla="*/ 1503994 h 2436046"/>
              <a:gd name="connsiteX62-4763" fmla="*/ 1846452 w 5168654"/>
              <a:gd name="connsiteY62-4764" fmla="*/ 1503994 h 2436046"/>
              <a:gd name="connsiteX63-4765" fmla="*/ 1846452 w 5168654"/>
              <a:gd name="connsiteY63-4766" fmla="*/ 1564012 h 2436046"/>
              <a:gd name="connsiteX64-4767" fmla="*/ 1878227 w 5168654"/>
              <a:gd name="connsiteY64-4768" fmla="*/ 1564012 h 2436046"/>
              <a:gd name="connsiteX65-4769" fmla="*/ 1878227 w 5168654"/>
              <a:gd name="connsiteY65-4770" fmla="*/ 1595787 h 2436046"/>
              <a:gd name="connsiteX66-4771" fmla="*/ 2072404 w 5168654"/>
              <a:gd name="connsiteY66-4772" fmla="*/ 1595787 h 2436046"/>
              <a:gd name="connsiteX67-4773" fmla="*/ 2072404 w 5168654"/>
              <a:gd name="connsiteY67-4774" fmla="*/ 1673458 h 2436046"/>
              <a:gd name="connsiteX68-4775" fmla="*/ 2093587 w 5168654"/>
              <a:gd name="connsiteY68-4776" fmla="*/ 1673458 h 2436046"/>
              <a:gd name="connsiteX69-4777" fmla="*/ 2093587 w 5168654"/>
              <a:gd name="connsiteY69-4778" fmla="*/ 1684049 h 2436046"/>
              <a:gd name="connsiteX70-4779" fmla="*/ 2097118 w 5168654"/>
              <a:gd name="connsiteY70-4780" fmla="*/ 1684049 h 2436046"/>
              <a:gd name="connsiteX71-4781" fmla="*/ 2097118 w 5168654"/>
              <a:gd name="connsiteY71-4782" fmla="*/ 1701702 h 2436046"/>
              <a:gd name="connsiteX72-4783" fmla="*/ 2111240 w 5168654"/>
              <a:gd name="connsiteY72-4784" fmla="*/ 1701702 h 2436046"/>
              <a:gd name="connsiteX73-4785" fmla="*/ 2114770 w 5168654"/>
              <a:gd name="connsiteY73-4786" fmla="*/ 1715824 h 2436046"/>
              <a:gd name="connsiteX74-4787" fmla="*/ 2418392 w 5168654"/>
              <a:gd name="connsiteY74-4788" fmla="*/ 1715824 h 2436046"/>
              <a:gd name="connsiteX75-4789" fmla="*/ 2418393 w 5168654"/>
              <a:gd name="connsiteY75-4790" fmla="*/ 1744068 h 2436046"/>
              <a:gd name="connsiteX76-4791" fmla="*/ 2418393 w 5168654"/>
              <a:gd name="connsiteY76-4792" fmla="*/ 1744068 h 2436046"/>
              <a:gd name="connsiteX77-4793" fmla="*/ 2446637 w 5168654"/>
              <a:gd name="connsiteY77-4794" fmla="*/ 1772312 h 2436046"/>
              <a:gd name="connsiteX78-4795" fmla="*/ 2460759 w 5168654"/>
              <a:gd name="connsiteY78-4796" fmla="*/ 1772312 h 2436046"/>
              <a:gd name="connsiteX79-4797" fmla="*/ 2460759 w 5168654"/>
              <a:gd name="connsiteY79-4798" fmla="*/ 1821739 h 2436046"/>
              <a:gd name="connsiteX80-4799" fmla="*/ 2478412 w 5168654"/>
              <a:gd name="connsiteY80-4800" fmla="*/ 1821739 h 2436046"/>
              <a:gd name="connsiteX81-4801" fmla="*/ 2478412 w 5168654"/>
              <a:gd name="connsiteY81-4802" fmla="*/ 1920593 h 2436046"/>
              <a:gd name="connsiteX82-4803" fmla="*/ 2633754 w 5168654"/>
              <a:gd name="connsiteY82-4804" fmla="*/ 1920593 h 2436046"/>
              <a:gd name="connsiteX83-4805" fmla="*/ 2633754 w 5168654"/>
              <a:gd name="connsiteY83-4806" fmla="*/ 1941776 h 2436046"/>
              <a:gd name="connsiteX84-4807" fmla="*/ 2732608 w 5168654"/>
              <a:gd name="connsiteY84-4808" fmla="*/ 1941776 h 2436046"/>
              <a:gd name="connsiteX85-4809" fmla="*/ 2729036 w 5168654"/>
              <a:gd name="connsiteY85-4810" fmla="*/ 1959407 h 2436046"/>
              <a:gd name="connsiteX86-4811" fmla="*/ 2761118 w 5168654"/>
              <a:gd name="connsiteY86-4812" fmla="*/ 1979404 h 2436046"/>
              <a:gd name="connsiteX87-4813" fmla="*/ 2782035 w 5168654"/>
              <a:gd name="connsiteY87-4814" fmla="*/ 1991203 h 2436046"/>
              <a:gd name="connsiteX88-4815" fmla="*/ 2838523 w 5168654"/>
              <a:gd name="connsiteY88-4816" fmla="*/ 1991203 h 2436046"/>
              <a:gd name="connsiteX89-4817" fmla="*/ 2838523 w 5168654"/>
              <a:gd name="connsiteY89-4818" fmla="*/ 2019447 h 2436046"/>
              <a:gd name="connsiteX90-4819" fmla="*/ 2852645 w 5168654"/>
              <a:gd name="connsiteY90-4820" fmla="*/ 2019447 h 2436046"/>
              <a:gd name="connsiteX91-4821" fmla="*/ 2852645 w 5168654"/>
              <a:gd name="connsiteY91-4822" fmla="*/ 2075935 h 2436046"/>
              <a:gd name="connsiteX92-4823" fmla="*/ 3219817 w 5168654"/>
              <a:gd name="connsiteY92-4824" fmla="*/ 2075934 h 2436046"/>
              <a:gd name="connsiteX93-4825" fmla="*/ 3205695 w 5168654"/>
              <a:gd name="connsiteY93-4826" fmla="*/ 2107709 h 2436046"/>
              <a:gd name="connsiteX94-4827" fmla="*/ 3237470 w 5168654"/>
              <a:gd name="connsiteY94-4828" fmla="*/ 2118300 h 2436046"/>
              <a:gd name="connsiteX95-4829" fmla="*/ 3230409 w 5168654"/>
              <a:gd name="connsiteY95-4830" fmla="*/ 2181850 h 2436046"/>
              <a:gd name="connsiteX96-4831" fmla="*/ 3438709 w 5168654"/>
              <a:gd name="connsiteY96-4832" fmla="*/ 2181850 h 2436046"/>
              <a:gd name="connsiteX97-4833" fmla="*/ 3438709 w 5168654"/>
              <a:gd name="connsiteY97-4834" fmla="*/ 2199502 h 2436046"/>
              <a:gd name="connsiteX98-4835" fmla="*/ 3565807 w 5168654"/>
              <a:gd name="connsiteY98-4836" fmla="*/ 2199502 h 2436046"/>
              <a:gd name="connsiteX99-4837" fmla="*/ 3565807 w 5168654"/>
              <a:gd name="connsiteY99-4838" fmla="*/ 2227746 h 2436046"/>
              <a:gd name="connsiteX100-4839" fmla="*/ 3618764 w 5168654"/>
              <a:gd name="connsiteY100-4840" fmla="*/ 2227746 h 2436046"/>
              <a:gd name="connsiteX101-4841" fmla="*/ 3618764 w 5168654"/>
              <a:gd name="connsiteY101-4842" fmla="*/ 2252460 h 2436046"/>
              <a:gd name="connsiteX102-4843" fmla="*/ 3890613 w 5168654"/>
              <a:gd name="connsiteY102-4844" fmla="*/ 2252460 h 2436046"/>
              <a:gd name="connsiteX103-4845" fmla="*/ 3890613 w 5168654"/>
              <a:gd name="connsiteY103-4846" fmla="*/ 2287765 h 2436046"/>
              <a:gd name="connsiteX104-4847" fmla="*/ 3975345 w 5168654"/>
              <a:gd name="connsiteY104-4848" fmla="*/ 2287765 h 2436046"/>
              <a:gd name="connsiteX105-4849" fmla="*/ 3975345 w 5168654"/>
              <a:gd name="connsiteY105-4850" fmla="*/ 2316009 h 2436046"/>
              <a:gd name="connsiteX106-4851" fmla="*/ 4007119 w 5168654"/>
              <a:gd name="connsiteY106-4852" fmla="*/ 2316009 h 2436046"/>
              <a:gd name="connsiteX107-4853" fmla="*/ 4007119 w 5168654"/>
              <a:gd name="connsiteY107-4854" fmla="*/ 2368967 h 2436046"/>
              <a:gd name="connsiteX108-4855" fmla="*/ 4614366 w 5168654"/>
              <a:gd name="connsiteY108-4856" fmla="*/ 2368967 h 2436046"/>
              <a:gd name="connsiteX109-4857" fmla="*/ 4614366 w 5168654"/>
              <a:gd name="connsiteY109-4858" fmla="*/ 2436046 h 2436046"/>
              <a:gd name="connsiteX110-4859" fmla="*/ 5168654 w 5168654"/>
              <a:gd name="connsiteY110-4860" fmla="*/ 2436046 h 2436046"/>
              <a:gd name="connsiteX0-4861" fmla="*/ 0 w 5168654"/>
              <a:gd name="connsiteY0-4862" fmla="*/ 0 h 2436046"/>
              <a:gd name="connsiteX1-4863" fmla="*/ 144750 w 5168654"/>
              <a:gd name="connsiteY1-4864" fmla="*/ 0 h 2436046"/>
              <a:gd name="connsiteX2-4865" fmla="*/ 144750 w 5168654"/>
              <a:gd name="connsiteY2-4866" fmla="*/ 42366 h 2436046"/>
              <a:gd name="connsiteX3-4867" fmla="*/ 158872 w 5168654"/>
              <a:gd name="connsiteY3-4868" fmla="*/ 42366 h 2436046"/>
              <a:gd name="connsiteX4-4869" fmla="*/ 158872 w 5168654"/>
              <a:gd name="connsiteY4-4870" fmla="*/ 81201 h 2436046"/>
              <a:gd name="connsiteX5-4871" fmla="*/ 162403 w 5168654"/>
              <a:gd name="connsiteY5-4872" fmla="*/ 84732 h 2436046"/>
              <a:gd name="connsiteX6-4873" fmla="*/ 162403 w 5168654"/>
              <a:gd name="connsiteY6-4874" fmla="*/ 155342 h 2436046"/>
              <a:gd name="connsiteX7-4875" fmla="*/ 257726 w 5168654"/>
              <a:gd name="connsiteY7-4876" fmla="*/ 155342 h 2436046"/>
              <a:gd name="connsiteX8-4877" fmla="*/ 257726 w 5168654"/>
              <a:gd name="connsiteY8-4878" fmla="*/ 190647 h 2436046"/>
              <a:gd name="connsiteX9-4879" fmla="*/ 268318 w 5168654"/>
              <a:gd name="connsiteY9-4880" fmla="*/ 190647 h 2436046"/>
              <a:gd name="connsiteX10-4881" fmla="*/ 268318 w 5168654"/>
              <a:gd name="connsiteY10-4882" fmla="*/ 211830 h 2436046"/>
              <a:gd name="connsiteX11-4883" fmla="*/ 508392 w 5168654"/>
              <a:gd name="connsiteY11-4884" fmla="*/ 211830 h 2436046"/>
              <a:gd name="connsiteX12-4885" fmla="*/ 508392 w 5168654"/>
              <a:gd name="connsiteY12-4886" fmla="*/ 243604 h 2436046"/>
              <a:gd name="connsiteX13-4887" fmla="*/ 536636 w 5168654"/>
              <a:gd name="connsiteY13-4888" fmla="*/ 243604 h 2436046"/>
              <a:gd name="connsiteX14-4889" fmla="*/ 536636 w 5168654"/>
              <a:gd name="connsiteY14-4890" fmla="*/ 363641 h 2436046"/>
              <a:gd name="connsiteX15-4891" fmla="*/ 554288 w 5168654"/>
              <a:gd name="connsiteY15-4892" fmla="*/ 363641 h 2436046"/>
              <a:gd name="connsiteX16-4893" fmla="*/ 554288 w 5168654"/>
              <a:gd name="connsiteY16-4894" fmla="*/ 423660 h 2436046"/>
              <a:gd name="connsiteX17-4895" fmla="*/ 769649 w 5168654"/>
              <a:gd name="connsiteY17-4896" fmla="*/ 423660 h 2436046"/>
              <a:gd name="connsiteX18-4897" fmla="*/ 769649 w 5168654"/>
              <a:gd name="connsiteY18-4898" fmla="*/ 430721 h 2436046"/>
              <a:gd name="connsiteX19-4899" fmla="*/ 776710 w 5168654"/>
              <a:gd name="connsiteY19-4900" fmla="*/ 437782 h 2436046"/>
              <a:gd name="connsiteX20-4901" fmla="*/ 776710 w 5168654"/>
              <a:gd name="connsiteY20-4902" fmla="*/ 455434 h 2436046"/>
              <a:gd name="connsiteX21-4903" fmla="*/ 794363 w 5168654"/>
              <a:gd name="connsiteY21-4904" fmla="*/ 455434 h 2436046"/>
              <a:gd name="connsiteX22-4905" fmla="*/ 794363 w 5168654"/>
              <a:gd name="connsiteY22-4906" fmla="*/ 497801 h 2436046"/>
              <a:gd name="connsiteX23-4907" fmla="*/ 808485 w 5168654"/>
              <a:gd name="connsiteY23-4908" fmla="*/ 497801 h 2436046"/>
              <a:gd name="connsiteX24-4909" fmla="*/ 808485 w 5168654"/>
              <a:gd name="connsiteY24-4910" fmla="*/ 621368 h 2436046"/>
              <a:gd name="connsiteX25-4911" fmla="*/ 822607 w 5168654"/>
              <a:gd name="connsiteY25-4912" fmla="*/ 621368 h 2436046"/>
              <a:gd name="connsiteX26-4913" fmla="*/ 822607 w 5168654"/>
              <a:gd name="connsiteY26-4914" fmla="*/ 639021 h 2436046"/>
              <a:gd name="connsiteX27-4915" fmla="*/ 1045028 w 5168654"/>
              <a:gd name="connsiteY27-4916" fmla="*/ 639021 h 2436046"/>
              <a:gd name="connsiteX28-4917" fmla="*/ 1045028 w 5168654"/>
              <a:gd name="connsiteY28-4918" fmla="*/ 790832 h 2436046"/>
              <a:gd name="connsiteX29-4919" fmla="*/ 1059150 w 5168654"/>
              <a:gd name="connsiteY29-4920" fmla="*/ 790832 h 2436046"/>
              <a:gd name="connsiteX30-4921" fmla="*/ 1059150 w 5168654"/>
              <a:gd name="connsiteY30-4922" fmla="*/ 889686 h 2436046"/>
              <a:gd name="connsiteX31-4923" fmla="*/ 1083864 w 5168654"/>
              <a:gd name="connsiteY31-4924" fmla="*/ 889686 h 2436046"/>
              <a:gd name="connsiteX32-4925" fmla="*/ 1101516 w 5168654"/>
              <a:gd name="connsiteY32-4926" fmla="*/ 889686 h 2436046"/>
              <a:gd name="connsiteX33-4927" fmla="*/ 1158004 w 5168654"/>
              <a:gd name="connsiteY33-4928" fmla="*/ 889686 h 2436046"/>
              <a:gd name="connsiteX34-4929" fmla="*/ 1158004 w 5168654"/>
              <a:gd name="connsiteY34-4930" fmla="*/ 917930 h 2436046"/>
              <a:gd name="connsiteX35-4931" fmla="*/ 1302755 w 5168654"/>
              <a:gd name="connsiteY35-4932" fmla="*/ 917930 h 2436046"/>
              <a:gd name="connsiteX36-4933" fmla="*/ 1302755 w 5168654"/>
              <a:gd name="connsiteY36-4934" fmla="*/ 942644 h 2436046"/>
              <a:gd name="connsiteX37-4935" fmla="*/ 1313346 w 5168654"/>
              <a:gd name="connsiteY37-4936" fmla="*/ 942644 h 2436046"/>
              <a:gd name="connsiteX38-4937" fmla="*/ 1313346 w 5168654"/>
              <a:gd name="connsiteY38-4938" fmla="*/ 1034437 h 2436046"/>
              <a:gd name="connsiteX39-4939" fmla="*/ 1316877 w 5168654"/>
              <a:gd name="connsiteY39-4940" fmla="*/ 1034437 h 2436046"/>
              <a:gd name="connsiteX40-4941" fmla="*/ 1316877 w 5168654"/>
              <a:gd name="connsiteY40-4942" fmla="*/ 1080333 h 2436046"/>
              <a:gd name="connsiteX41-4943" fmla="*/ 1489871 w 5168654"/>
              <a:gd name="connsiteY41-4944" fmla="*/ 1080333 h 2436046"/>
              <a:gd name="connsiteX42-4945" fmla="*/ 1489871 w 5168654"/>
              <a:gd name="connsiteY42-4946" fmla="*/ 1097986 h 2436046"/>
              <a:gd name="connsiteX43-4947" fmla="*/ 1518115 w 5168654"/>
              <a:gd name="connsiteY43-4948" fmla="*/ 1097986 h 2436046"/>
              <a:gd name="connsiteX44-4949" fmla="*/ 1518115 w 5168654"/>
              <a:gd name="connsiteY44-4950" fmla="*/ 1122699 h 2436046"/>
              <a:gd name="connsiteX45-4951" fmla="*/ 1532237 w 5168654"/>
              <a:gd name="connsiteY45-4952" fmla="*/ 1122699 h 2436046"/>
              <a:gd name="connsiteX46-4953" fmla="*/ 1539298 w 5168654"/>
              <a:gd name="connsiteY46-4954" fmla="*/ 1129760 h 2436046"/>
              <a:gd name="connsiteX47-4955" fmla="*/ 1553420 w 5168654"/>
              <a:gd name="connsiteY47-4956" fmla="*/ 1143882 h 2436046"/>
              <a:gd name="connsiteX48-4957" fmla="*/ 1553420 w 5168654"/>
              <a:gd name="connsiteY48-4958" fmla="*/ 1189779 h 2436046"/>
              <a:gd name="connsiteX49-4959" fmla="*/ 1564012 w 5168654"/>
              <a:gd name="connsiteY49-4960" fmla="*/ 1189779 h 2436046"/>
              <a:gd name="connsiteX50-4961" fmla="*/ 1564012 w 5168654"/>
              <a:gd name="connsiteY50-4962" fmla="*/ 1253328 h 2436046"/>
              <a:gd name="connsiteX51-4963" fmla="*/ 1578134 w 5168654"/>
              <a:gd name="connsiteY51-4964" fmla="*/ 1253328 h 2436046"/>
              <a:gd name="connsiteX52-4965" fmla="*/ 1578134 w 5168654"/>
              <a:gd name="connsiteY52-4966" fmla="*/ 1345121 h 2436046"/>
              <a:gd name="connsiteX53-4967" fmla="*/ 1588726 w 5168654"/>
              <a:gd name="connsiteY53-4968" fmla="*/ 1345121 h 2436046"/>
              <a:gd name="connsiteX54-4969" fmla="*/ 1588726 w 5168654"/>
              <a:gd name="connsiteY54-4970" fmla="*/ 1380426 h 2436046"/>
              <a:gd name="connsiteX55-4971" fmla="*/ 1588726 w 5168654"/>
              <a:gd name="connsiteY55-4972" fmla="*/ 1380426 h 2436046"/>
              <a:gd name="connsiteX56-4973" fmla="*/ 1627561 w 5168654"/>
              <a:gd name="connsiteY56-4974" fmla="*/ 1380426 h 2436046"/>
              <a:gd name="connsiteX57-4975" fmla="*/ 1797025 w 5168654"/>
              <a:gd name="connsiteY57-4976" fmla="*/ 1380426 h 2436046"/>
              <a:gd name="connsiteX58-4977" fmla="*/ 1797025 w 5168654"/>
              <a:gd name="connsiteY58-4978" fmla="*/ 1472219 h 2436046"/>
              <a:gd name="connsiteX59-4979" fmla="*/ 1828800 w 5168654"/>
              <a:gd name="connsiteY59-4980" fmla="*/ 1472219 h 2436046"/>
              <a:gd name="connsiteX60-4981" fmla="*/ 1828800 w 5168654"/>
              <a:gd name="connsiteY60-4982" fmla="*/ 1489872 h 2436046"/>
              <a:gd name="connsiteX61-4983" fmla="*/ 1828800 w 5168654"/>
              <a:gd name="connsiteY61-4984" fmla="*/ 1503994 h 2436046"/>
              <a:gd name="connsiteX62-4985" fmla="*/ 1846452 w 5168654"/>
              <a:gd name="connsiteY62-4986" fmla="*/ 1503994 h 2436046"/>
              <a:gd name="connsiteX63-4987" fmla="*/ 1846452 w 5168654"/>
              <a:gd name="connsiteY63-4988" fmla="*/ 1564012 h 2436046"/>
              <a:gd name="connsiteX64-4989" fmla="*/ 1878227 w 5168654"/>
              <a:gd name="connsiteY64-4990" fmla="*/ 1564012 h 2436046"/>
              <a:gd name="connsiteX65-4991" fmla="*/ 1878227 w 5168654"/>
              <a:gd name="connsiteY65-4992" fmla="*/ 1595787 h 2436046"/>
              <a:gd name="connsiteX66-4993" fmla="*/ 2072404 w 5168654"/>
              <a:gd name="connsiteY66-4994" fmla="*/ 1595787 h 2436046"/>
              <a:gd name="connsiteX67-4995" fmla="*/ 2072404 w 5168654"/>
              <a:gd name="connsiteY67-4996" fmla="*/ 1673458 h 2436046"/>
              <a:gd name="connsiteX68-4997" fmla="*/ 2093587 w 5168654"/>
              <a:gd name="connsiteY68-4998" fmla="*/ 1673458 h 2436046"/>
              <a:gd name="connsiteX69-4999" fmla="*/ 2093587 w 5168654"/>
              <a:gd name="connsiteY69-5000" fmla="*/ 1684049 h 2436046"/>
              <a:gd name="connsiteX70-5001" fmla="*/ 2097118 w 5168654"/>
              <a:gd name="connsiteY70-5002" fmla="*/ 1684049 h 2436046"/>
              <a:gd name="connsiteX71-5003" fmla="*/ 2097118 w 5168654"/>
              <a:gd name="connsiteY71-5004" fmla="*/ 1701702 h 2436046"/>
              <a:gd name="connsiteX72-5005" fmla="*/ 2111240 w 5168654"/>
              <a:gd name="connsiteY72-5006" fmla="*/ 1701702 h 2436046"/>
              <a:gd name="connsiteX73-5007" fmla="*/ 2114770 w 5168654"/>
              <a:gd name="connsiteY73-5008" fmla="*/ 1715824 h 2436046"/>
              <a:gd name="connsiteX74-5009" fmla="*/ 2418392 w 5168654"/>
              <a:gd name="connsiteY74-5010" fmla="*/ 1715824 h 2436046"/>
              <a:gd name="connsiteX75-5011" fmla="*/ 2418393 w 5168654"/>
              <a:gd name="connsiteY75-5012" fmla="*/ 1744068 h 2436046"/>
              <a:gd name="connsiteX76-5013" fmla="*/ 2418393 w 5168654"/>
              <a:gd name="connsiteY76-5014" fmla="*/ 1744068 h 2436046"/>
              <a:gd name="connsiteX77-5015" fmla="*/ 2446637 w 5168654"/>
              <a:gd name="connsiteY77-5016" fmla="*/ 1772312 h 2436046"/>
              <a:gd name="connsiteX78-5017" fmla="*/ 2460759 w 5168654"/>
              <a:gd name="connsiteY78-5018" fmla="*/ 1772312 h 2436046"/>
              <a:gd name="connsiteX79-5019" fmla="*/ 2460759 w 5168654"/>
              <a:gd name="connsiteY79-5020" fmla="*/ 1821739 h 2436046"/>
              <a:gd name="connsiteX80-5021" fmla="*/ 2478412 w 5168654"/>
              <a:gd name="connsiteY80-5022" fmla="*/ 1821739 h 2436046"/>
              <a:gd name="connsiteX81-5023" fmla="*/ 2478412 w 5168654"/>
              <a:gd name="connsiteY81-5024" fmla="*/ 1920593 h 2436046"/>
              <a:gd name="connsiteX82-5025" fmla="*/ 2633754 w 5168654"/>
              <a:gd name="connsiteY82-5026" fmla="*/ 1920593 h 2436046"/>
              <a:gd name="connsiteX83-5027" fmla="*/ 2633754 w 5168654"/>
              <a:gd name="connsiteY83-5028" fmla="*/ 1941776 h 2436046"/>
              <a:gd name="connsiteX84-5029" fmla="*/ 2732608 w 5168654"/>
              <a:gd name="connsiteY84-5030" fmla="*/ 1941776 h 2436046"/>
              <a:gd name="connsiteX85-5031" fmla="*/ 2729036 w 5168654"/>
              <a:gd name="connsiteY85-5032" fmla="*/ 1959407 h 2436046"/>
              <a:gd name="connsiteX86-5033" fmla="*/ 2779671 w 5168654"/>
              <a:gd name="connsiteY86-5034" fmla="*/ 1960851 h 2436046"/>
              <a:gd name="connsiteX87-5035" fmla="*/ 2782035 w 5168654"/>
              <a:gd name="connsiteY87-5036" fmla="*/ 1991203 h 2436046"/>
              <a:gd name="connsiteX88-5037" fmla="*/ 2838523 w 5168654"/>
              <a:gd name="connsiteY88-5038" fmla="*/ 1991203 h 2436046"/>
              <a:gd name="connsiteX89-5039" fmla="*/ 2838523 w 5168654"/>
              <a:gd name="connsiteY89-5040" fmla="*/ 2019447 h 2436046"/>
              <a:gd name="connsiteX90-5041" fmla="*/ 2852645 w 5168654"/>
              <a:gd name="connsiteY90-5042" fmla="*/ 2019447 h 2436046"/>
              <a:gd name="connsiteX91-5043" fmla="*/ 2852645 w 5168654"/>
              <a:gd name="connsiteY91-5044" fmla="*/ 2075935 h 2436046"/>
              <a:gd name="connsiteX92-5045" fmla="*/ 3219817 w 5168654"/>
              <a:gd name="connsiteY92-5046" fmla="*/ 2075934 h 2436046"/>
              <a:gd name="connsiteX93-5047" fmla="*/ 3205695 w 5168654"/>
              <a:gd name="connsiteY93-5048" fmla="*/ 2107709 h 2436046"/>
              <a:gd name="connsiteX94-5049" fmla="*/ 3237470 w 5168654"/>
              <a:gd name="connsiteY94-5050" fmla="*/ 2118300 h 2436046"/>
              <a:gd name="connsiteX95-5051" fmla="*/ 3230409 w 5168654"/>
              <a:gd name="connsiteY95-5052" fmla="*/ 2181850 h 2436046"/>
              <a:gd name="connsiteX96-5053" fmla="*/ 3438709 w 5168654"/>
              <a:gd name="connsiteY96-5054" fmla="*/ 2181850 h 2436046"/>
              <a:gd name="connsiteX97-5055" fmla="*/ 3438709 w 5168654"/>
              <a:gd name="connsiteY97-5056" fmla="*/ 2199502 h 2436046"/>
              <a:gd name="connsiteX98-5057" fmla="*/ 3565807 w 5168654"/>
              <a:gd name="connsiteY98-5058" fmla="*/ 2199502 h 2436046"/>
              <a:gd name="connsiteX99-5059" fmla="*/ 3565807 w 5168654"/>
              <a:gd name="connsiteY99-5060" fmla="*/ 2227746 h 2436046"/>
              <a:gd name="connsiteX100-5061" fmla="*/ 3618764 w 5168654"/>
              <a:gd name="connsiteY100-5062" fmla="*/ 2227746 h 2436046"/>
              <a:gd name="connsiteX101-5063" fmla="*/ 3618764 w 5168654"/>
              <a:gd name="connsiteY101-5064" fmla="*/ 2252460 h 2436046"/>
              <a:gd name="connsiteX102-5065" fmla="*/ 3890613 w 5168654"/>
              <a:gd name="connsiteY102-5066" fmla="*/ 2252460 h 2436046"/>
              <a:gd name="connsiteX103-5067" fmla="*/ 3890613 w 5168654"/>
              <a:gd name="connsiteY103-5068" fmla="*/ 2287765 h 2436046"/>
              <a:gd name="connsiteX104-5069" fmla="*/ 3975345 w 5168654"/>
              <a:gd name="connsiteY104-5070" fmla="*/ 2287765 h 2436046"/>
              <a:gd name="connsiteX105-5071" fmla="*/ 3975345 w 5168654"/>
              <a:gd name="connsiteY105-5072" fmla="*/ 2316009 h 2436046"/>
              <a:gd name="connsiteX106-5073" fmla="*/ 4007119 w 5168654"/>
              <a:gd name="connsiteY106-5074" fmla="*/ 2316009 h 2436046"/>
              <a:gd name="connsiteX107-5075" fmla="*/ 4007119 w 5168654"/>
              <a:gd name="connsiteY107-5076" fmla="*/ 2368967 h 2436046"/>
              <a:gd name="connsiteX108-5077" fmla="*/ 4614366 w 5168654"/>
              <a:gd name="connsiteY108-5078" fmla="*/ 2368967 h 2436046"/>
              <a:gd name="connsiteX109-5079" fmla="*/ 4614366 w 5168654"/>
              <a:gd name="connsiteY109-5080" fmla="*/ 2436046 h 2436046"/>
              <a:gd name="connsiteX110-5081" fmla="*/ 5168654 w 5168654"/>
              <a:gd name="connsiteY110-5082" fmla="*/ 2436046 h 2436046"/>
              <a:gd name="connsiteX0-5083" fmla="*/ 0 w 5168654"/>
              <a:gd name="connsiteY0-5084" fmla="*/ 0 h 2436046"/>
              <a:gd name="connsiteX1-5085" fmla="*/ 144750 w 5168654"/>
              <a:gd name="connsiteY1-5086" fmla="*/ 0 h 2436046"/>
              <a:gd name="connsiteX2-5087" fmla="*/ 144750 w 5168654"/>
              <a:gd name="connsiteY2-5088" fmla="*/ 42366 h 2436046"/>
              <a:gd name="connsiteX3-5089" fmla="*/ 158872 w 5168654"/>
              <a:gd name="connsiteY3-5090" fmla="*/ 42366 h 2436046"/>
              <a:gd name="connsiteX4-5091" fmla="*/ 158872 w 5168654"/>
              <a:gd name="connsiteY4-5092" fmla="*/ 81201 h 2436046"/>
              <a:gd name="connsiteX5-5093" fmla="*/ 162403 w 5168654"/>
              <a:gd name="connsiteY5-5094" fmla="*/ 84732 h 2436046"/>
              <a:gd name="connsiteX6-5095" fmla="*/ 162403 w 5168654"/>
              <a:gd name="connsiteY6-5096" fmla="*/ 155342 h 2436046"/>
              <a:gd name="connsiteX7-5097" fmla="*/ 257726 w 5168654"/>
              <a:gd name="connsiteY7-5098" fmla="*/ 155342 h 2436046"/>
              <a:gd name="connsiteX8-5099" fmla="*/ 257726 w 5168654"/>
              <a:gd name="connsiteY8-5100" fmla="*/ 190647 h 2436046"/>
              <a:gd name="connsiteX9-5101" fmla="*/ 268318 w 5168654"/>
              <a:gd name="connsiteY9-5102" fmla="*/ 190647 h 2436046"/>
              <a:gd name="connsiteX10-5103" fmla="*/ 268318 w 5168654"/>
              <a:gd name="connsiteY10-5104" fmla="*/ 211830 h 2436046"/>
              <a:gd name="connsiteX11-5105" fmla="*/ 508392 w 5168654"/>
              <a:gd name="connsiteY11-5106" fmla="*/ 211830 h 2436046"/>
              <a:gd name="connsiteX12-5107" fmla="*/ 508392 w 5168654"/>
              <a:gd name="connsiteY12-5108" fmla="*/ 243604 h 2436046"/>
              <a:gd name="connsiteX13-5109" fmla="*/ 536636 w 5168654"/>
              <a:gd name="connsiteY13-5110" fmla="*/ 243604 h 2436046"/>
              <a:gd name="connsiteX14-5111" fmla="*/ 536636 w 5168654"/>
              <a:gd name="connsiteY14-5112" fmla="*/ 363641 h 2436046"/>
              <a:gd name="connsiteX15-5113" fmla="*/ 554288 w 5168654"/>
              <a:gd name="connsiteY15-5114" fmla="*/ 363641 h 2436046"/>
              <a:gd name="connsiteX16-5115" fmla="*/ 554288 w 5168654"/>
              <a:gd name="connsiteY16-5116" fmla="*/ 423660 h 2436046"/>
              <a:gd name="connsiteX17-5117" fmla="*/ 769649 w 5168654"/>
              <a:gd name="connsiteY17-5118" fmla="*/ 423660 h 2436046"/>
              <a:gd name="connsiteX18-5119" fmla="*/ 769649 w 5168654"/>
              <a:gd name="connsiteY18-5120" fmla="*/ 430721 h 2436046"/>
              <a:gd name="connsiteX19-5121" fmla="*/ 776710 w 5168654"/>
              <a:gd name="connsiteY19-5122" fmla="*/ 437782 h 2436046"/>
              <a:gd name="connsiteX20-5123" fmla="*/ 776710 w 5168654"/>
              <a:gd name="connsiteY20-5124" fmla="*/ 455434 h 2436046"/>
              <a:gd name="connsiteX21-5125" fmla="*/ 794363 w 5168654"/>
              <a:gd name="connsiteY21-5126" fmla="*/ 455434 h 2436046"/>
              <a:gd name="connsiteX22-5127" fmla="*/ 794363 w 5168654"/>
              <a:gd name="connsiteY22-5128" fmla="*/ 497801 h 2436046"/>
              <a:gd name="connsiteX23-5129" fmla="*/ 808485 w 5168654"/>
              <a:gd name="connsiteY23-5130" fmla="*/ 497801 h 2436046"/>
              <a:gd name="connsiteX24-5131" fmla="*/ 808485 w 5168654"/>
              <a:gd name="connsiteY24-5132" fmla="*/ 621368 h 2436046"/>
              <a:gd name="connsiteX25-5133" fmla="*/ 822607 w 5168654"/>
              <a:gd name="connsiteY25-5134" fmla="*/ 621368 h 2436046"/>
              <a:gd name="connsiteX26-5135" fmla="*/ 822607 w 5168654"/>
              <a:gd name="connsiteY26-5136" fmla="*/ 639021 h 2436046"/>
              <a:gd name="connsiteX27-5137" fmla="*/ 1045028 w 5168654"/>
              <a:gd name="connsiteY27-5138" fmla="*/ 639021 h 2436046"/>
              <a:gd name="connsiteX28-5139" fmla="*/ 1045028 w 5168654"/>
              <a:gd name="connsiteY28-5140" fmla="*/ 790832 h 2436046"/>
              <a:gd name="connsiteX29-5141" fmla="*/ 1059150 w 5168654"/>
              <a:gd name="connsiteY29-5142" fmla="*/ 790832 h 2436046"/>
              <a:gd name="connsiteX30-5143" fmla="*/ 1059150 w 5168654"/>
              <a:gd name="connsiteY30-5144" fmla="*/ 889686 h 2436046"/>
              <a:gd name="connsiteX31-5145" fmla="*/ 1083864 w 5168654"/>
              <a:gd name="connsiteY31-5146" fmla="*/ 889686 h 2436046"/>
              <a:gd name="connsiteX32-5147" fmla="*/ 1101516 w 5168654"/>
              <a:gd name="connsiteY32-5148" fmla="*/ 889686 h 2436046"/>
              <a:gd name="connsiteX33-5149" fmla="*/ 1158004 w 5168654"/>
              <a:gd name="connsiteY33-5150" fmla="*/ 889686 h 2436046"/>
              <a:gd name="connsiteX34-5151" fmla="*/ 1158004 w 5168654"/>
              <a:gd name="connsiteY34-5152" fmla="*/ 917930 h 2436046"/>
              <a:gd name="connsiteX35-5153" fmla="*/ 1302755 w 5168654"/>
              <a:gd name="connsiteY35-5154" fmla="*/ 917930 h 2436046"/>
              <a:gd name="connsiteX36-5155" fmla="*/ 1302755 w 5168654"/>
              <a:gd name="connsiteY36-5156" fmla="*/ 942644 h 2436046"/>
              <a:gd name="connsiteX37-5157" fmla="*/ 1313346 w 5168654"/>
              <a:gd name="connsiteY37-5158" fmla="*/ 942644 h 2436046"/>
              <a:gd name="connsiteX38-5159" fmla="*/ 1313346 w 5168654"/>
              <a:gd name="connsiteY38-5160" fmla="*/ 1034437 h 2436046"/>
              <a:gd name="connsiteX39-5161" fmla="*/ 1316877 w 5168654"/>
              <a:gd name="connsiteY39-5162" fmla="*/ 1034437 h 2436046"/>
              <a:gd name="connsiteX40-5163" fmla="*/ 1316877 w 5168654"/>
              <a:gd name="connsiteY40-5164" fmla="*/ 1080333 h 2436046"/>
              <a:gd name="connsiteX41-5165" fmla="*/ 1489871 w 5168654"/>
              <a:gd name="connsiteY41-5166" fmla="*/ 1080333 h 2436046"/>
              <a:gd name="connsiteX42-5167" fmla="*/ 1489871 w 5168654"/>
              <a:gd name="connsiteY42-5168" fmla="*/ 1097986 h 2436046"/>
              <a:gd name="connsiteX43-5169" fmla="*/ 1518115 w 5168654"/>
              <a:gd name="connsiteY43-5170" fmla="*/ 1097986 h 2436046"/>
              <a:gd name="connsiteX44-5171" fmla="*/ 1518115 w 5168654"/>
              <a:gd name="connsiteY44-5172" fmla="*/ 1122699 h 2436046"/>
              <a:gd name="connsiteX45-5173" fmla="*/ 1532237 w 5168654"/>
              <a:gd name="connsiteY45-5174" fmla="*/ 1122699 h 2436046"/>
              <a:gd name="connsiteX46-5175" fmla="*/ 1539298 w 5168654"/>
              <a:gd name="connsiteY46-5176" fmla="*/ 1129760 h 2436046"/>
              <a:gd name="connsiteX47-5177" fmla="*/ 1553420 w 5168654"/>
              <a:gd name="connsiteY47-5178" fmla="*/ 1143882 h 2436046"/>
              <a:gd name="connsiteX48-5179" fmla="*/ 1553420 w 5168654"/>
              <a:gd name="connsiteY48-5180" fmla="*/ 1189779 h 2436046"/>
              <a:gd name="connsiteX49-5181" fmla="*/ 1564012 w 5168654"/>
              <a:gd name="connsiteY49-5182" fmla="*/ 1189779 h 2436046"/>
              <a:gd name="connsiteX50-5183" fmla="*/ 1564012 w 5168654"/>
              <a:gd name="connsiteY50-5184" fmla="*/ 1253328 h 2436046"/>
              <a:gd name="connsiteX51-5185" fmla="*/ 1578134 w 5168654"/>
              <a:gd name="connsiteY51-5186" fmla="*/ 1253328 h 2436046"/>
              <a:gd name="connsiteX52-5187" fmla="*/ 1578134 w 5168654"/>
              <a:gd name="connsiteY52-5188" fmla="*/ 1345121 h 2436046"/>
              <a:gd name="connsiteX53-5189" fmla="*/ 1588726 w 5168654"/>
              <a:gd name="connsiteY53-5190" fmla="*/ 1345121 h 2436046"/>
              <a:gd name="connsiteX54-5191" fmla="*/ 1588726 w 5168654"/>
              <a:gd name="connsiteY54-5192" fmla="*/ 1380426 h 2436046"/>
              <a:gd name="connsiteX55-5193" fmla="*/ 1588726 w 5168654"/>
              <a:gd name="connsiteY55-5194" fmla="*/ 1380426 h 2436046"/>
              <a:gd name="connsiteX56-5195" fmla="*/ 1627561 w 5168654"/>
              <a:gd name="connsiteY56-5196" fmla="*/ 1380426 h 2436046"/>
              <a:gd name="connsiteX57-5197" fmla="*/ 1797025 w 5168654"/>
              <a:gd name="connsiteY57-5198" fmla="*/ 1380426 h 2436046"/>
              <a:gd name="connsiteX58-5199" fmla="*/ 1797025 w 5168654"/>
              <a:gd name="connsiteY58-5200" fmla="*/ 1472219 h 2436046"/>
              <a:gd name="connsiteX59-5201" fmla="*/ 1828800 w 5168654"/>
              <a:gd name="connsiteY59-5202" fmla="*/ 1472219 h 2436046"/>
              <a:gd name="connsiteX60-5203" fmla="*/ 1828800 w 5168654"/>
              <a:gd name="connsiteY60-5204" fmla="*/ 1489872 h 2436046"/>
              <a:gd name="connsiteX61-5205" fmla="*/ 1828800 w 5168654"/>
              <a:gd name="connsiteY61-5206" fmla="*/ 1503994 h 2436046"/>
              <a:gd name="connsiteX62-5207" fmla="*/ 1846452 w 5168654"/>
              <a:gd name="connsiteY62-5208" fmla="*/ 1503994 h 2436046"/>
              <a:gd name="connsiteX63-5209" fmla="*/ 1846452 w 5168654"/>
              <a:gd name="connsiteY63-5210" fmla="*/ 1564012 h 2436046"/>
              <a:gd name="connsiteX64-5211" fmla="*/ 1878227 w 5168654"/>
              <a:gd name="connsiteY64-5212" fmla="*/ 1564012 h 2436046"/>
              <a:gd name="connsiteX65-5213" fmla="*/ 1878227 w 5168654"/>
              <a:gd name="connsiteY65-5214" fmla="*/ 1595787 h 2436046"/>
              <a:gd name="connsiteX66-5215" fmla="*/ 2072404 w 5168654"/>
              <a:gd name="connsiteY66-5216" fmla="*/ 1595787 h 2436046"/>
              <a:gd name="connsiteX67-5217" fmla="*/ 2072404 w 5168654"/>
              <a:gd name="connsiteY67-5218" fmla="*/ 1673458 h 2436046"/>
              <a:gd name="connsiteX68-5219" fmla="*/ 2093587 w 5168654"/>
              <a:gd name="connsiteY68-5220" fmla="*/ 1673458 h 2436046"/>
              <a:gd name="connsiteX69-5221" fmla="*/ 2093587 w 5168654"/>
              <a:gd name="connsiteY69-5222" fmla="*/ 1684049 h 2436046"/>
              <a:gd name="connsiteX70-5223" fmla="*/ 2097118 w 5168654"/>
              <a:gd name="connsiteY70-5224" fmla="*/ 1684049 h 2436046"/>
              <a:gd name="connsiteX71-5225" fmla="*/ 2097118 w 5168654"/>
              <a:gd name="connsiteY71-5226" fmla="*/ 1701702 h 2436046"/>
              <a:gd name="connsiteX72-5227" fmla="*/ 2111240 w 5168654"/>
              <a:gd name="connsiteY72-5228" fmla="*/ 1701702 h 2436046"/>
              <a:gd name="connsiteX73-5229" fmla="*/ 2114770 w 5168654"/>
              <a:gd name="connsiteY73-5230" fmla="*/ 1715824 h 2436046"/>
              <a:gd name="connsiteX74-5231" fmla="*/ 2418392 w 5168654"/>
              <a:gd name="connsiteY74-5232" fmla="*/ 1715824 h 2436046"/>
              <a:gd name="connsiteX75-5233" fmla="*/ 2418393 w 5168654"/>
              <a:gd name="connsiteY75-5234" fmla="*/ 1744068 h 2436046"/>
              <a:gd name="connsiteX76-5235" fmla="*/ 2418393 w 5168654"/>
              <a:gd name="connsiteY76-5236" fmla="*/ 1744068 h 2436046"/>
              <a:gd name="connsiteX77-5237" fmla="*/ 2446637 w 5168654"/>
              <a:gd name="connsiteY77-5238" fmla="*/ 1772312 h 2436046"/>
              <a:gd name="connsiteX78-5239" fmla="*/ 2460759 w 5168654"/>
              <a:gd name="connsiteY78-5240" fmla="*/ 1772312 h 2436046"/>
              <a:gd name="connsiteX79-5241" fmla="*/ 2460759 w 5168654"/>
              <a:gd name="connsiteY79-5242" fmla="*/ 1821739 h 2436046"/>
              <a:gd name="connsiteX80-5243" fmla="*/ 2478412 w 5168654"/>
              <a:gd name="connsiteY80-5244" fmla="*/ 1821739 h 2436046"/>
              <a:gd name="connsiteX81-5245" fmla="*/ 2478412 w 5168654"/>
              <a:gd name="connsiteY81-5246" fmla="*/ 1920593 h 2436046"/>
              <a:gd name="connsiteX82-5247" fmla="*/ 2633754 w 5168654"/>
              <a:gd name="connsiteY82-5248" fmla="*/ 1920593 h 2436046"/>
              <a:gd name="connsiteX83-5249" fmla="*/ 2633754 w 5168654"/>
              <a:gd name="connsiteY83-5250" fmla="*/ 1941776 h 2436046"/>
              <a:gd name="connsiteX84-5251" fmla="*/ 2732608 w 5168654"/>
              <a:gd name="connsiteY84-5252" fmla="*/ 1941776 h 2436046"/>
              <a:gd name="connsiteX85-5253" fmla="*/ 2729036 w 5168654"/>
              <a:gd name="connsiteY85-5254" fmla="*/ 1959407 h 2436046"/>
              <a:gd name="connsiteX86-5255" fmla="*/ 2779671 w 5168654"/>
              <a:gd name="connsiteY86-5256" fmla="*/ 1963502 h 2436046"/>
              <a:gd name="connsiteX87-5257" fmla="*/ 2782035 w 5168654"/>
              <a:gd name="connsiteY87-5258" fmla="*/ 1991203 h 2436046"/>
              <a:gd name="connsiteX88-5259" fmla="*/ 2838523 w 5168654"/>
              <a:gd name="connsiteY88-5260" fmla="*/ 1991203 h 2436046"/>
              <a:gd name="connsiteX89-5261" fmla="*/ 2838523 w 5168654"/>
              <a:gd name="connsiteY89-5262" fmla="*/ 2019447 h 2436046"/>
              <a:gd name="connsiteX90-5263" fmla="*/ 2852645 w 5168654"/>
              <a:gd name="connsiteY90-5264" fmla="*/ 2019447 h 2436046"/>
              <a:gd name="connsiteX91-5265" fmla="*/ 2852645 w 5168654"/>
              <a:gd name="connsiteY91-5266" fmla="*/ 2075935 h 2436046"/>
              <a:gd name="connsiteX92-5267" fmla="*/ 3219817 w 5168654"/>
              <a:gd name="connsiteY92-5268" fmla="*/ 2075934 h 2436046"/>
              <a:gd name="connsiteX93-5269" fmla="*/ 3205695 w 5168654"/>
              <a:gd name="connsiteY93-5270" fmla="*/ 2107709 h 2436046"/>
              <a:gd name="connsiteX94-5271" fmla="*/ 3237470 w 5168654"/>
              <a:gd name="connsiteY94-5272" fmla="*/ 2118300 h 2436046"/>
              <a:gd name="connsiteX95-5273" fmla="*/ 3230409 w 5168654"/>
              <a:gd name="connsiteY95-5274" fmla="*/ 2181850 h 2436046"/>
              <a:gd name="connsiteX96-5275" fmla="*/ 3438709 w 5168654"/>
              <a:gd name="connsiteY96-5276" fmla="*/ 2181850 h 2436046"/>
              <a:gd name="connsiteX97-5277" fmla="*/ 3438709 w 5168654"/>
              <a:gd name="connsiteY97-5278" fmla="*/ 2199502 h 2436046"/>
              <a:gd name="connsiteX98-5279" fmla="*/ 3565807 w 5168654"/>
              <a:gd name="connsiteY98-5280" fmla="*/ 2199502 h 2436046"/>
              <a:gd name="connsiteX99-5281" fmla="*/ 3565807 w 5168654"/>
              <a:gd name="connsiteY99-5282" fmla="*/ 2227746 h 2436046"/>
              <a:gd name="connsiteX100-5283" fmla="*/ 3618764 w 5168654"/>
              <a:gd name="connsiteY100-5284" fmla="*/ 2227746 h 2436046"/>
              <a:gd name="connsiteX101-5285" fmla="*/ 3618764 w 5168654"/>
              <a:gd name="connsiteY101-5286" fmla="*/ 2252460 h 2436046"/>
              <a:gd name="connsiteX102-5287" fmla="*/ 3890613 w 5168654"/>
              <a:gd name="connsiteY102-5288" fmla="*/ 2252460 h 2436046"/>
              <a:gd name="connsiteX103-5289" fmla="*/ 3890613 w 5168654"/>
              <a:gd name="connsiteY103-5290" fmla="*/ 2287765 h 2436046"/>
              <a:gd name="connsiteX104-5291" fmla="*/ 3975345 w 5168654"/>
              <a:gd name="connsiteY104-5292" fmla="*/ 2287765 h 2436046"/>
              <a:gd name="connsiteX105-5293" fmla="*/ 3975345 w 5168654"/>
              <a:gd name="connsiteY105-5294" fmla="*/ 2316009 h 2436046"/>
              <a:gd name="connsiteX106-5295" fmla="*/ 4007119 w 5168654"/>
              <a:gd name="connsiteY106-5296" fmla="*/ 2316009 h 2436046"/>
              <a:gd name="connsiteX107-5297" fmla="*/ 4007119 w 5168654"/>
              <a:gd name="connsiteY107-5298" fmla="*/ 2368967 h 2436046"/>
              <a:gd name="connsiteX108-5299" fmla="*/ 4614366 w 5168654"/>
              <a:gd name="connsiteY108-5300" fmla="*/ 2368967 h 2436046"/>
              <a:gd name="connsiteX109-5301" fmla="*/ 4614366 w 5168654"/>
              <a:gd name="connsiteY109-5302" fmla="*/ 2436046 h 2436046"/>
              <a:gd name="connsiteX110-5303" fmla="*/ 5168654 w 5168654"/>
              <a:gd name="connsiteY110-5304" fmla="*/ 2436046 h 2436046"/>
              <a:gd name="connsiteX0-5305" fmla="*/ 0 w 5168654"/>
              <a:gd name="connsiteY0-5306" fmla="*/ 0 h 2436046"/>
              <a:gd name="connsiteX1-5307" fmla="*/ 144750 w 5168654"/>
              <a:gd name="connsiteY1-5308" fmla="*/ 0 h 2436046"/>
              <a:gd name="connsiteX2-5309" fmla="*/ 144750 w 5168654"/>
              <a:gd name="connsiteY2-5310" fmla="*/ 42366 h 2436046"/>
              <a:gd name="connsiteX3-5311" fmla="*/ 158872 w 5168654"/>
              <a:gd name="connsiteY3-5312" fmla="*/ 42366 h 2436046"/>
              <a:gd name="connsiteX4-5313" fmla="*/ 158872 w 5168654"/>
              <a:gd name="connsiteY4-5314" fmla="*/ 81201 h 2436046"/>
              <a:gd name="connsiteX5-5315" fmla="*/ 162403 w 5168654"/>
              <a:gd name="connsiteY5-5316" fmla="*/ 84732 h 2436046"/>
              <a:gd name="connsiteX6-5317" fmla="*/ 162403 w 5168654"/>
              <a:gd name="connsiteY6-5318" fmla="*/ 155342 h 2436046"/>
              <a:gd name="connsiteX7-5319" fmla="*/ 257726 w 5168654"/>
              <a:gd name="connsiteY7-5320" fmla="*/ 155342 h 2436046"/>
              <a:gd name="connsiteX8-5321" fmla="*/ 257726 w 5168654"/>
              <a:gd name="connsiteY8-5322" fmla="*/ 190647 h 2436046"/>
              <a:gd name="connsiteX9-5323" fmla="*/ 268318 w 5168654"/>
              <a:gd name="connsiteY9-5324" fmla="*/ 190647 h 2436046"/>
              <a:gd name="connsiteX10-5325" fmla="*/ 268318 w 5168654"/>
              <a:gd name="connsiteY10-5326" fmla="*/ 211830 h 2436046"/>
              <a:gd name="connsiteX11-5327" fmla="*/ 508392 w 5168654"/>
              <a:gd name="connsiteY11-5328" fmla="*/ 211830 h 2436046"/>
              <a:gd name="connsiteX12-5329" fmla="*/ 508392 w 5168654"/>
              <a:gd name="connsiteY12-5330" fmla="*/ 243604 h 2436046"/>
              <a:gd name="connsiteX13-5331" fmla="*/ 536636 w 5168654"/>
              <a:gd name="connsiteY13-5332" fmla="*/ 243604 h 2436046"/>
              <a:gd name="connsiteX14-5333" fmla="*/ 536636 w 5168654"/>
              <a:gd name="connsiteY14-5334" fmla="*/ 363641 h 2436046"/>
              <a:gd name="connsiteX15-5335" fmla="*/ 554288 w 5168654"/>
              <a:gd name="connsiteY15-5336" fmla="*/ 363641 h 2436046"/>
              <a:gd name="connsiteX16-5337" fmla="*/ 554288 w 5168654"/>
              <a:gd name="connsiteY16-5338" fmla="*/ 423660 h 2436046"/>
              <a:gd name="connsiteX17-5339" fmla="*/ 769649 w 5168654"/>
              <a:gd name="connsiteY17-5340" fmla="*/ 423660 h 2436046"/>
              <a:gd name="connsiteX18-5341" fmla="*/ 769649 w 5168654"/>
              <a:gd name="connsiteY18-5342" fmla="*/ 430721 h 2436046"/>
              <a:gd name="connsiteX19-5343" fmla="*/ 776710 w 5168654"/>
              <a:gd name="connsiteY19-5344" fmla="*/ 437782 h 2436046"/>
              <a:gd name="connsiteX20-5345" fmla="*/ 776710 w 5168654"/>
              <a:gd name="connsiteY20-5346" fmla="*/ 455434 h 2436046"/>
              <a:gd name="connsiteX21-5347" fmla="*/ 794363 w 5168654"/>
              <a:gd name="connsiteY21-5348" fmla="*/ 455434 h 2436046"/>
              <a:gd name="connsiteX22-5349" fmla="*/ 794363 w 5168654"/>
              <a:gd name="connsiteY22-5350" fmla="*/ 497801 h 2436046"/>
              <a:gd name="connsiteX23-5351" fmla="*/ 808485 w 5168654"/>
              <a:gd name="connsiteY23-5352" fmla="*/ 497801 h 2436046"/>
              <a:gd name="connsiteX24-5353" fmla="*/ 808485 w 5168654"/>
              <a:gd name="connsiteY24-5354" fmla="*/ 621368 h 2436046"/>
              <a:gd name="connsiteX25-5355" fmla="*/ 822607 w 5168654"/>
              <a:gd name="connsiteY25-5356" fmla="*/ 621368 h 2436046"/>
              <a:gd name="connsiteX26-5357" fmla="*/ 822607 w 5168654"/>
              <a:gd name="connsiteY26-5358" fmla="*/ 639021 h 2436046"/>
              <a:gd name="connsiteX27-5359" fmla="*/ 1045028 w 5168654"/>
              <a:gd name="connsiteY27-5360" fmla="*/ 639021 h 2436046"/>
              <a:gd name="connsiteX28-5361" fmla="*/ 1045028 w 5168654"/>
              <a:gd name="connsiteY28-5362" fmla="*/ 790832 h 2436046"/>
              <a:gd name="connsiteX29-5363" fmla="*/ 1059150 w 5168654"/>
              <a:gd name="connsiteY29-5364" fmla="*/ 790832 h 2436046"/>
              <a:gd name="connsiteX30-5365" fmla="*/ 1059150 w 5168654"/>
              <a:gd name="connsiteY30-5366" fmla="*/ 889686 h 2436046"/>
              <a:gd name="connsiteX31-5367" fmla="*/ 1083864 w 5168654"/>
              <a:gd name="connsiteY31-5368" fmla="*/ 889686 h 2436046"/>
              <a:gd name="connsiteX32-5369" fmla="*/ 1101516 w 5168654"/>
              <a:gd name="connsiteY32-5370" fmla="*/ 889686 h 2436046"/>
              <a:gd name="connsiteX33-5371" fmla="*/ 1158004 w 5168654"/>
              <a:gd name="connsiteY33-5372" fmla="*/ 889686 h 2436046"/>
              <a:gd name="connsiteX34-5373" fmla="*/ 1158004 w 5168654"/>
              <a:gd name="connsiteY34-5374" fmla="*/ 917930 h 2436046"/>
              <a:gd name="connsiteX35-5375" fmla="*/ 1302755 w 5168654"/>
              <a:gd name="connsiteY35-5376" fmla="*/ 917930 h 2436046"/>
              <a:gd name="connsiteX36-5377" fmla="*/ 1302755 w 5168654"/>
              <a:gd name="connsiteY36-5378" fmla="*/ 942644 h 2436046"/>
              <a:gd name="connsiteX37-5379" fmla="*/ 1313346 w 5168654"/>
              <a:gd name="connsiteY37-5380" fmla="*/ 942644 h 2436046"/>
              <a:gd name="connsiteX38-5381" fmla="*/ 1313346 w 5168654"/>
              <a:gd name="connsiteY38-5382" fmla="*/ 1034437 h 2436046"/>
              <a:gd name="connsiteX39-5383" fmla="*/ 1316877 w 5168654"/>
              <a:gd name="connsiteY39-5384" fmla="*/ 1034437 h 2436046"/>
              <a:gd name="connsiteX40-5385" fmla="*/ 1316877 w 5168654"/>
              <a:gd name="connsiteY40-5386" fmla="*/ 1080333 h 2436046"/>
              <a:gd name="connsiteX41-5387" fmla="*/ 1489871 w 5168654"/>
              <a:gd name="connsiteY41-5388" fmla="*/ 1080333 h 2436046"/>
              <a:gd name="connsiteX42-5389" fmla="*/ 1489871 w 5168654"/>
              <a:gd name="connsiteY42-5390" fmla="*/ 1097986 h 2436046"/>
              <a:gd name="connsiteX43-5391" fmla="*/ 1518115 w 5168654"/>
              <a:gd name="connsiteY43-5392" fmla="*/ 1097986 h 2436046"/>
              <a:gd name="connsiteX44-5393" fmla="*/ 1518115 w 5168654"/>
              <a:gd name="connsiteY44-5394" fmla="*/ 1122699 h 2436046"/>
              <a:gd name="connsiteX45-5395" fmla="*/ 1532237 w 5168654"/>
              <a:gd name="connsiteY45-5396" fmla="*/ 1122699 h 2436046"/>
              <a:gd name="connsiteX46-5397" fmla="*/ 1539298 w 5168654"/>
              <a:gd name="connsiteY46-5398" fmla="*/ 1129760 h 2436046"/>
              <a:gd name="connsiteX47-5399" fmla="*/ 1553420 w 5168654"/>
              <a:gd name="connsiteY47-5400" fmla="*/ 1143882 h 2436046"/>
              <a:gd name="connsiteX48-5401" fmla="*/ 1553420 w 5168654"/>
              <a:gd name="connsiteY48-5402" fmla="*/ 1189779 h 2436046"/>
              <a:gd name="connsiteX49-5403" fmla="*/ 1564012 w 5168654"/>
              <a:gd name="connsiteY49-5404" fmla="*/ 1189779 h 2436046"/>
              <a:gd name="connsiteX50-5405" fmla="*/ 1564012 w 5168654"/>
              <a:gd name="connsiteY50-5406" fmla="*/ 1253328 h 2436046"/>
              <a:gd name="connsiteX51-5407" fmla="*/ 1578134 w 5168654"/>
              <a:gd name="connsiteY51-5408" fmla="*/ 1253328 h 2436046"/>
              <a:gd name="connsiteX52-5409" fmla="*/ 1578134 w 5168654"/>
              <a:gd name="connsiteY52-5410" fmla="*/ 1345121 h 2436046"/>
              <a:gd name="connsiteX53-5411" fmla="*/ 1588726 w 5168654"/>
              <a:gd name="connsiteY53-5412" fmla="*/ 1345121 h 2436046"/>
              <a:gd name="connsiteX54-5413" fmla="*/ 1588726 w 5168654"/>
              <a:gd name="connsiteY54-5414" fmla="*/ 1380426 h 2436046"/>
              <a:gd name="connsiteX55-5415" fmla="*/ 1588726 w 5168654"/>
              <a:gd name="connsiteY55-5416" fmla="*/ 1380426 h 2436046"/>
              <a:gd name="connsiteX56-5417" fmla="*/ 1627561 w 5168654"/>
              <a:gd name="connsiteY56-5418" fmla="*/ 1380426 h 2436046"/>
              <a:gd name="connsiteX57-5419" fmla="*/ 1797025 w 5168654"/>
              <a:gd name="connsiteY57-5420" fmla="*/ 1380426 h 2436046"/>
              <a:gd name="connsiteX58-5421" fmla="*/ 1797025 w 5168654"/>
              <a:gd name="connsiteY58-5422" fmla="*/ 1472219 h 2436046"/>
              <a:gd name="connsiteX59-5423" fmla="*/ 1828800 w 5168654"/>
              <a:gd name="connsiteY59-5424" fmla="*/ 1472219 h 2436046"/>
              <a:gd name="connsiteX60-5425" fmla="*/ 1828800 w 5168654"/>
              <a:gd name="connsiteY60-5426" fmla="*/ 1489872 h 2436046"/>
              <a:gd name="connsiteX61-5427" fmla="*/ 1828800 w 5168654"/>
              <a:gd name="connsiteY61-5428" fmla="*/ 1503994 h 2436046"/>
              <a:gd name="connsiteX62-5429" fmla="*/ 1846452 w 5168654"/>
              <a:gd name="connsiteY62-5430" fmla="*/ 1503994 h 2436046"/>
              <a:gd name="connsiteX63-5431" fmla="*/ 1846452 w 5168654"/>
              <a:gd name="connsiteY63-5432" fmla="*/ 1564012 h 2436046"/>
              <a:gd name="connsiteX64-5433" fmla="*/ 1878227 w 5168654"/>
              <a:gd name="connsiteY64-5434" fmla="*/ 1564012 h 2436046"/>
              <a:gd name="connsiteX65-5435" fmla="*/ 1878227 w 5168654"/>
              <a:gd name="connsiteY65-5436" fmla="*/ 1595787 h 2436046"/>
              <a:gd name="connsiteX66-5437" fmla="*/ 2072404 w 5168654"/>
              <a:gd name="connsiteY66-5438" fmla="*/ 1595787 h 2436046"/>
              <a:gd name="connsiteX67-5439" fmla="*/ 2072404 w 5168654"/>
              <a:gd name="connsiteY67-5440" fmla="*/ 1673458 h 2436046"/>
              <a:gd name="connsiteX68-5441" fmla="*/ 2093587 w 5168654"/>
              <a:gd name="connsiteY68-5442" fmla="*/ 1673458 h 2436046"/>
              <a:gd name="connsiteX69-5443" fmla="*/ 2093587 w 5168654"/>
              <a:gd name="connsiteY69-5444" fmla="*/ 1684049 h 2436046"/>
              <a:gd name="connsiteX70-5445" fmla="*/ 2097118 w 5168654"/>
              <a:gd name="connsiteY70-5446" fmla="*/ 1684049 h 2436046"/>
              <a:gd name="connsiteX71-5447" fmla="*/ 2097118 w 5168654"/>
              <a:gd name="connsiteY71-5448" fmla="*/ 1701702 h 2436046"/>
              <a:gd name="connsiteX72-5449" fmla="*/ 2111240 w 5168654"/>
              <a:gd name="connsiteY72-5450" fmla="*/ 1701702 h 2436046"/>
              <a:gd name="connsiteX73-5451" fmla="*/ 2114770 w 5168654"/>
              <a:gd name="connsiteY73-5452" fmla="*/ 1715824 h 2436046"/>
              <a:gd name="connsiteX74-5453" fmla="*/ 2418392 w 5168654"/>
              <a:gd name="connsiteY74-5454" fmla="*/ 1715824 h 2436046"/>
              <a:gd name="connsiteX75-5455" fmla="*/ 2418393 w 5168654"/>
              <a:gd name="connsiteY75-5456" fmla="*/ 1744068 h 2436046"/>
              <a:gd name="connsiteX76-5457" fmla="*/ 2418393 w 5168654"/>
              <a:gd name="connsiteY76-5458" fmla="*/ 1744068 h 2436046"/>
              <a:gd name="connsiteX77-5459" fmla="*/ 2446637 w 5168654"/>
              <a:gd name="connsiteY77-5460" fmla="*/ 1772312 h 2436046"/>
              <a:gd name="connsiteX78-5461" fmla="*/ 2460759 w 5168654"/>
              <a:gd name="connsiteY78-5462" fmla="*/ 1772312 h 2436046"/>
              <a:gd name="connsiteX79-5463" fmla="*/ 2460759 w 5168654"/>
              <a:gd name="connsiteY79-5464" fmla="*/ 1821739 h 2436046"/>
              <a:gd name="connsiteX80-5465" fmla="*/ 2478412 w 5168654"/>
              <a:gd name="connsiteY80-5466" fmla="*/ 1821739 h 2436046"/>
              <a:gd name="connsiteX81-5467" fmla="*/ 2478412 w 5168654"/>
              <a:gd name="connsiteY81-5468" fmla="*/ 1920593 h 2436046"/>
              <a:gd name="connsiteX82-5469" fmla="*/ 2633754 w 5168654"/>
              <a:gd name="connsiteY82-5470" fmla="*/ 1920593 h 2436046"/>
              <a:gd name="connsiteX83-5471" fmla="*/ 2633754 w 5168654"/>
              <a:gd name="connsiteY83-5472" fmla="*/ 1941776 h 2436046"/>
              <a:gd name="connsiteX84-5473" fmla="*/ 2732608 w 5168654"/>
              <a:gd name="connsiteY84-5474" fmla="*/ 1941776 h 2436046"/>
              <a:gd name="connsiteX85-5475" fmla="*/ 2729036 w 5168654"/>
              <a:gd name="connsiteY85-5476" fmla="*/ 1959407 h 2436046"/>
              <a:gd name="connsiteX86-5477" fmla="*/ 2769069 w 5168654"/>
              <a:gd name="connsiteY86-5478" fmla="*/ 1966152 h 2436046"/>
              <a:gd name="connsiteX87-5479" fmla="*/ 2782035 w 5168654"/>
              <a:gd name="connsiteY87-5480" fmla="*/ 1991203 h 2436046"/>
              <a:gd name="connsiteX88-5481" fmla="*/ 2838523 w 5168654"/>
              <a:gd name="connsiteY88-5482" fmla="*/ 1991203 h 2436046"/>
              <a:gd name="connsiteX89-5483" fmla="*/ 2838523 w 5168654"/>
              <a:gd name="connsiteY89-5484" fmla="*/ 2019447 h 2436046"/>
              <a:gd name="connsiteX90-5485" fmla="*/ 2852645 w 5168654"/>
              <a:gd name="connsiteY90-5486" fmla="*/ 2019447 h 2436046"/>
              <a:gd name="connsiteX91-5487" fmla="*/ 2852645 w 5168654"/>
              <a:gd name="connsiteY91-5488" fmla="*/ 2075935 h 2436046"/>
              <a:gd name="connsiteX92-5489" fmla="*/ 3219817 w 5168654"/>
              <a:gd name="connsiteY92-5490" fmla="*/ 2075934 h 2436046"/>
              <a:gd name="connsiteX93-5491" fmla="*/ 3205695 w 5168654"/>
              <a:gd name="connsiteY93-5492" fmla="*/ 2107709 h 2436046"/>
              <a:gd name="connsiteX94-5493" fmla="*/ 3237470 w 5168654"/>
              <a:gd name="connsiteY94-5494" fmla="*/ 2118300 h 2436046"/>
              <a:gd name="connsiteX95-5495" fmla="*/ 3230409 w 5168654"/>
              <a:gd name="connsiteY95-5496" fmla="*/ 2181850 h 2436046"/>
              <a:gd name="connsiteX96-5497" fmla="*/ 3438709 w 5168654"/>
              <a:gd name="connsiteY96-5498" fmla="*/ 2181850 h 2436046"/>
              <a:gd name="connsiteX97-5499" fmla="*/ 3438709 w 5168654"/>
              <a:gd name="connsiteY97-5500" fmla="*/ 2199502 h 2436046"/>
              <a:gd name="connsiteX98-5501" fmla="*/ 3565807 w 5168654"/>
              <a:gd name="connsiteY98-5502" fmla="*/ 2199502 h 2436046"/>
              <a:gd name="connsiteX99-5503" fmla="*/ 3565807 w 5168654"/>
              <a:gd name="connsiteY99-5504" fmla="*/ 2227746 h 2436046"/>
              <a:gd name="connsiteX100-5505" fmla="*/ 3618764 w 5168654"/>
              <a:gd name="connsiteY100-5506" fmla="*/ 2227746 h 2436046"/>
              <a:gd name="connsiteX101-5507" fmla="*/ 3618764 w 5168654"/>
              <a:gd name="connsiteY101-5508" fmla="*/ 2252460 h 2436046"/>
              <a:gd name="connsiteX102-5509" fmla="*/ 3890613 w 5168654"/>
              <a:gd name="connsiteY102-5510" fmla="*/ 2252460 h 2436046"/>
              <a:gd name="connsiteX103-5511" fmla="*/ 3890613 w 5168654"/>
              <a:gd name="connsiteY103-5512" fmla="*/ 2287765 h 2436046"/>
              <a:gd name="connsiteX104-5513" fmla="*/ 3975345 w 5168654"/>
              <a:gd name="connsiteY104-5514" fmla="*/ 2287765 h 2436046"/>
              <a:gd name="connsiteX105-5515" fmla="*/ 3975345 w 5168654"/>
              <a:gd name="connsiteY105-5516" fmla="*/ 2316009 h 2436046"/>
              <a:gd name="connsiteX106-5517" fmla="*/ 4007119 w 5168654"/>
              <a:gd name="connsiteY106-5518" fmla="*/ 2316009 h 2436046"/>
              <a:gd name="connsiteX107-5519" fmla="*/ 4007119 w 5168654"/>
              <a:gd name="connsiteY107-5520" fmla="*/ 2368967 h 2436046"/>
              <a:gd name="connsiteX108-5521" fmla="*/ 4614366 w 5168654"/>
              <a:gd name="connsiteY108-5522" fmla="*/ 2368967 h 2436046"/>
              <a:gd name="connsiteX109-5523" fmla="*/ 4614366 w 5168654"/>
              <a:gd name="connsiteY109-5524" fmla="*/ 2436046 h 2436046"/>
              <a:gd name="connsiteX110-5525" fmla="*/ 5168654 w 5168654"/>
              <a:gd name="connsiteY110-5526" fmla="*/ 2436046 h 2436046"/>
              <a:gd name="connsiteX0-5527" fmla="*/ 0 w 5168654"/>
              <a:gd name="connsiteY0-5528" fmla="*/ 0 h 2436046"/>
              <a:gd name="connsiteX1-5529" fmla="*/ 144750 w 5168654"/>
              <a:gd name="connsiteY1-5530" fmla="*/ 0 h 2436046"/>
              <a:gd name="connsiteX2-5531" fmla="*/ 144750 w 5168654"/>
              <a:gd name="connsiteY2-5532" fmla="*/ 42366 h 2436046"/>
              <a:gd name="connsiteX3-5533" fmla="*/ 158872 w 5168654"/>
              <a:gd name="connsiteY3-5534" fmla="*/ 42366 h 2436046"/>
              <a:gd name="connsiteX4-5535" fmla="*/ 158872 w 5168654"/>
              <a:gd name="connsiteY4-5536" fmla="*/ 81201 h 2436046"/>
              <a:gd name="connsiteX5-5537" fmla="*/ 162403 w 5168654"/>
              <a:gd name="connsiteY5-5538" fmla="*/ 84732 h 2436046"/>
              <a:gd name="connsiteX6-5539" fmla="*/ 162403 w 5168654"/>
              <a:gd name="connsiteY6-5540" fmla="*/ 155342 h 2436046"/>
              <a:gd name="connsiteX7-5541" fmla="*/ 257726 w 5168654"/>
              <a:gd name="connsiteY7-5542" fmla="*/ 155342 h 2436046"/>
              <a:gd name="connsiteX8-5543" fmla="*/ 257726 w 5168654"/>
              <a:gd name="connsiteY8-5544" fmla="*/ 190647 h 2436046"/>
              <a:gd name="connsiteX9-5545" fmla="*/ 268318 w 5168654"/>
              <a:gd name="connsiteY9-5546" fmla="*/ 190647 h 2436046"/>
              <a:gd name="connsiteX10-5547" fmla="*/ 268318 w 5168654"/>
              <a:gd name="connsiteY10-5548" fmla="*/ 211830 h 2436046"/>
              <a:gd name="connsiteX11-5549" fmla="*/ 508392 w 5168654"/>
              <a:gd name="connsiteY11-5550" fmla="*/ 211830 h 2436046"/>
              <a:gd name="connsiteX12-5551" fmla="*/ 508392 w 5168654"/>
              <a:gd name="connsiteY12-5552" fmla="*/ 243604 h 2436046"/>
              <a:gd name="connsiteX13-5553" fmla="*/ 536636 w 5168654"/>
              <a:gd name="connsiteY13-5554" fmla="*/ 243604 h 2436046"/>
              <a:gd name="connsiteX14-5555" fmla="*/ 536636 w 5168654"/>
              <a:gd name="connsiteY14-5556" fmla="*/ 363641 h 2436046"/>
              <a:gd name="connsiteX15-5557" fmla="*/ 554288 w 5168654"/>
              <a:gd name="connsiteY15-5558" fmla="*/ 363641 h 2436046"/>
              <a:gd name="connsiteX16-5559" fmla="*/ 554288 w 5168654"/>
              <a:gd name="connsiteY16-5560" fmla="*/ 423660 h 2436046"/>
              <a:gd name="connsiteX17-5561" fmla="*/ 769649 w 5168654"/>
              <a:gd name="connsiteY17-5562" fmla="*/ 423660 h 2436046"/>
              <a:gd name="connsiteX18-5563" fmla="*/ 769649 w 5168654"/>
              <a:gd name="connsiteY18-5564" fmla="*/ 430721 h 2436046"/>
              <a:gd name="connsiteX19-5565" fmla="*/ 776710 w 5168654"/>
              <a:gd name="connsiteY19-5566" fmla="*/ 437782 h 2436046"/>
              <a:gd name="connsiteX20-5567" fmla="*/ 776710 w 5168654"/>
              <a:gd name="connsiteY20-5568" fmla="*/ 455434 h 2436046"/>
              <a:gd name="connsiteX21-5569" fmla="*/ 794363 w 5168654"/>
              <a:gd name="connsiteY21-5570" fmla="*/ 455434 h 2436046"/>
              <a:gd name="connsiteX22-5571" fmla="*/ 794363 w 5168654"/>
              <a:gd name="connsiteY22-5572" fmla="*/ 497801 h 2436046"/>
              <a:gd name="connsiteX23-5573" fmla="*/ 808485 w 5168654"/>
              <a:gd name="connsiteY23-5574" fmla="*/ 497801 h 2436046"/>
              <a:gd name="connsiteX24-5575" fmla="*/ 808485 w 5168654"/>
              <a:gd name="connsiteY24-5576" fmla="*/ 621368 h 2436046"/>
              <a:gd name="connsiteX25-5577" fmla="*/ 822607 w 5168654"/>
              <a:gd name="connsiteY25-5578" fmla="*/ 621368 h 2436046"/>
              <a:gd name="connsiteX26-5579" fmla="*/ 822607 w 5168654"/>
              <a:gd name="connsiteY26-5580" fmla="*/ 639021 h 2436046"/>
              <a:gd name="connsiteX27-5581" fmla="*/ 1045028 w 5168654"/>
              <a:gd name="connsiteY27-5582" fmla="*/ 639021 h 2436046"/>
              <a:gd name="connsiteX28-5583" fmla="*/ 1045028 w 5168654"/>
              <a:gd name="connsiteY28-5584" fmla="*/ 790832 h 2436046"/>
              <a:gd name="connsiteX29-5585" fmla="*/ 1059150 w 5168654"/>
              <a:gd name="connsiteY29-5586" fmla="*/ 790832 h 2436046"/>
              <a:gd name="connsiteX30-5587" fmla="*/ 1059150 w 5168654"/>
              <a:gd name="connsiteY30-5588" fmla="*/ 889686 h 2436046"/>
              <a:gd name="connsiteX31-5589" fmla="*/ 1083864 w 5168654"/>
              <a:gd name="connsiteY31-5590" fmla="*/ 889686 h 2436046"/>
              <a:gd name="connsiteX32-5591" fmla="*/ 1101516 w 5168654"/>
              <a:gd name="connsiteY32-5592" fmla="*/ 889686 h 2436046"/>
              <a:gd name="connsiteX33-5593" fmla="*/ 1158004 w 5168654"/>
              <a:gd name="connsiteY33-5594" fmla="*/ 889686 h 2436046"/>
              <a:gd name="connsiteX34-5595" fmla="*/ 1158004 w 5168654"/>
              <a:gd name="connsiteY34-5596" fmla="*/ 917930 h 2436046"/>
              <a:gd name="connsiteX35-5597" fmla="*/ 1302755 w 5168654"/>
              <a:gd name="connsiteY35-5598" fmla="*/ 917930 h 2436046"/>
              <a:gd name="connsiteX36-5599" fmla="*/ 1302755 w 5168654"/>
              <a:gd name="connsiteY36-5600" fmla="*/ 942644 h 2436046"/>
              <a:gd name="connsiteX37-5601" fmla="*/ 1313346 w 5168654"/>
              <a:gd name="connsiteY37-5602" fmla="*/ 942644 h 2436046"/>
              <a:gd name="connsiteX38-5603" fmla="*/ 1313346 w 5168654"/>
              <a:gd name="connsiteY38-5604" fmla="*/ 1034437 h 2436046"/>
              <a:gd name="connsiteX39-5605" fmla="*/ 1316877 w 5168654"/>
              <a:gd name="connsiteY39-5606" fmla="*/ 1034437 h 2436046"/>
              <a:gd name="connsiteX40-5607" fmla="*/ 1316877 w 5168654"/>
              <a:gd name="connsiteY40-5608" fmla="*/ 1080333 h 2436046"/>
              <a:gd name="connsiteX41-5609" fmla="*/ 1489871 w 5168654"/>
              <a:gd name="connsiteY41-5610" fmla="*/ 1080333 h 2436046"/>
              <a:gd name="connsiteX42-5611" fmla="*/ 1489871 w 5168654"/>
              <a:gd name="connsiteY42-5612" fmla="*/ 1097986 h 2436046"/>
              <a:gd name="connsiteX43-5613" fmla="*/ 1518115 w 5168654"/>
              <a:gd name="connsiteY43-5614" fmla="*/ 1097986 h 2436046"/>
              <a:gd name="connsiteX44-5615" fmla="*/ 1518115 w 5168654"/>
              <a:gd name="connsiteY44-5616" fmla="*/ 1122699 h 2436046"/>
              <a:gd name="connsiteX45-5617" fmla="*/ 1532237 w 5168654"/>
              <a:gd name="connsiteY45-5618" fmla="*/ 1122699 h 2436046"/>
              <a:gd name="connsiteX46-5619" fmla="*/ 1539298 w 5168654"/>
              <a:gd name="connsiteY46-5620" fmla="*/ 1129760 h 2436046"/>
              <a:gd name="connsiteX47-5621" fmla="*/ 1553420 w 5168654"/>
              <a:gd name="connsiteY47-5622" fmla="*/ 1143882 h 2436046"/>
              <a:gd name="connsiteX48-5623" fmla="*/ 1553420 w 5168654"/>
              <a:gd name="connsiteY48-5624" fmla="*/ 1189779 h 2436046"/>
              <a:gd name="connsiteX49-5625" fmla="*/ 1564012 w 5168654"/>
              <a:gd name="connsiteY49-5626" fmla="*/ 1189779 h 2436046"/>
              <a:gd name="connsiteX50-5627" fmla="*/ 1564012 w 5168654"/>
              <a:gd name="connsiteY50-5628" fmla="*/ 1253328 h 2436046"/>
              <a:gd name="connsiteX51-5629" fmla="*/ 1578134 w 5168654"/>
              <a:gd name="connsiteY51-5630" fmla="*/ 1253328 h 2436046"/>
              <a:gd name="connsiteX52-5631" fmla="*/ 1578134 w 5168654"/>
              <a:gd name="connsiteY52-5632" fmla="*/ 1345121 h 2436046"/>
              <a:gd name="connsiteX53-5633" fmla="*/ 1588726 w 5168654"/>
              <a:gd name="connsiteY53-5634" fmla="*/ 1345121 h 2436046"/>
              <a:gd name="connsiteX54-5635" fmla="*/ 1588726 w 5168654"/>
              <a:gd name="connsiteY54-5636" fmla="*/ 1380426 h 2436046"/>
              <a:gd name="connsiteX55-5637" fmla="*/ 1588726 w 5168654"/>
              <a:gd name="connsiteY55-5638" fmla="*/ 1380426 h 2436046"/>
              <a:gd name="connsiteX56-5639" fmla="*/ 1627561 w 5168654"/>
              <a:gd name="connsiteY56-5640" fmla="*/ 1380426 h 2436046"/>
              <a:gd name="connsiteX57-5641" fmla="*/ 1797025 w 5168654"/>
              <a:gd name="connsiteY57-5642" fmla="*/ 1380426 h 2436046"/>
              <a:gd name="connsiteX58-5643" fmla="*/ 1797025 w 5168654"/>
              <a:gd name="connsiteY58-5644" fmla="*/ 1472219 h 2436046"/>
              <a:gd name="connsiteX59-5645" fmla="*/ 1828800 w 5168654"/>
              <a:gd name="connsiteY59-5646" fmla="*/ 1472219 h 2436046"/>
              <a:gd name="connsiteX60-5647" fmla="*/ 1828800 w 5168654"/>
              <a:gd name="connsiteY60-5648" fmla="*/ 1489872 h 2436046"/>
              <a:gd name="connsiteX61-5649" fmla="*/ 1828800 w 5168654"/>
              <a:gd name="connsiteY61-5650" fmla="*/ 1503994 h 2436046"/>
              <a:gd name="connsiteX62-5651" fmla="*/ 1846452 w 5168654"/>
              <a:gd name="connsiteY62-5652" fmla="*/ 1503994 h 2436046"/>
              <a:gd name="connsiteX63-5653" fmla="*/ 1846452 w 5168654"/>
              <a:gd name="connsiteY63-5654" fmla="*/ 1564012 h 2436046"/>
              <a:gd name="connsiteX64-5655" fmla="*/ 1878227 w 5168654"/>
              <a:gd name="connsiteY64-5656" fmla="*/ 1564012 h 2436046"/>
              <a:gd name="connsiteX65-5657" fmla="*/ 1878227 w 5168654"/>
              <a:gd name="connsiteY65-5658" fmla="*/ 1595787 h 2436046"/>
              <a:gd name="connsiteX66-5659" fmla="*/ 2072404 w 5168654"/>
              <a:gd name="connsiteY66-5660" fmla="*/ 1595787 h 2436046"/>
              <a:gd name="connsiteX67-5661" fmla="*/ 2072404 w 5168654"/>
              <a:gd name="connsiteY67-5662" fmla="*/ 1673458 h 2436046"/>
              <a:gd name="connsiteX68-5663" fmla="*/ 2093587 w 5168654"/>
              <a:gd name="connsiteY68-5664" fmla="*/ 1673458 h 2436046"/>
              <a:gd name="connsiteX69-5665" fmla="*/ 2093587 w 5168654"/>
              <a:gd name="connsiteY69-5666" fmla="*/ 1684049 h 2436046"/>
              <a:gd name="connsiteX70-5667" fmla="*/ 2097118 w 5168654"/>
              <a:gd name="connsiteY70-5668" fmla="*/ 1684049 h 2436046"/>
              <a:gd name="connsiteX71-5669" fmla="*/ 2097118 w 5168654"/>
              <a:gd name="connsiteY71-5670" fmla="*/ 1701702 h 2436046"/>
              <a:gd name="connsiteX72-5671" fmla="*/ 2111240 w 5168654"/>
              <a:gd name="connsiteY72-5672" fmla="*/ 1701702 h 2436046"/>
              <a:gd name="connsiteX73-5673" fmla="*/ 2114770 w 5168654"/>
              <a:gd name="connsiteY73-5674" fmla="*/ 1715824 h 2436046"/>
              <a:gd name="connsiteX74-5675" fmla="*/ 2418392 w 5168654"/>
              <a:gd name="connsiteY74-5676" fmla="*/ 1715824 h 2436046"/>
              <a:gd name="connsiteX75-5677" fmla="*/ 2418393 w 5168654"/>
              <a:gd name="connsiteY75-5678" fmla="*/ 1744068 h 2436046"/>
              <a:gd name="connsiteX76-5679" fmla="*/ 2418393 w 5168654"/>
              <a:gd name="connsiteY76-5680" fmla="*/ 1744068 h 2436046"/>
              <a:gd name="connsiteX77-5681" fmla="*/ 2446637 w 5168654"/>
              <a:gd name="connsiteY77-5682" fmla="*/ 1772312 h 2436046"/>
              <a:gd name="connsiteX78-5683" fmla="*/ 2460759 w 5168654"/>
              <a:gd name="connsiteY78-5684" fmla="*/ 1772312 h 2436046"/>
              <a:gd name="connsiteX79-5685" fmla="*/ 2460759 w 5168654"/>
              <a:gd name="connsiteY79-5686" fmla="*/ 1821739 h 2436046"/>
              <a:gd name="connsiteX80-5687" fmla="*/ 2478412 w 5168654"/>
              <a:gd name="connsiteY80-5688" fmla="*/ 1821739 h 2436046"/>
              <a:gd name="connsiteX81-5689" fmla="*/ 2478412 w 5168654"/>
              <a:gd name="connsiteY81-5690" fmla="*/ 1920593 h 2436046"/>
              <a:gd name="connsiteX82-5691" fmla="*/ 2633754 w 5168654"/>
              <a:gd name="connsiteY82-5692" fmla="*/ 1920593 h 2436046"/>
              <a:gd name="connsiteX83-5693" fmla="*/ 2633754 w 5168654"/>
              <a:gd name="connsiteY83-5694" fmla="*/ 1941776 h 2436046"/>
              <a:gd name="connsiteX84-5695" fmla="*/ 2732608 w 5168654"/>
              <a:gd name="connsiteY84-5696" fmla="*/ 1941776 h 2436046"/>
              <a:gd name="connsiteX85-5697" fmla="*/ 2729036 w 5168654"/>
              <a:gd name="connsiteY85-5698" fmla="*/ 1959407 h 2436046"/>
              <a:gd name="connsiteX86-5699" fmla="*/ 2777020 w 5168654"/>
              <a:gd name="connsiteY86-5700" fmla="*/ 1963502 h 2436046"/>
              <a:gd name="connsiteX87-5701" fmla="*/ 2782035 w 5168654"/>
              <a:gd name="connsiteY87-5702" fmla="*/ 1991203 h 2436046"/>
              <a:gd name="connsiteX88-5703" fmla="*/ 2838523 w 5168654"/>
              <a:gd name="connsiteY88-5704" fmla="*/ 1991203 h 2436046"/>
              <a:gd name="connsiteX89-5705" fmla="*/ 2838523 w 5168654"/>
              <a:gd name="connsiteY89-5706" fmla="*/ 2019447 h 2436046"/>
              <a:gd name="connsiteX90-5707" fmla="*/ 2852645 w 5168654"/>
              <a:gd name="connsiteY90-5708" fmla="*/ 2019447 h 2436046"/>
              <a:gd name="connsiteX91-5709" fmla="*/ 2852645 w 5168654"/>
              <a:gd name="connsiteY91-5710" fmla="*/ 2075935 h 2436046"/>
              <a:gd name="connsiteX92-5711" fmla="*/ 3219817 w 5168654"/>
              <a:gd name="connsiteY92-5712" fmla="*/ 2075934 h 2436046"/>
              <a:gd name="connsiteX93-5713" fmla="*/ 3205695 w 5168654"/>
              <a:gd name="connsiteY93-5714" fmla="*/ 2107709 h 2436046"/>
              <a:gd name="connsiteX94-5715" fmla="*/ 3237470 w 5168654"/>
              <a:gd name="connsiteY94-5716" fmla="*/ 2118300 h 2436046"/>
              <a:gd name="connsiteX95-5717" fmla="*/ 3230409 w 5168654"/>
              <a:gd name="connsiteY95-5718" fmla="*/ 2181850 h 2436046"/>
              <a:gd name="connsiteX96-5719" fmla="*/ 3438709 w 5168654"/>
              <a:gd name="connsiteY96-5720" fmla="*/ 2181850 h 2436046"/>
              <a:gd name="connsiteX97-5721" fmla="*/ 3438709 w 5168654"/>
              <a:gd name="connsiteY97-5722" fmla="*/ 2199502 h 2436046"/>
              <a:gd name="connsiteX98-5723" fmla="*/ 3565807 w 5168654"/>
              <a:gd name="connsiteY98-5724" fmla="*/ 2199502 h 2436046"/>
              <a:gd name="connsiteX99-5725" fmla="*/ 3565807 w 5168654"/>
              <a:gd name="connsiteY99-5726" fmla="*/ 2227746 h 2436046"/>
              <a:gd name="connsiteX100-5727" fmla="*/ 3618764 w 5168654"/>
              <a:gd name="connsiteY100-5728" fmla="*/ 2227746 h 2436046"/>
              <a:gd name="connsiteX101-5729" fmla="*/ 3618764 w 5168654"/>
              <a:gd name="connsiteY101-5730" fmla="*/ 2252460 h 2436046"/>
              <a:gd name="connsiteX102-5731" fmla="*/ 3890613 w 5168654"/>
              <a:gd name="connsiteY102-5732" fmla="*/ 2252460 h 2436046"/>
              <a:gd name="connsiteX103-5733" fmla="*/ 3890613 w 5168654"/>
              <a:gd name="connsiteY103-5734" fmla="*/ 2287765 h 2436046"/>
              <a:gd name="connsiteX104-5735" fmla="*/ 3975345 w 5168654"/>
              <a:gd name="connsiteY104-5736" fmla="*/ 2287765 h 2436046"/>
              <a:gd name="connsiteX105-5737" fmla="*/ 3975345 w 5168654"/>
              <a:gd name="connsiteY105-5738" fmla="*/ 2316009 h 2436046"/>
              <a:gd name="connsiteX106-5739" fmla="*/ 4007119 w 5168654"/>
              <a:gd name="connsiteY106-5740" fmla="*/ 2316009 h 2436046"/>
              <a:gd name="connsiteX107-5741" fmla="*/ 4007119 w 5168654"/>
              <a:gd name="connsiteY107-5742" fmla="*/ 2368967 h 2436046"/>
              <a:gd name="connsiteX108-5743" fmla="*/ 4614366 w 5168654"/>
              <a:gd name="connsiteY108-5744" fmla="*/ 2368967 h 2436046"/>
              <a:gd name="connsiteX109-5745" fmla="*/ 4614366 w 5168654"/>
              <a:gd name="connsiteY109-5746" fmla="*/ 2436046 h 2436046"/>
              <a:gd name="connsiteX110-5747" fmla="*/ 5168654 w 5168654"/>
              <a:gd name="connsiteY110-5748" fmla="*/ 2436046 h 2436046"/>
              <a:gd name="connsiteX0-5749" fmla="*/ 0 w 5168654"/>
              <a:gd name="connsiteY0-5750" fmla="*/ 0 h 2436046"/>
              <a:gd name="connsiteX1-5751" fmla="*/ 144750 w 5168654"/>
              <a:gd name="connsiteY1-5752" fmla="*/ 0 h 2436046"/>
              <a:gd name="connsiteX2-5753" fmla="*/ 144750 w 5168654"/>
              <a:gd name="connsiteY2-5754" fmla="*/ 42366 h 2436046"/>
              <a:gd name="connsiteX3-5755" fmla="*/ 158872 w 5168654"/>
              <a:gd name="connsiteY3-5756" fmla="*/ 42366 h 2436046"/>
              <a:gd name="connsiteX4-5757" fmla="*/ 158872 w 5168654"/>
              <a:gd name="connsiteY4-5758" fmla="*/ 81201 h 2436046"/>
              <a:gd name="connsiteX5-5759" fmla="*/ 162403 w 5168654"/>
              <a:gd name="connsiteY5-5760" fmla="*/ 84732 h 2436046"/>
              <a:gd name="connsiteX6-5761" fmla="*/ 162403 w 5168654"/>
              <a:gd name="connsiteY6-5762" fmla="*/ 155342 h 2436046"/>
              <a:gd name="connsiteX7-5763" fmla="*/ 257726 w 5168654"/>
              <a:gd name="connsiteY7-5764" fmla="*/ 155342 h 2436046"/>
              <a:gd name="connsiteX8-5765" fmla="*/ 257726 w 5168654"/>
              <a:gd name="connsiteY8-5766" fmla="*/ 190647 h 2436046"/>
              <a:gd name="connsiteX9-5767" fmla="*/ 268318 w 5168654"/>
              <a:gd name="connsiteY9-5768" fmla="*/ 190647 h 2436046"/>
              <a:gd name="connsiteX10-5769" fmla="*/ 268318 w 5168654"/>
              <a:gd name="connsiteY10-5770" fmla="*/ 211830 h 2436046"/>
              <a:gd name="connsiteX11-5771" fmla="*/ 508392 w 5168654"/>
              <a:gd name="connsiteY11-5772" fmla="*/ 211830 h 2436046"/>
              <a:gd name="connsiteX12-5773" fmla="*/ 508392 w 5168654"/>
              <a:gd name="connsiteY12-5774" fmla="*/ 243604 h 2436046"/>
              <a:gd name="connsiteX13-5775" fmla="*/ 536636 w 5168654"/>
              <a:gd name="connsiteY13-5776" fmla="*/ 243604 h 2436046"/>
              <a:gd name="connsiteX14-5777" fmla="*/ 536636 w 5168654"/>
              <a:gd name="connsiteY14-5778" fmla="*/ 363641 h 2436046"/>
              <a:gd name="connsiteX15-5779" fmla="*/ 554288 w 5168654"/>
              <a:gd name="connsiteY15-5780" fmla="*/ 363641 h 2436046"/>
              <a:gd name="connsiteX16-5781" fmla="*/ 554288 w 5168654"/>
              <a:gd name="connsiteY16-5782" fmla="*/ 423660 h 2436046"/>
              <a:gd name="connsiteX17-5783" fmla="*/ 769649 w 5168654"/>
              <a:gd name="connsiteY17-5784" fmla="*/ 423660 h 2436046"/>
              <a:gd name="connsiteX18-5785" fmla="*/ 769649 w 5168654"/>
              <a:gd name="connsiteY18-5786" fmla="*/ 430721 h 2436046"/>
              <a:gd name="connsiteX19-5787" fmla="*/ 776710 w 5168654"/>
              <a:gd name="connsiteY19-5788" fmla="*/ 437782 h 2436046"/>
              <a:gd name="connsiteX20-5789" fmla="*/ 776710 w 5168654"/>
              <a:gd name="connsiteY20-5790" fmla="*/ 455434 h 2436046"/>
              <a:gd name="connsiteX21-5791" fmla="*/ 794363 w 5168654"/>
              <a:gd name="connsiteY21-5792" fmla="*/ 455434 h 2436046"/>
              <a:gd name="connsiteX22-5793" fmla="*/ 794363 w 5168654"/>
              <a:gd name="connsiteY22-5794" fmla="*/ 497801 h 2436046"/>
              <a:gd name="connsiteX23-5795" fmla="*/ 808485 w 5168654"/>
              <a:gd name="connsiteY23-5796" fmla="*/ 497801 h 2436046"/>
              <a:gd name="connsiteX24-5797" fmla="*/ 808485 w 5168654"/>
              <a:gd name="connsiteY24-5798" fmla="*/ 621368 h 2436046"/>
              <a:gd name="connsiteX25-5799" fmla="*/ 822607 w 5168654"/>
              <a:gd name="connsiteY25-5800" fmla="*/ 621368 h 2436046"/>
              <a:gd name="connsiteX26-5801" fmla="*/ 822607 w 5168654"/>
              <a:gd name="connsiteY26-5802" fmla="*/ 639021 h 2436046"/>
              <a:gd name="connsiteX27-5803" fmla="*/ 1045028 w 5168654"/>
              <a:gd name="connsiteY27-5804" fmla="*/ 639021 h 2436046"/>
              <a:gd name="connsiteX28-5805" fmla="*/ 1045028 w 5168654"/>
              <a:gd name="connsiteY28-5806" fmla="*/ 790832 h 2436046"/>
              <a:gd name="connsiteX29-5807" fmla="*/ 1059150 w 5168654"/>
              <a:gd name="connsiteY29-5808" fmla="*/ 790832 h 2436046"/>
              <a:gd name="connsiteX30-5809" fmla="*/ 1059150 w 5168654"/>
              <a:gd name="connsiteY30-5810" fmla="*/ 889686 h 2436046"/>
              <a:gd name="connsiteX31-5811" fmla="*/ 1083864 w 5168654"/>
              <a:gd name="connsiteY31-5812" fmla="*/ 889686 h 2436046"/>
              <a:gd name="connsiteX32-5813" fmla="*/ 1101516 w 5168654"/>
              <a:gd name="connsiteY32-5814" fmla="*/ 889686 h 2436046"/>
              <a:gd name="connsiteX33-5815" fmla="*/ 1158004 w 5168654"/>
              <a:gd name="connsiteY33-5816" fmla="*/ 889686 h 2436046"/>
              <a:gd name="connsiteX34-5817" fmla="*/ 1158004 w 5168654"/>
              <a:gd name="connsiteY34-5818" fmla="*/ 917930 h 2436046"/>
              <a:gd name="connsiteX35-5819" fmla="*/ 1302755 w 5168654"/>
              <a:gd name="connsiteY35-5820" fmla="*/ 917930 h 2436046"/>
              <a:gd name="connsiteX36-5821" fmla="*/ 1302755 w 5168654"/>
              <a:gd name="connsiteY36-5822" fmla="*/ 942644 h 2436046"/>
              <a:gd name="connsiteX37-5823" fmla="*/ 1313346 w 5168654"/>
              <a:gd name="connsiteY37-5824" fmla="*/ 942644 h 2436046"/>
              <a:gd name="connsiteX38-5825" fmla="*/ 1313346 w 5168654"/>
              <a:gd name="connsiteY38-5826" fmla="*/ 1034437 h 2436046"/>
              <a:gd name="connsiteX39-5827" fmla="*/ 1316877 w 5168654"/>
              <a:gd name="connsiteY39-5828" fmla="*/ 1034437 h 2436046"/>
              <a:gd name="connsiteX40-5829" fmla="*/ 1316877 w 5168654"/>
              <a:gd name="connsiteY40-5830" fmla="*/ 1080333 h 2436046"/>
              <a:gd name="connsiteX41-5831" fmla="*/ 1489871 w 5168654"/>
              <a:gd name="connsiteY41-5832" fmla="*/ 1080333 h 2436046"/>
              <a:gd name="connsiteX42-5833" fmla="*/ 1489871 w 5168654"/>
              <a:gd name="connsiteY42-5834" fmla="*/ 1097986 h 2436046"/>
              <a:gd name="connsiteX43-5835" fmla="*/ 1518115 w 5168654"/>
              <a:gd name="connsiteY43-5836" fmla="*/ 1097986 h 2436046"/>
              <a:gd name="connsiteX44-5837" fmla="*/ 1518115 w 5168654"/>
              <a:gd name="connsiteY44-5838" fmla="*/ 1122699 h 2436046"/>
              <a:gd name="connsiteX45-5839" fmla="*/ 1532237 w 5168654"/>
              <a:gd name="connsiteY45-5840" fmla="*/ 1122699 h 2436046"/>
              <a:gd name="connsiteX46-5841" fmla="*/ 1539298 w 5168654"/>
              <a:gd name="connsiteY46-5842" fmla="*/ 1129760 h 2436046"/>
              <a:gd name="connsiteX47-5843" fmla="*/ 1553420 w 5168654"/>
              <a:gd name="connsiteY47-5844" fmla="*/ 1143882 h 2436046"/>
              <a:gd name="connsiteX48-5845" fmla="*/ 1553420 w 5168654"/>
              <a:gd name="connsiteY48-5846" fmla="*/ 1189779 h 2436046"/>
              <a:gd name="connsiteX49-5847" fmla="*/ 1564012 w 5168654"/>
              <a:gd name="connsiteY49-5848" fmla="*/ 1189779 h 2436046"/>
              <a:gd name="connsiteX50-5849" fmla="*/ 1564012 w 5168654"/>
              <a:gd name="connsiteY50-5850" fmla="*/ 1253328 h 2436046"/>
              <a:gd name="connsiteX51-5851" fmla="*/ 1578134 w 5168654"/>
              <a:gd name="connsiteY51-5852" fmla="*/ 1253328 h 2436046"/>
              <a:gd name="connsiteX52-5853" fmla="*/ 1578134 w 5168654"/>
              <a:gd name="connsiteY52-5854" fmla="*/ 1345121 h 2436046"/>
              <a:gd name="connsiteX53-5855" fmla="*/ 1588726 w 5168654"/>
              <a:gd name="connsiteY53-5856" fmla="*/ 1345121 h 2436046"/>
              <a:gd name="connsiteX54-5857" fmla="*/ 1588726 w 5168654"/>
              <a:gd name="connsiteY54-5858" fmla="*/ 1380426 h 2436046"/>
              <a:gd name="connsiteX55-5859" fmla="*/ 1588726 w 5168654"/>
              <a:gd name="connsiteY55-5860" fmla="*/ 1393678 h 2436046"/>
              <a:gd name="connsiteX56-5861" fmla="*/ 1627561 w 5168654"/>
              <a:gd name="connsiteY56-5862" fmla="*/ 1380426 h 2436046"/>
              <a:gd name="connsiteX57-5863" fmla="*/ 1797025 w 5168654"/>
              <a:gd name="connsiteY57-5864" fmla="*/ 1380426 h 2436046"/>
              <a:gd name="connsiteX58-5865" fmla="*/ 1797025 w 5168654"/>
              <a:gd name="connsiteY58-5866" fmla="*/ 1472219 h 2436046"/>
              <a:gd name="connsiteX59-5867" fmla="*/ 1828800 w 5168654"/>
              <a:gd name="connsiteY59-5868" fmla="*/ 1472219 h 2436046"/>
              <a:gd name="connsiteX60-5869" fmla="*/ 1828800 w 5168654"/>
              <a:gd name="connsiteY60-5870" fmla="*/ 1489872 h 2436046"/>
              <a:gd name="connsiteX61-5871" fmla="*/ 1828800 w 5168654"/>
              <a:gd name="connsiteY61-5872" fmla="*/ 1503994 h 2436046"/>
              <a:gd name="connsiteX62-5873" fmla="*/ 1846452 w 5168654"/>
              <a:gd name="connsiteY62-5874" fmla="*/ 1503994 h 2436046"/>
              <a:gd name="connsiteX63-5875" fmla="*/ 1846452 w 5168654"/>
              <a:gd name="connsiteY63-5876" fmla="*/ 1564012 h 2436046"/>
              <a:gd name="connsiteX64-5877" fmla="*/ 1878227 w 5168654"/>
              <a:gd name="connsiteY64-5878" fmla="*/ 1564012 h 2436046"/>
              <a:gd name="connsiteX65-5879" fmla="*/ 1878227 w 5168654"/>
              <a:gd name="connsiteY65-5880" fmla="*/ 1595787 h 2436046"/>
              <a:gd name="connsiteX66-5881" fmla="*/ 2072404 w 5168654"/>
              <a:gd name="connsiteY66-5882" fmla="*/ 1595787 h 2436046"/>
              <a:gd name="connsiteX67-5883" fmla="*/ 2072404 w 5168654"/>
              <a:gd name="connsiteY67-5884" fmla="*/ 1673458 h 2436046"/>
              <a:gd name="connsiteX68-5885" fmla="*/ 2093587 w 5168654"/>
              <a:gd name="connsiteY68-5886" fmla="*/ 1673458 h 2436046"/>
              <a:gd name="connsiteX69-5887" fmla="*/ 2093587 w 5168654"/>
              <a:gd name="connsiteY69-5888" fmla="*/ 1684049 h 2436046"/>
              <a:gd name="connsiteX70-5889" fmla="*/ 2097118 w 5168654"/>
              <a:gd name="connsiteY70-5890" fmla="*/ 1684049 h 2436046"/>
              <a:gd name="connsiteX71-5891" fmla="*/ 2097118 w 5168654"/>
              <a:gd name="connsiteY71-5892" fmla="*/ 1701702 h 2436046"/>
              <a:gd name="connsiteX72-5893" fmla="*/ 2111240 w 5168654"/>
              <a:gd name="connsiteY72-5894" fmla="*/ 1701702 h 2436046"/>
              <a:gd name="connsiteX73-5895" fmla="*/ 2114770 w 5168654"/>
              <a:gd name="connsiteY73-5896" fmla="*/ 1715824 h 2436046"/>
              <a:gd name="connsiteX74-5897" fmla="*/ 2418392 w 5168654"/>
              <a:gd name="connsiteY74-5898" fmla="*/ 1715824 h 2436046"/>
              <a:gd name="connsiteX75-5899" fmla="*/ 2418393 w 5168654"/>
              <a:gd name="connsiteY75-5900" fmla="*/ 1744068 h 2436046"/>
              <a:gd name="connsiteX76-5901" fmla="*/ 2418393 w 5168654"/>
              <a:gd name="connsiteY76-5902" fmla="*/ 1744068 h 2436046"/>
              <a:gd name="connsiteX77-5903" fmla="*/ 2446637 w 5168654"/>
              <a:gd name="connsiteY77-5904" fmla="*/ 1772312 h 2436046"/>
              <a:gd name="connsiteX78-5905" fmla="*/ 2460759 w 5168654"/>
              <a:gd name="connsiteY78-5906" fmla="*/ 1772312 h 2436046"/>
              <a:gd name="connsiteX79-5907" fmla="*/ 2460759 w 5168654"/>
              <a:gd name="connsiteY79-5908" fmla="*/ 1821739 h 2436046"/>
              <a:gd name="connsiteX80-5909" fmla="*/ 2478412 w 5168654"/>
              <a:gd name="connsiteY80-5910" fmla="*/ 1821739 h 2436046"/>
              <a:gd name="connsiteX81-5911" fmla="*/ 2478412 w 5168654"/>
              <a:gd name="connsiteY81-5912" fmla="*/ 1920593 h 2436046"/>
              <a:gd name="connsiteX82-5913" fmla="*/ 2633754 w 5168654"/>
              <a:gd name="connsiteY82-5914" fmla="*/ 1920593 h 2436046"/>
              <a:gd name="connsiteX83-5915" fmla="*/ 2633754 w 5168654"/>
              <a:gd name="connsiteY83-5916" fmla="*/ 1941776 h 2436046"/>
              <a:gd name="connsiteX84-5917" fmla="*/ 2732608 w 5168654"/>
              <a:gd name="connsiteY84-5918" fmla="*/ 1941776 h 2436046"/>
              <a:gd name="connsiteX85-5919" fmla="*/ 2729036 w 5168654"/>
              <a:gd name="connsiteY85-5920" fmla="*/ 1959407 h 2436046"/>
              <a:gd name="connsiteX86-5921" fmla="*/ 2777020 w 5168654"/>
              <a:gd name="connsiteY86-5922" fmla="*/ 1963502 h 2436046"/>
              <a:gd name="connsiteX87-5923" fmla="*/ 2782035 w 5168654"/>
              <a:gd name="connsiteY87-5924" fmla="*/ 1991203 h 2436046"/>
              <a:gd name="connsiteX88-5925" fmla="*/ 2838523 w 5168654"/>
              <a:gd name="connsiteY88-5926" fmla="*/ 1991203 h 2436046"/>
              <a:gd name="connsiteX89-5927" fmla="*/ 2838523 w 5168654"/>
              <a:gd name="connsiteY89-5928" fmla="*/ 2019447 h 2436046"/>
              <a:gd name="connsiteX90-5929" fmla="*/ 2852645 w 5168654"/>
              <a:gd name="connsiteY90-5930" fmla="*/ 2019447 h 2436046"/>
              <a:gd name="connsiteX91-5931" fmla="*/ 2852645 w 5168654"/>
              <a:gd name="connsiteY91-5932" fmla="*/ 2075935 h 2436046"/>
              <a:gd name="connsiteX92-5933" fmla="*/ 3219817 w 5168654"/>
              <a:gd name="connsiteY92-5934" fmla="*/ 2075934 h 2436046"/>
              <a:gd name="connsiteX93-5935" fmla="*/ 3205695 w 5168654"/>
              <a:gd name="connsiteY93-5936" fmla="*/ 2107709 h 2436046"/>
              <a:gd name="connsiteX94-5937" fmla="*/ 3237470 w 5168654"/>
              <a:gd name="connsiteY94-5938" fmla="*/ 2118300 h 2436046"/>
              <a:gd name="connsiteX95-5939" fmla="*/ 3230409 w 5168654"/>
              <a:gd name="connsiteY95-5940" fmla="*/ 2181850 h 2436046"/>
              <a:gd name="connsiteX96-5941" fmla="*/ 3438709 w 5168654"/>
              <a:gd name="connsiteY96-5942" fmla="*/ 2181850 h 2436046"/>
              <a:gd name="connsiteX97-5943" fmla="*/ 3438709 w 5168654"/>
              <a:gd name="connsiteY97-5944" fmla="*/ 2199502 h 2436046"/>
              <a:gd name="connsiteX98-5945" fmla="*/ 3565807 w 5168654"/>
              <a:gd name="connsiteY98-5946" fmla="*/ 2199502 h 2436046"/>
              <a:gd name="connsiteX99-5947" fmla="*/ 3565807 w 5168654"/>
              <a:gd name="connsiteY99-5948" fmla="*/ 2227746 h 2436046"/>
              <a:gd name="connsiteX100-5949" fmla="*/ 3618764 w 5168654"/>
              <a:gd name="connsiteY100-5950" fmla="*/ 2227746 h 2436046"/>
              <a:gd name="connsiteX101-5951" fmla="*/ 3618764 w 5168654"/>
              <a:gd name="connsiteY101-5952" fmla="*/ 2252460 h 2436046"/>
              <a:gd name="connsiteX102-5953" fmla="*/ 3890613 w 5168654"/>
              <a:gd name="connsiteY102-5954" fmla="*/ 2252460 h 2436046"/>
              <a:gd name="connsiteX103-5955" fmla="*/ 3890613 w 5168654"/>
              <a:gd name="connsiteY103-5956" fmla="*/ 2287765 h 2436046"/>
              <a:gd name="connsiteX104-5957" fmla="*/ 3975345 w 5168654"/>
              <a:gd name="connsiteY104-5958" fmla="*/ 2287765 h 2436046"/>
              <a:gd name="connsiteX105-5959" fmla="*/ 3975345 w 5168654"/>
              <a:gd name="connsiteY105-5960" fmla="*/ 2316009 h 2436046"/>
              <a:gd name="connsiteX106-5961" fmla="*/ 4007119 w 5168654"/>
              <a:gd name="connsiteY106-5962" fmla="*/ 2316009 h 2436046"/>
              <a:gd name="connsiteX107-5963" fmla="*/ 4007119 w 5168654"/>
              <a:gd name="connsiteY107-5964" fmla="*/ 2368967 h 2436046"/>
              <a:gd name="connsiteX108-5965" fmla="*/ 4614366 w 5168654"/>
              <a:gd name="connsiteY108-5966" fmla="*/ 2368967 h 2436046"/>
              <a:gd name="connsiteX109-5967" fmla="*/ 4614366 w 5168654"/>
              <a:gd name="connsiteY109-5968" fmla="*/ 2436046 h 2436046"/>
              <a:gd name="connsiteX110-5969" fmla="*/ 5168654 w 5168654"/>
              <a:gd name="connsiteY110-5970" fmla="*/ 2436046 h 2436046"/>
              <a:gd name="connsiteX0-5971" fmla="*/ 0 w 5168654"/>
              <a:gd name="connsiteY0-5972" fmla="*/ 0 h 2436046"/>
              <a:gd name="connsiteX1-5973" fmla="*/ 144750 w 5168654"/>
              <a:gd name="connsiteY1-5974" fmla="*/ 0 h 2436046"/>
              <a:gd name="connsiteX2-5975" fmla="*/ 144750 w 5168654"/>
              <a:gd name="connsiteY2-5976" fmla="*/ 42366 h 2436046"/>
              <a:gd name="connsiteX3-5977" fmla="*/ 158872 w 5168654"/>
              <a:gd name="connsiteY3-5978" fmla="*/ 42366 h 2436046"/>
              <a:gd name="connsiteX4-5979" fmla="*/ 158872 w 5168654"/>
              <a:gd name="connsiteY4-5980" fmla="*/ 81201 h 2436046"/>
              <a:gd name="connsiteX5-5981" fmla="*/ 162403 w 5168654"/>
              <a:gd name="connsiteY5-5982" fmla="*/ 84732 h 2436046"/>
              <a:gd name="connsiteX6-5983" fmla="*/ 162403 w 5168654"/>
              <a:gd name="connsiteY6-5984" fmla="*/ 155342 h 2436046"/>
              <a:gd name="connsiteX7-5985" fmla="*/ 257726 w 5168654"/>
              <a:gd name="connsiteY7-5986" fmla="*/ 155342 h 2436046"/>
              <a:gd name="connsiteX8-5987" fmla="*/ 257726 w 5168654"/>
              <a:gd name="connsiteY8-5988" fmla="*/ 190647 h 2436046"/>
              <a:gd name="connsiteX9-5989" fmla="*/ 268318 w 5168654"/>
              <a:gd name="connsiteY9-5990" fmla="*/ 190647 h 2436046"/>
              <a:gd name="connsiteX10-5991" fmla="*/ 268318 w 5168654"/>
              <a:gd name="connsiteY10-5992" fmla="*/ 211830 h 2436046"/>
              <a:gd name="connsiteX11-5993" fmla="*/ 508392 w 5168654"/>
              <a:gd name="connsiteY11-5994" fmla="*/ 211830 h 2436046"/>
              <a:gd name="connsiteX12-5995" fmla="*/ 508392 w 5168654"/>
              <a:gd name="connsiteY12-5996" fmla="*/ 243604 h 2436046"/>
              <a:gd name="connsiteX13-5997" fmla="*/ 536636 w 5168654"/>
              <a:gd name="connsiteY13-5998" fmla="*/ 243604 h 2436046"/>
              <a:gd name="connsiteX14-5999" fmla="*/ 536636 w 5168654"/>
              <a:gd name="connsiteY14-6000" fmla="*/ 363641 h 2436046"/>
              <a:gd name="connsiteX15-6001" fmla="*/ 554288 w 5168654"/>
              <a:gd name="connsiteY15-6002" fmla="*/ 363641 h 2436046"/>
              <a:gd name="connsiteX16-6003" fmla="*/ 554288 w 5168654"/>
              <a:gd name="connsiteY16-6004" fmla="*/ 423660 h 2436046"/>
              <a:gd name="connsiteX17-6005" fmla="*/ 769649 w 5168654"/>
              <a:gd name="connsiteY17-6006" fmla="*/ 423660 h 2436046"/>
              <a:gd name="connsiteX18-6007" fmla="*/ 769649 w 5168654"/>
              <a:gd name="connsiteY18-6008" fmla="*/ 430721 h 2436046"/>
              <a:gd name="connsiteX19-6009" fmla="*/ 776710 w 5168654"/>
              <a:gd name="connsiteY19-6010" fmla="*/ 437782 h 2436046"/>
              <a:gd name="connsiteX20-6011" fmla="*/ 776710 w 5168654"/>
              <a:gd name="connsiteY20-6012" fmla="*/ 455434 h 2436046"/>
              <a:gd name="connsiteX21-6013" fmla="*/ 794363 w 5168654"/>
              <a:gd name="connsiteY21-6014" fmla="*/ 455434 h 2436046"/>
              <a:gd name="connsiteX22-6015" fmla="*/ 794363 w 5168654"/>
              <a:gd name="connsiteY22-6016" fmla="*/ 497801 h 2436046"/>
              <a:gd name="connsiteX23-6017" fmla="*/ 808485 w 5168654"/>
              <a:gd name="connsiteY23-6018" fmla="*/ 497801 h 2436046"/>
              <a:gd name="connsiteX24-6019" fmla="*/ 808485 w 5168654"/>
              <a:gd name="connsiteY24-6020" fmla="*/ 621368 h 2436046"/>
              <a:gd name="connsiteX25-6021" fmla="*/ 822607 w 5168654"/>
              <a:gd name="connsiteY25-6022" fmla="*/ 621368 h 2436046"/>
              <a:gd name="connsiteX26-6023" fmla="*/ 822607 w 5168654"/>
              <a:gd name="connsiteY26-6024" fmla="*/ 639021 h 2436046"/>
              <a:gd name="connsiteX27-6025" fmla="*/ 1045028 w 5168654"/>
              <a:gd name="connsiteY27-6026" fmla="*/ 639021 h 2436046"/>
              <a:gd name="connsiteX28-6027" fmla="*/ 1045028 w 5168654"/>
              <a:gd name="connsiteY28-6028" fmla="*/ 790832 h 2436046"/>
              <a:gd name="connsiteX29-6029" fmla="*/ 1059150 w 5168654"/>
              <a:gd name="connsiteY29-6030" fmla="*/ 790832 h 2436046"/>
              <a:gd name="connsiteX30-6031" fmla="*/ 1059150 w 5168654"/>
              <a:gd name="connsiteY30-6032" fmla="*/ 889686 h 2436046"/>
              <a:gd name="connsiteX31-6033" fmla="*/ 1083864 w 5168654"/>
              <a:gd name="connsiteY31-6034" fmla="*/ 889686 h 2436046"/>
              <a:gd name="connsiteX32-6035" fmla="*/ 1101516 w 5168654"/>
              <a:gd name="connsiteY32-6036" fmla="*/ 889686 h 2436046"/>
              <a:gd name="connsiteX33-6037" fmla="*/ 1158004 w 5168654"/>
              <a:gd name="connsiteY33-6038" fmla="*/ 889686 h 2436046"/>
              <a:gd name="connsiteX34-6039" fmla="*/ 1158004 w 5168654"/>
              <a:gd name="connsiteY34-6040" fmla="*/ 917930 h 2436046"/>
              <a:gd name="connsiteX35-6041" fmla="*/ 1302755 w 5168654"/>
              <a:gd name="connsiteY35-6042" fmla="*/ 917930 h 2436046"/>
              <a:gd name="connsiteX36-6043" fmla="*/ 1302755 w 5168654"/>
              <a:gd name="connsiteY36-6044" fmla="*/ 942644 h 2436046"/>
              <a:gd name="connsiteX37-6045" fmla="*/ 1313346 w 5168654"/>
              <a:gd name="connsiteY37-6046" fmla="*/ 942644 h 2436046"/>
              <a:gd name="connsiteX38-6047" fmla="*/ 1313346 w 5168654"/>
              <a:gd name="connsiteY38-6048" fmla="*/ 1034437 h 2436046"/>
              <a:gd name="connsiteX39-6049" fmla="*/ 1316877 w 5168654"/>
              <a:gd name="connsiteY39-6050" fmla="*/ 1034437 h 2436046"/>
              <a:gd name="connsiteX40-6051" fmla="*/ 1316877 w 5168654"/>
              <a:gd name="connsiteY40-6052" fmla="*/ 1080333 h 2436046"/>
              <a:gd name="connsiteX41-6053" fmla="*/ 1489871 w 5168654"/>
              <a:gd name="connsiteY41-6054" fmla="*/ 1080333 h 2436046"/>
              <a:gd name="connsiteX42-6055" fmla="*/ 1489871 w 5168654"/>
              <a:gd name="connsiteY42-6056" fmla="*/ 1097986 h 2436046"/>
              <a:gd name="connsiteX43-6057" fmla="*/ 1518115 w 5168654"/>
              <a:gd name="connsiteY43-6058" fmla="*/ 1097986 h 2436046"/>
              <a:gd name="connsiteX44-6059" fmla="*/ 1518115 w 5168654"/>
              <a:gd name="connsiteY44-6060" fmla="*/ 1122699 h 2436046"/>
              <a:gd name="connsiteX45-6061" fmla="*/ 1532237 w 5168654"/>
              <a:gd name="connsiteY45-6062" fmla="*/ 1122699 h 2436046"/>
              <a:gd name="connsiteX46-6063" fmla="*/ 1539298 w 5168654"/>
              <a:gd name="connsiteY46-6064" fmla="*/ 1129760 h 2436046"/>
              <a:gd name="connsiteX47-6065" fmla="*/ 1553420 w 5168654"/>
              <a:gd name="connsiteY47-6066" fmla="*/ 1143882 h 2436046"/>
              <a:gd name="connsiteX48-6067" fmla="*/ 1553420 w 5168654"/>
              <a:gd name="connsiteY48-6068" fmla="*/ 1189779 h 2436046"/>
              <a:gd name="connsiteX49-6069" fmla="*/ 1564012 w 5168654"/>
              <a:gd name="connsiteY49-6070" fmla="*/ 1189779 h 2436046"/>
              <a:gd name="connsiteX50-6071" fmla="*/ 1564012 w 5168654"/>
              <a:gd name="connsiteY50-6072" fmla="*/ 1253328 h 2436046"/>
              <a:gd name="connsiteX51-6073" fmla="*/ 1578134 w 5168654"/>
              <a:gd name="connsiteY51-6074" fmla="*/ 1253328 h 2436046"/>
              <a:gd name="connsiteX52-6075" fmla="*/ 1578134 w 5168654"/>
              <a:gd name="connsiteY52-6076" fmla="*/ 1345121 h 2436046"/>
              <a:gd name="connsiteX53-6077" fmla="*/ 1588726 w 5168654"/>
              <a:gd name="connsiteY53-6078" fmla="*/ 1345121 h 2436046"/>
              <a:gd name="connsiteX54-6079" fmla="*/ 1588726 w 5168654"/>
              <a:gd name="connsiteY54-6080" fmla="*/ 1380426 h 2436046"/>
              <a:gd name="connsiteX55-6081" fmla="*/ 1588726 w 5168654"/>
              <a:gd name="connsiteY55-6082" fmla="*/ 1393678 h 2436046"/>
              <a:gd name="connsiteX56-6083" fmla="*/ 1797025 w 5168654"/>
              <a:gd name="connsiteY56-6084" fmla="*/ 1380426 h 2436046"/>
              <a:gd name="connsiteX57-6085" fmla="*/ 1797025 w 5168654"/>
              <a:gd name="connsiteY57-6086" fmla="*/ 1472219 h 2436046"/>
              <a:gd name="connsiteX58-6087" fmla="*/ 1828800 w 5168654"/>
              <a:gd name="connsiteY58-6088" fmla="*/ 1472219 h 2436046"/>
              <a:gd name="connsiteX59-6089" fmla="*/ 1828800 w 5168654"/>
              <a:gd name="connsiteY59-6090" fmla="*/ 1489872 h 2436046"/>
              <a:gd name="connsiteX60-6091" fmla="*/ 1828800 w 5168654"/>
              <a:gd name="connsiteY60-6092" fmla="*/ 1503994 h 2436046"/>
              <a:gd name="connsiteX61-6093" fmla="*/ 1846452 w 5168654"/>
              <a:gd name="connsiteY61-6094" fmla="*/ 1503994 h 2436046"/>
              <a:gd name="connsiteX62-6095" fmla="*/ 1846452 w 5168654"/>
              <a:gd name="connsiteY62-6096" fmla="*/ 1564012 h 2436046"/>
              <a:gd name="connsiteX63-6097" fmla="*/ 1878227 w 5168654"/>
              <a:gd name="connsiteY63-6098" fmla="*/ 1564012 h 2436046"/>
              <a:gd name="connsiteX64-6099" fmla="*/ 1878227 w 5168654"/>
              <a:gd name="connsiteY64-6100" fmla="*/ 1595787 h 2436046"/>
              <a:gd name="connsiteX65-6101" fmla="*/ 2072404 w 5168654"/>
              <a:gd name="connsiteY65-6102" fmla="*/ 1595787 h 2436046"/>
              <a:gd name="connsiteX66-6103" fmla="*/ 2072404 w 5168654"/>
              <a:gd name="connsiteY66-6104" fmla="*/ 1673458 h 2436046"/>
              <a:gd name="connsiteX67-6105" fmla="*/ 2093587 w 5168654"/>
              <a:gd name="connsiteY67-6106" fmla="*/ 1673458 h 2436046"/>
              <a:gd name="connsiteX68-6107" fmla="*/ 2093587 w 5168654"/>
              <a:gd name="connsiteY68-6108" fmla="*/ 1684049 h 2436046"/>
              <a:gd name="connsiteX69-6109" fmla="*/ 2097118 w 5168654"/>
              <a:gd name="connsiteY69-6110" fmla="*/ 1684049 h 2436046"/>
              <a:gd name="connsiteX70-6111" fmla="*/ 2097118 w 5168654"/>
              <a:gd name="connsiteY70-6112" fmla="*/ 1701702 h 2436046"/>
              <a:gd name="connsiteX71-6113" fmla="*/ 2111240 w 5168654"/>
              <a:gd name="connsiteY71-6114" fmla="*/ 1701702 h 2436046"/>
              <a:gd name="connsiteX72-6115" fmla="*/ 2114770 w 5168654"/>
              <a:gd name="connsiteY72-6116" fmla="*/ 1715824 h 2436046"/>
              <a:gd name="connsiteX73-6117" fmla="*/ 2418392 w 5168654"/>
              <a:gd name="connsiteY73-6118" fmla="*/ 1715824 h 2436046"/>
              <a:gd name="connsiteX74-6119" fmla="*/ 2418393 w 5168654"/>
              <a:gd name="connsiteY74-6120" fmla="*/ 1744068 h 2436046"/>
              <a:gd name="connsiteX75-6121" fmla="*/ 2418393 w 5168654"/>
              <a:gd name="connsiteY75-6122" fmla="*/ 1744068 h 2436046"/>
              <a:gd name="connsiteX76-6123" fmla="*/ 2446637 w 5168654"/>
              <a:gd name="connsiteY76-6124" fmla="*/ 1772312 h 2436046"/>
              <a:gd name="connsiteX77-6125" fmla="*/ 2460759 w 5168654"/>
              <a:gd name="connsiteY77-6126" fmla="*/ 1772312 h 2436046"/>
              <a:gd name="connsiteX78-6127" fmla="*/ 2460759 w 5168654"/>
              <a:gd name="connsiteY78-6128" fmla="*/ 1821739 h 2436046"/>
              <a:gd name="connsiteX79-6129" fmla="*/ 2478412 w 5168654"/>
              <a:gd name="connsiteY79-6130" fmla="*/ 1821739 h 2436046"/>
              <a:gd name="connsiteX80-6131" fmla="*/ 2478412 w 5168654"/>
              <a:gd name="connsiteY80-6132" fmla="*/ 1920593 h 2436046"/>
              <a:gd name="connsiteX81-6133" fmla="*/ 2633754 w 5168654"/>
              <a:gd name="connsiteY81-6134" fmla="*/ 1920593 h 2436046"/>
              <a:gd name="connsiteX82-6135" fmla="*/ 2633754 w 5168654"/>
              <a:gd name="connsiteY82-6136" fmla="*/ 1941776 h 2436046"/>
              <a:gd name="connsiteX83-6137" fmla="*/ 2732608 w 5168654"/>
              <a:gd name="connsiteY83-6138" fmla="*/ 1941776 h 2436046"/>
              <a:gd name="connsiteX84-6139" fmla="*/ 2729036 w 5168654"/>
              <a:gd name="connsiteY84-6140" fmla="*/ 1959407 h 2436046"/>
              <a:gd name="connsiteX85-6141" fmla="*/ 2777020 w 5168654"/>
              <a:gd name="connsiteY85-6142" fmla="*/ 1963502 h 2436046"/>
              <a:gd name="connsiteX86-6143" fmla="*/ 2782035 w 5168654"/>
              <a:gd name="connsiteY86-6144" fmla="*/ 1991203 h 2436046"/>
              <a:gd name="connsiteX87-6145" fmla="*/ 2838523 w 5168654"/>
              <a:gd name="connsiteY87-6146" fmla="*/ 1991203 h 2436046"/>
              <a:gd name="connsiteX88-6147" fmla="*/ 2838523 w 5168654"/>
              <a:gd name="connsiteY88-6148" fmla="*/ 2019447 h 2436046"/>
              <a:gd name="connsiteX89-6149" fmla="*/ 2852645 w 5168654"/>
              <a:gd name="connsiteY89-6150" fmla="*/ 2019447 h 2436046"/>
              <a:gd name="connsiteX90-6151" fmla="*/ 2852645 w 5168654"/>
              <a:gd name="connsiteY90-6152" fmla="*/ 2075935 h 2436046"/>
              <a:gd name="connsiteX91-6153" fmla="*/ 3219817 w 5168654"/>
              <a:gd name="connsiteY91-6154" fmla="*/ 2075934 h 2436046"/>
              <a:gd name="connsiteX92-6155" fmla="*/ 3205695 w 5168654"/>
              <a:gd name="connsiteY92-6156" fmla="*/ 2107709 h 2436046"/>
              <a:gd name="connsiteX93-6157" fmla="*/ 3237470 w 5168654"/>
              <a:gd name="connsiteY93-6158" fmla="*/ 2118300 h 2436046"/>
              <a:gd name="connsiteX94-6159" fmla="*/ 3230409 w 5168654"/>
              <a:gd name="connsiteY94-6160" fmla="*/ 2181850 h 2436046"/>
              <a:gd name="connsiteX95-6161" fmla="*/ 3438709 w 5168654"/>
              <a:gd name="connsiteY95-6162" fmla="*/ 2181850 h 2436046"/>
              <a:gd name="connsiteX96-6163" fmla="*/ 3438709 w 5168654"/>
              <a:gd name="connsiteY96-6164" fmla="*/ 2199502 h 2436046"/>
              <a:gd name="connsiteX97-6165" fmla="*/ 3565807 w 5168654"/>
              <a:gd name="connsiteY97-6166" fmla="*/ 2199502 h 2436046"/>
              <a:gd name="connsiteX98-6167" fmla="*/ 3565807 w 5168654"/>
              <a:gd name="connsiteY98-6168" fmla="*/ 2227746 h 2436046"/>
              <a:gd name="connsiteX99-6169" fmla="*/ 3618764 w 5168654"/>
              <a:gd name="connsiteY99-6170" fmla="*/ 2227746 h 2436046"/>
              <a:gd name="connsiteX100-6171" fmla="*/ 3618764 w 5168654"/>
              <a:gd name="connsiteY100-6172" fmla="*/ 2252460 h 2436046"/>
              <a:gd name="connsiteX101-6173" fmla="*/ 3890613 w 5168654"/>
              <a:gd name="connsiteY101-6174" fmla="*/ 2252460 h 2436046"/>
              <a:gd name="connsiteX102-6175" fmla="*/ 3890613 w 5168654"/>
              <a:gd name="connsiteY102-6176" fmla="*/ 2287765 h 2436046"/>
              <a:gd name="connsiteX103-6177" fmla="*/ 3975345 w 5168654"/>
              <a:gd name="connsiteY103-6178" fmla="*/ 2287765 h 2436046"/>
              <a:gd name="connsiteX104-6179" fmla="*/ 3975345 w 5168654"/>
              <a:gd name="connsiteY104-6180" fmla="*/ 2316009 h 2436046"/>
              <a:gd name="connsiteX105-6181" fmla="*/ 4007119 w 5168654"/>
              <a:gd name="connsiteY105-6182" fmla="*/ 2316009 h 2436046"/>
              <a:gd name="connsiteX106-6183" fmla="*/ 4007119 w 5168654"/>
              <a:gd name="connsiteY106-6184" fmla="*/ 2368967 h 2436046"/>
              <a:gd name="connsiteX107-6185" fmla="*/ 4614366 w 5168654"/>
              <a:gd name="connsiteY107-6186" fmla="*/ 2368967 h 2436046"/>
              <a:gd name="connsiteX108-6187" fmla="*/ 4614366 w 5168654"/>
              <a:gd name="connsiteY108-6188" fmla="*/ 2436046 h 2436046"/>
              <a:gd name="connsiteX109-6189" fmla="*/ 5168654 w 5168654"/>
              <a:gd name="connsiteY109-6190" fmla="*/ 2436046 h 2436046"/>
              <a:gd name="connsiteX0-6191" fmla="*/ 0 w 5168654"/>
              <a:gd name="connsiteY0-6192" fmla="*/ 0 h 2436046"/>
              <a:gd name="connsiteX1-6193" fmla="*/ 144750 w 5168654"/>
              <a:gd name="connsiteY1-6194" fmla="*/ 0 h 2436046"/>
              <a:gd name="connsiteX2-6195" fmla="*/ 144750 w 5168654"/>
              <a:gd name="connsiteY2-6196" fmla="*/ 42366 h 2436046"/>
              <a:gd name="connsiteX3-6197" fmla="*/ 158872 w 5168654"/>
              <a:gd name="connsiteY3-6198" fmla="*/ 42366 h 2436046"/>
              <a:gd name="connsiteX4-6199" fmla="*/ 158872 w 5168654"/>
              <a:gd name="connsiteY4-6200" fmla="*/ 81201 h 2436046"/>
              <a:gd name="connsiteX5-6201" fmla="*/ 162403 w 5168654"/>
              <a:gd name="connsiteY5-6202" fmla="*/ 84732 h 2436046"/>
              <a:gd name="connsiteX6-6203" fmla="*/ 162403 w 5168654"/>
              <a:gd name="connsiteY6-6204" fmla="*/ 155342 h 2436046"/>
              <a:gd name="connsiteX7-6205" fmla="*/ 257726 w 5168654"/>
              <a:gd name="connsiteY7-6206" fmla="*/ 155342 h 2436046"/>
              <a:gd name="connsiteX8-6207" fmla="*/ 257726 w 5168654"/>
              <a:gd name="connsiteY8-6208" fmla="*/ 190647 h 2436046"/>
              <a:gd name="connsiteX9-6209" fmla="*/ 268318 w 5168654"/>
              <a:gd name="connsiteY9-6210" fmla="*/ 190647 h 2436046"/>
              <a:gd name="connsiteX10-6211" fmla="*/ 268318 w 5168654"/>
              <a:gd name="connsiteY10-6212" fmla="*/ 211830 h 2436046"/>
              <a:gd name="connsiteX11-6213" fmla="*/ 508392 w 5168654"/>
              <a:gd name="connsiteY11-6214" fmla="*/ 211830 h 2436046"/>
              <a:gd name="connsiteX12-6215" fmla="*/ 508392 w 5168654"/>
              <a:gd name="connsiteY12-6216" fmla="*/ 243604 h 2436046"/>
              <a:gd name="connsiteX13-6217" fmla="*/ 536636 w 5168654"/>
              <a:gd name="connsiteY13-6218" fmla="*/ 243604 h 2436046"/>
              <a:gd name="connsiteX14-6219" fmla="*/ 536636 w 5168654"/>
              <a:gd name="connsiteY14-6220" fmla="*/ 363641 h 2436046"/>
              <a:gd name="connsiteX15-6221" fmla="*/ 554288 w 5168654"/>
              <a:gd name="connsiteY15-6222" fmla="*/ 363641 h 2436046"/>
              <a:gd name="connsiteX16-6223" fmla="*/ 554288 w 5168654"/>
              <a:gd name="connsiteY16-6224" fmla="*/ 423660 h 2436046"/>
              <a:gd name="connsiteX17-6225" fmla="*/ 769649 w 5168654"/>
              <a:gd name="connsiteY17-6226" fmla="*/ 423660 h 2436046"/>
              <a:gd name="connsiteX18-6227" fmla="*/ 769649 w 5168654"/>
              <a:gd name="connsiteY18-6228" fmla="*/ 430721 h 2436046"/>
              <a:gd name="connsiteX19-6229" fmla="*/ 776710 w 5168654"/>
              <a:gd name="connsiteY19-6230" fmla="*/ 437782 h 2436046"/>
              <a:gd name="connsiteX20-6231" fmla="*/ 776710 w 5168654"/>
              <a:gd name="connsiteY20-6232" fmla="*/ 455434 h 2436046"/>
              <a:gd name="connsiteX21-6233" fmla="*/ 794363 w 5168654"/>
              <a:gd name="connsiteY21-6234" fmla="*/ 455434 h 2436046"/>
              <a:gd name="connsiteX22-6235" fmla="*/ 794363 w 5168654"/>
              <a:gd name="connsiteY22-6236" fmla="*/ 497801 h 2436046"/>
              <a:gd name="connsiteX23-6237" fmla="*/ 808485 w 5168654"/>
              <a:gd name="connsiteY23-6238" fmla="*/ 497801 h 2436046"/>
              <a:gd name="connsiteX24-6239" fmla="*/ 808485 w 5168654"/>
              <a:gd name="connsiteY24-6240" fmla="*/ 621368 h 2436046"/>
              <a:gd name="connsiteX25-6241" fmla="*/ 822607 w 5168654"/>
              <a:gd name="connsiteY25-6242" fmla="*/ 621368 h 2436046"/>
              <a:gd name="connsiteX26-6243" fmla="*/ 822607 w 5168654"/>
              <a:gd name="connsiteY26-6244" fmla="*/ 639021 h 2436046"/>
              <a:gd name="connsiteX27-6245" fmla="*/ 1045028 w 5168654"/>
              <a:gd name="connsiteY27-6246" fmla="*/ 639021 h 2436046"/>
              <a:gd name="connsiteX28-6247" fmla="*/ 1045028 w 5168654"/>
              <a:gd name="connsiteY28-6248" fmla="*/ 790832 h 2436046"/>
              <a:gd name="connsiteX29-6249" fmla="*/ 1059150 w 5168654"/>
              <a:gd name="connsiteY29-6250" fmla="*/ 790832 h 2436046"/>
              <a:gd name="connsiteX30-6251" fmla="*/ 1059150 w 5168654"/>
              <a:gd name="connsiteY30-6252" fmla="*/ 889686 h 2436046"/>
              <a:gd name="connsiteX31-6253" fmla="*/ 1083864 w 5168654"/>
              <a:gd name="connsiteY31-6254" fmla="*/ 889686 h 2436046"/>
              <a:gd name="connsiteX32-6255" fmla="*/ 1101516 w 5168654"/>
              <a:gd name="connsiteY32-6256" fmla="*/ 889686 h 2436046"/>
              <a:gd name="connsiteX33-6257" fmla="*/ 1158004 w 5168654"/>
              <a:gd name="connsiteY33-6258" fmla="*/ 889686 h 2436046"/>
              <a:gd name="connsiteX34-6259" fmla="*/ 1158004 w 5168654"/>
              <a:gd name="connsiteY34-6260" fmla="*/ 917930 h 2436046"/>
              <a:gd name="connsiteX35-6261" fmla="*/ 1302755 w 5168654"/>
              <a:gd name="connsiteY35-6262" fmla="*/ 917930 h 2436046"/>
              <a:gd name="connsiteX36-6263" fmla="*/ 1302755 w 5168654"/>
              <a:gd name="connsiteY36-6264" fmla="*/ 942644 h 2436046"/>
              <a:gd name="connsiteX37-6265" fmla="*/ 1313346 w 5168654"/>
              <a:gd name="connsiteY37-6266" fmla="*/ 942644 h 2436046"/>
              <a:gd name="connsiteX38-6267" fmla="*/ 1313346 w 5168654"/>
              <a:gd name="connsiteY38-6268" fmla="*/ 1034437 h 2436046"/>
              <a:gd name="connsiteX39-6269" fmla="*/ 1316877 w 5168654"/>
              <a:gd name="connsiteY39-6270" fmla="*/ 1034437 h 2436046"/>
              <a:gd name="connsiteX40-6271" fmla="*/ 1316877 w 5168654"/>
              <a:gd name="connsiteY40-6272" fmla="*/ 1080333 h 2436046"/>
              <a:gd name="connsiteX41-6273" fmla="*/ 1489871 w 5168654"/>
              <a:gd name="connsiteY41-6274" fmla="*/ 1080333 h 2436046"/>
              <a:gd name="connsiteX42-6275" fmla="*/ 1489871 w 5168654"/>
              <a:gd name="connsiteY42-6276" fmla="*/ 1097986 h 2436046"/>
              <a:gd name="connsiteX43-6277" fmla="*/ 1518115 w 5168654"/>
              <a:gd name="connsiteY43-6278" fmla="*/ 1097986 h 2436046"/>
              <a:gd name="connsiteX44-6279" fmla="*/ 1518115 w 5168654"/>
              <a:gd name="connsiteY44-6280" fmla="*/ 1122699 h 2436046"/>
              <a:gd name="connsiteX45-6281" fmla="*/ 1532237 w 5168654"/>
              <a:gd name="connsiteY45-6282" fmla="*/ 1122699 h 2436046"/>
              <a:gd name="connsiteX46-6283" fmla="*/ 1539298 w 5168654"/>
              <a:gd name="connsiteY46-6284" fmla="*/ 1129760 h 2436046"/>
              <a:gd name="connsiteX47-6285" fmla="*/ 1553420 w 5168654"/>
              <a:gd name="connsiteY47-6286" fmla="*/ 1143882 h 2436046"/>
              <a:gd name="connsiteX48-6287" fmla="*/ 1553420 w 5168654"/>
              <a:gd name="connsiteY48-6288" fmla="*/ 1189779 h 2436046"/>
              <a:gd name="connsiteX49-6289" fmla="*/ 1564012 w 5168654"/>
              <a:gd name="connsiteY49-6290" fmla="*/ 1189779 h 2436046"/>
              <a:gd name="connsiteX50-6291" fmla="*/ 1564012 w 5168654"/>
              <a:gd name="connsiteY50-6292" fmla="*/ 1253328 h 2436046"/>
              <a:gd name="connsiteX51-6293" fmla="*/ 1578134 w 5168654"/>
              <a:gd name="connsiteY51-6294" fmla="*/ 1253328 h 2436046"/>
              <a:gd name="connsiteX52-6295" fmla="*/ 1578134 w 5168654"/>
              <a:gd name="connsiteY52-6296" fmla="*/ 1345121 h 2436046"/>
              <a:gd name="connsiteX53-6297" fmla="*/ 1588726 w 5168654"/>
              <a:gd name="connsiteY53-6298" fmla="*/ 1345121 h 2436046"/>
              <a:gd name="connsiteX54-6299" fmla="*/ 1588726 w 5168654"/>
              <a:gd name="connsiteY54-6300" fmla="*/ 1380426 h 2436046"/>
              <a:gd name="connsiteX55-6301" fmla="*/ 1588726 w 5168654"/>
              <a:gd name="connsiteY55-6302" fmla="*/ 1393678 h 2436046"/>
              <a:gd name="connsiteX56-6303" fmla="*/ 1797025 w 5168654"/>
              <a:gd name="connsiteY56-6304" fmla="*/ 1391027 h 2436046"/>
              <a:gd name="connsiteX57-6305" fmla="*/ 1797025 w 5168654"/>
              <a:gd name="connsiteY57-6306" fmla="*/ 1472219 h 2436046"/>
              <a:gd name="connsiteX58-6307" fmla="*/ 1828800 w 5168654"/>
              <a:gd name="connsiteY58-6308" fmla="*/ 1472219 h 2436046"/>
              <a:gd name="connsiteX59-6309" fmla="*/ 1828800 w 5168654"/>
              <a:gd name="connsiteY59-6310" fmla="*/ 1489872 h 2436046"/>
              <a:gd name="connsiteX60-6311" fmla="*/ 1828800 w 5168654"/>
              <a:gd name="connsiteY60-6312" fmla="*/ 1503994 h 2436046"/>
              <a:gd name="connsiteX61-6313" fmla="*/ 1846452 w 5168654"/>
              <a:gd name="connsiteY61-6314" fmla="*/ 1503994 h 2436046"/>
              <a:gd name="connsiteX62-6315" fmla="*/ 1846452 w 5168654"/>
              <a:gd name="connsiteY62-6316" fmla="*/ 1564012 h 2436046"/>
              <a:gd name="connsiteX63-6317" fmla="*/ 1878227 w 5168654"/>
              <a:gd name="connsiteY63-6318" fmla="*/ 1564012 h 2436046"/>
              <a:gd name="connsiteX64-6319" fmla="*/ 1878227 w 5168654"/>
              <a:gd name="connsiteY64-6320" fmla="*/ 1595787 h 2436046"/>
              <a:gd name="connsiteX65-6321" fmla="*/ 2072404 w 5168654"/>
              <a:gd name="connsiteY65-6322" fmla="*/ 1595787 h 2436046"/>
              <a:gd name="connsiteX66-6323" fmla="*/ 2072404 w 5168654"/>
              <a:gd name="connsiteY66-6324" fmla="*/ 1673458 h 2436046"/>
              <a:gd name="connsiteX67-6325" fmla="*/ 2093587 w 5168654"/>
              <a:gd name="connsiteY67-6326" fmla="*/ 1673458 h 2436046"/>
              <a:gd name="connsiteX68-6327" fmla="*/ 2093587 w 5168654"/>
              <a:gd name="connsiteY68-6328" fmla="*/ 1684049 h 2436046"/>
              <a:gd name="connsiteX69-6329" fmla="*/ 2097118 w 5168654"/>
              <a:gd name="connsiteY69-6330" fmla="*/ 1684049 h 2436046"/>
              <a:gd name="connsiteX70-6331" fmla="*/ 2097118 w 5168654"/>
              <a:gd name="connsiteY70-6332" fmla="*/ 1701702 h 2436046"/>
              <a:gd name="connsiteX71-6333" fmla="*/ 2111240 w 5168654"/>
              <a:gd name="connsiteY71-6334" fmla="*/ 1701702 h 2436046"/>
              <a:gd name="connsiteX72-6335" fmla="*/ 2114770 w 5168654"/>
              <a:gd name="connsiteY72-6336" fmla="*/ 1715824 h 2436046"/>
              <a:gd name="connsiteX73-6337" fmla="*/ 2418392 w 5168654"/>
              <a:gd name="connsiteY73-6338" fmla="*/ 1715824 h 2436046"/>
              <a:gd name="connsiteX74-6339" fmla="*/ 2418393 w 5168654"/>
              <a:gd name="connsiteY74-6340" fmla="*/ 1744068 h 2436046"/>
              <a:gd name="connsiteX75-6341" fmla="*/ 2418393 w 5168654"/>
              <a:gd name="connsiteY75-6342" fmla="*/ 1744068 h 2436046"/>
              <a:gd name="connsiteX76-6343" fmla="*/ 2446637 w 5168654"/>
              <a:gd name="connsiteY76-6344" fmla="*/ 1772312 h 2436046"/>
              <a:gd name="connsiteX77-6345" fmla="*/ 2460759 w 5168654"/>
              <a:gd name="connsiteY77-6346" fmla="*/ 1772312 h 2436046"/>
              <a:gd name="connsiteX78-6347" fmla="*/ 2460759 w 5168654"/>
              <a:gd name="connsiteY78-6348" fmla="*/ 1821739 h 2436046"/>
              <a:gd name="connsiteX79-6349" fmla="*/ 2478412 w 5168654"/>
              <a:gd name="connsiteY79-6350" fmla="*/ 1821739 h 2436046"/>
              <a:gd name="connsiteX80-6351" fmla="*/ 2478412 w 5168654"/>
              <a:gd name="connsiteY80-6352" fmla="*/ 1920593 h 2436046"/>
              <a:gd name="connsiteX81-6353" fmla="*/ 2633754 w 5168654"/>
              <a:gd name="connsiteY81-6354" fmla="*/ 1920593 h 2436046"/>
              <a:gd name="connsiteX82-6355" fmla="*/ 2633754 w 5168654"/>
              <a:gd name="connsiteY82-6356" fmla="*/ 1941776 h 2436046"/>
              <a:gd name="connsiteX83-6357" fmla="*/ 2732608 w 5168654"/>
              <a:gd name="connsiteY83-6358" fmla="*/ 1941776 h 2436046"/>
              <a:gd name="connsiteX84-6359" fmla="*/ 2729036 w 5168654"/>
              <a:gd name="connsiteY84-6360" fmla="*/ 1959407 h 2436046"/>
              <a:gd name="connsiteX85-6361" fmla="*/ 2777020 w 5168654"/>
              <a:gd name="connsiteY85-6362" fmla="*/ 1963502 h 2436046"/>
              <a:gd name="connsiteX86-6363" fmla="*/ 2782035 w 5168654"/>
              <a:gd name="connsiteY86-6364" fmla="*/ 1991203 h 2436046"/>
              <a:gd name="connsiteX87-6365" fmla="*/ 2838523 w 5168654"/>
              <a:gd name="connsiteY87-6366" fmla="*/ 1991203 h 2436046"/>
              <a:gd name="connsiteX88-6367" fmla="*/ 2838523 w 5168654"/>
              <a:gd name="connsiteY88-6368" fmla="*/ 2019447 h 2436046"/>
              <a:gd name="connsiteX89-6369" fmla="*/ 2852645 w 5168654"/>
              <a:gd name="connsiteY89-6370" fmla="*/ 2019447 h 2436046"/>
              <a:gd name="connsiteX90-6371" fmla="*/ 2852645 w 5168654"/>
              <a:gd name="connsiteY90-6372" fmla="*/ 2075935 h 2436046"/>
              <a:gd name="connsiteX91-6373" fmla="*/ 3219817 w 5168654"/>
              <a:gd name="connsiteY91-6374" fmla="*/ 2075934 h 2436046"/>
              <a:gd name="connsiteX92-6375" fmla="*/ 3205695 w 5168654"/>
              <a:gd name="connsiteY92-6376" fmla="*/ 2107709 h 2436046"/>
              <a:gd name="connsiteX93-6377" fmla="*/ 3237470 w 5168654"/>
              <a:gd name="connsiteY93-6378" fmla="*/ 2118300 h 2436046"/>
              <a:gd name="connsiteX94-6379" fmla="*/ 3230409 w 5168654"/>
              <a:gd name="connsiteY94-6380" fmla="*/ 2181850 h 2436046"/>
              <a:gd name="connsiteX95-6381" fmla="*/ 3438709 w 5168654"/>
              <a:gd name="connsiteY95-6382" fmla="*/ 2181850 h 2436046"/>
              <a:gd name="connsiteX96-6383" fmla="*/ 3438709 w 5168654"/>
              <a:gd name="connsiteY96-6384" fmla="*/ 2199502 h 2436046"/>
              <a:gd name="connsiteX97-6385" fmla="*/ 3565807 w 5168654"/>
              <a:gd name="connsiteY97-6386" fmla="*/ 2199502 h 2436046"/>
              <a:gd name="connsiteX98-6387" fmla="*/ 3565807 w 5168654"/>
              <a:gd name="connsiteY98-6388" fmla="*/ 2227746 h 2436046"/>
              <a:gd name="connsiteX99-6389" fmla="*/ 3618764 w 5168654"/>
              <a:gd name="connsiteY99-6390" fmla="*/ 2227746 h 2436046"/>
              <a:gd name="connsiteX100-6391" fmla="*/ 3618764 w 5168654"/>
              <a:gd name="connsiteY100-6392" fmla="*/ 2252460 h 2436046"/>
              <a:gd name="connsiteX101-6393" fmla="*/ 3890613 w 5168654"/>
              <a:gd name="connsiteY101-6394" fmla="*/ 2252460 h 2436046"/>
              <a:gd name="connsiteX102-6395" fmla="*/ 3890613 w 5168654"/>
              <a:gd name="connsiteY102-6396" fmla="*/ 2287765 h 2436046"/>
              <a:gd name="connsiteX103-6397" fmla="*/ 3975345 w 5168654"/>
              <a:gd name="connsiteY103-6398" fmla="*/ 2287765 h 2436046"/>
              <a:gd name="connsiteX104-6399" fmla="*/ 3975345 w 5168654"/>
              <a:gd name="connsiteY104-6400" fmla="*/ 2316009 h 2436046"/>
              <a:gd name="connsiteX105-6401" fmla="*/ 4007119 w 5168654"/>
              <a:gd name="connsiteY105-6402" fmla="*/ 2316009 h 2436046"/>
              <a:gd name="connsiteX106-6403" fmla="*/ 4007119 w 5168654"/>
              <a:gd name="connsiteY106-6404" fmla="*/ 2368967 h 2436046"/>
              <a:gd name="connsiteX107-6405" fmla="*/ 4614366 w 5168654"/>
              <a:gd name="connsiteY107-6406" fmla="*/ 2368967 h 2436046"/>
              <a:gd name="connsiteX108-6407" fmla="*/ 4614366 w 5168654"/>
              <a:gd name="connsiteY108-6408" fmla="*/ 2436046 h 2436046"/>
              <a:gd name="connsiteX109-6409" fmla="*/ 5168654 w 5168654"/>
              <a:gd name="connsiteY109-6410" fmla="*/ 2436046 h 2436046"/>
              <a:gd name="connsiteX0-6411" fmla="*/ 0 w 5168654"/>
              <a:gd name="connsiteY0-6412" fmla="*/ 0 h 2436046"/>
              <a:gd name="connsiteX1-6413" fmla="*/ 144750 w 5168654"/>
              <a:gd name="connsiteY1-6414" fmla="*/ 0 h 2436046"/>
              <a:gd name="connsiteX2-6415" fmla="*/ 144750 w 5168654"/>
              <a:gd name="connsiteY2-6416" fmla="*/ 42366 h 2436046"/>
              <a:gd name="connsiteX3-6417" fmla="*/ 158872 w 5168654"/>
              <a:gd name="connsiteY3-6418" fmla="*/ 42366 h 2436046"/>
              <a:gd name="connsiteX4-6419" fmla="*/ 158872 w 5168654"/>
              <a:gd name="connsiteY4-6420" fmla="*/ 81201 h 2436046"/>
              <a:gd name="connsiteX5-6421" fmla="*/ 162403 w 5168654"/>
              <a:gd name="connsiteY5-6422" fmla="*/ 84732 h 2436046"/>
              <a:gd name="connsiteX6-6423" fmla="*/ 162403 w 5168654"/>
              <a:gd name="connsiteY6-6424" fmla="*/ 155342 h 2436046"/>
              <a:gd name="connsiteX7-6425" fmla="*/ 257726 w 5168654"/>
              <a:gd name="connsiteY7-6426" fmla="*/ 155342 h 2436046"/>
              <a:gd name="connsiteX8-6427" fmla="*/ 257726 w 5168654"/>
              <a:gd name="connsiteY8-6428" fmla="*/ 190647 h 2436046"/>
              <a:gd name="connsiteX9-6429" fmla="*/ 268318 w 5168654"/>
              <a:gd name="connsiteY9-6430" fmla="*/ 190647 h 2436046"/>
              <a:gd name="connsiteX10-6431" fmla="*/ 268318 w 5168654"/>
              <a:gd name="connsiteY10-6432" fmla="*/ 211830 h 2436046"/>
              <a:gd name="connsiteX11-6433" fmla="*/ 508392 w 5168654"/>
              <a:gd name="connsiteY11-6434" fmla="*/ 211830 h 2436046"/>
              <a:gd name="connsiteX12-6435" fmla="*/ 508392 w 5168654"/>
              <a:gd name="connsiteY12-6436" fmla="*/ 243604 h 2436046"/>
              <a:gd name="connsiteX13-6437" fmla="*/ 536636 w 5168654"/>
              <a:gd name="connsiteY13-6438" fmla="*/ 243604 h 2436046"/>
              <a:gd name="connsiteX14-6439" fmla="*/ 536636 w 5168654"/>
              <a:gd name="connsiteY14-6440" fmla="*/ 363641 h 2436046"/>
              <a:gd name="connsiteX15-6441" fmla="*/ 554288 w 5168654"/>
              <a:gd name="connsiteY15-6442" fmla="*/ 363641 h 2436046"/>
              <a:gd name="connsiteX16-6443" fmla="*/ 554288 w 5168654"/>
              <a:gd name="connsiteY16-6444" fmla="*/ 423660 h 2436046"/>
              <a:gd name="connsiteX17-6445" fmla="*/ 769649 w 5168654"/>
              <a:gd name="connsiteY17-6446" fmla="*/ 423660 h 2436046"/>
              <a:gd name="connsiteX18-6447" fmla="*/ 769649 w 5168654"/>
              <a:gd name="connsiteY18-6448" fmla="*/ 430721 h 2436046"/>
              <a:gd name="connsiteX19-6449" fmla="*/ 776710 w 5168654"/>
              <a:gd name="connsiteY19-6450" fmla="*/ 437782 h 2436046"/>
              <a:gd name="connsiteX20-6451" fmla="*/ 776710 w 5168654"/>
              <a:gd name="connsiteY20-6452" fmla="*/ 455434 h 2436046"/>
              <a:gd name="connsiteX21-6453" fmla="*/ 794363 w 5168654"/>
              <a:gd name="connsiteY21-6454" fmla="*/ 455434 h 2436046"/>
              <a:gd name="connsiteX22-6455" fmla="*/ 794363 w 5168654"/>
              <a:gd name="connsiteY22-6456" fmla="*/ 497801 h 2436046"/>
              <a:gd name="connsiteX23-6457" fmla="*/ 808485 w 5168654"/>
              <a:gd name="connsiteY23-6458" fmla="*/ 497801 h 2436046"/>
              <a:gd name="connsiteX24-6459" fmla="*/ 808485 w 5168654"/>
              <a:gd name="connsiteY24-6460" fmla="*/ 621368 h 2436046"/>
              <a:gd name="connsiteX25-6461" fmla="*/ 822607 w 5168654"/>
              <a:gd name="connsiteY25-6462" fmla="*/ 621368 h 2436046"/>
              <a:gd name="connsiteX26-6463" fmla="*/ 822607 w 5168654"/>
              <a:gd name="connsiteY26-6464" fmla="*/ 639021 h 2436046"/>
              <a:gd name="connsiteX27-6465" fmla="*/ 1045028 w 5168654"/>
              <a:gd name="connsiteY27-6466" fmla="*/ 639021 h 2436046"/>
              <a:gd name="connsiteX28-6467" fmla="*/ 1045028 w 5168654"/>
              <a:gd name="connsiteY28-6468" fmla="*/ 790832 h 2436046"/>
              <a:gd name="connsiteX29-6469" fmla="*/ 1059150 w 5168654"/>
              <a:gd name="connsiteY29-6470" fmla="*/ 790832 h 2436046"/>
              <a:gd name="connsiteX30-6471" fmla="*/ 1059150 w 5168654"/>
              <a:gd name="connsiteY30-6472" fmla="*/ 889686 h 2436046"/>
              <a:gd name="connsiteX31-6473" fmla="*/ 1083864 w 5168654"/>
              <a:gd name="connsiteY31-6474" fmla="*/ 889686 h 2436046"/>
              <a:gd name="connsiteX32-6475" fmla="*/ 1101516 w 5168654"/>
              <a:gd name="connsiteY32-6476" fmla="*/ 889686 h 2436046"/>
              <a:gd name="connsiteX33-6477" fmla="*/ 1158004 w 5168654"/>
              <a:gd name="connsiteY33-6478" fmla="*/ 889686 h 2436046"/>
              <a:gd name="connsiteX34-6479" fmla="*/ 1158004 w 5168654"/>
              <a:gd name="connsiteY34-6480" fmla="*/ 917930 h 2436046"/>
              <a:gd name="connsiteX35-6481" fmla="*/ 1302755 w 5168654"/>
              <a:gd name="connsiteY35-6482" fmla="*/ 917930 h 2436046"/>
              <a:gd name="connsiteX36-6483" fmla="*/ 1302755 w 5168654"/>
              <a:gd name="connsiteY36-6484" fmla="*/ 942644 h 2436046"/>
              <a:gd name="connsiteX37-6485" fmla="*/ 1313346 w 5168654"/>
              <a:gd name="connsiteY37-6486" fmla="*/ 942644 h 2436046"/>
              <a:gd name="connsiteX38-6487" fmla="*/ 1313346 w 5168654"/>
              <a:gd name="connsiteY38-6488" fmla="*/ 1034437 h 2436046"/>
              <a:gd name="connsiteX39-6489" fmla="*/ 1316877 w 5168654"/>
              <a:gd name="connsiteY39-6490" fmla="*/ 1034437 h 2436046"/>
              <a:gd name="connsiteX40-6491" fmla="*/ 1316877 w 5168654"/>
              <a:gd name="connsiteY40-6492" fmla="*/ 1080333 h 2436046"/>
              <a:gd name="connsiteX41-6493" fmla="*/ 1489871 w 5168654"/>
              <a:gd name="connsiteY41-6494" fmla="*/ 1080333 h 2436046"/>
              <a:gd name="connsiteX42-6495" fmla="*/ 1489871 w 5168654"/>
              <a:gd name="connsiteY42-6496" fmla="*/ 1097986 h 2436046"/>
              <a:gd name="connsiteX43-6497" fmla="*/ 1518115 w 5168654"/>
              <a:gd name="connsiteY43-6498" fmla="*/ 1097986 h 2436046"/>
              <a:gd name="connsiteX44-6499" fmla="*/ 1518115 w 5168654"/>
              <a:gd name="connsiteY44-6500" fmla="*/ 1122699 h 2436046"/>
              <a:gd name="connsiteX45-6501" fmla="*/ 1532237 w 5168654"/>
              <a:gd name="connsiteY45-6502" fmla="*/ 1122699 h 2436046"/>
              <a:gd name="connsiteX46-6503" fmla="*/ 1539298 w 5168654"/>
              <a:gd name="connsiteY46-6504" fmla="*/ 1129760 h 2436046"/>
              <a:gd name="connsiteX47-6505" fmla="*/ 1553420 w 5168654"/>
              <a:gd name="connsiteY47-6506" fmla="*/ 1143882 h 2436046"/>
              <a:gd name="connsiteX48-6507" fmla="*/ 1553420 w 5168654"/>
              <a:gd name="connsiteY48-6508" fmla="*/ 1189779 h 2436046"/>
              <a:gd name="connsiteX49-6509" fmla="*/ 1564012 w 5168654"/>
              <a:gd name="connsiteY49-6510" fmla="*/ 1189779 h 2436046"/>
              <a:gd name="connsiteX50-6511" fmla="*/ 1564012 w 5168654"/>
              <a:gd name="connsiteY50-6512" fmla="*/ 1253328 h 2436046"/>
              <a:gd name="connsiteX51-6513" fmla="*/ 1578134 w 5168654"/>
              <a:gd name="connsiteY51-6514" fmla="*/ 1253328 h 2436046"/>
              <a:gd name="connsiteX52-6515" fmla="*/ 1578134 w 5168654"/>
              <a:gd name="connsiteY52-6516" fmla="*/ 1345121 h 2436046"/>
              <a:gd name="connsiteX53-6517" fmla="*/ 1588726 w 5168654"/>
              <a:gd name="connsiteY53-6518" fmla="*/ 1345121 h 2436046"/>
              <a:gd name="connsiteX54-6519" fmla="*/ 1588726 w 5168654"/>
              <a:gd name="connsiteY54-6520" fmla="*/ 1380426 h 2436046"/>
              <a:gd name="connsiteX55-6521" fmla="*/ 1588726 w 5168654"/>
              <a:gd name="connsiteY55-6522" fmla="*/ 1393678 h 2436046"/>
              <a:gd name="connsiteX56-6523" fmla="*/ 1797025 w 5168654"/>
              <a:gd name="connsiteY56-6524" fmla="*/ 1391027 h 2436046"/>
              <a:gd name="connsiteX57-6525" fmla="*/ 1797025 w 5168654"/>
              <a:gd name="connsiteY57-6526" fmla="*/ 1472219 h 2436046"/>
              <a:gd name="connsiteX58-6527" fmla="*/ 1828800 w 5168654"/>
              <a:gd name="connsiteY58-6528" fmla="*/ 1472219 h 2436046"/>
              <a:gd name="connsiteX59-6529" fmla="*/ 1828800 w 5168654"/>
              <a:gd name="connsiteY59-6530" fmla="*/ 1489872 h 2436046"/>
              <a:gd name="connsiteX60-6531" fmla="*/ 1828800 w 5168654"/>
              <a:gd name="connsiteY60-6532" fmla="*/ 1503994 h 2436046"/>
              <a:gd name="connsiteX61-6533" fmla="*/ 1846452 w 5168654"/>
              <a:gd name="connsiteY61-6534" fmla="*/ 1503994 h 2436046"/>
              <a:gd name="connsiteX62-6535" fmla="*/ 1846452 w 5168654"/>
              <a:gd name="connsiteY62-6536" fmla="*/ 1564012 h 2436046"/>
              <a:gd name="connsiteX63-6537" fmla="*/ 1878227 w 5168654"/>
              <a:gd name="connsiteY63-6538" fmla="*/ 1564012 h 2436046"/>
              <a:gd name="connsiteX64-6539" fmla="*/ 1878227 w 5168654"/>
              <a:gd name="connsiteY64-6540" fmla="*/ 1595787 h 2436046"/>
              <a:gd name="connsiteX65-6541" fmla="*/ 2072404 w 5168654"/>
              <a:gd name="connsiteY65-6542" fmla="*/ 1595787 h 2436046"/>
              <a:gd name="connsiteX66-6543" fmla="*/ 2072404 w 5168654"/>
              <a:gd name="connsiteY66-6544" fmla="*/ 1673458 h 2436046"/>
              <a:gd name="connsiteX67-6545" fmla="*/ 2093587 w 5168654"/>
              <a:gd name="connsiteY67-6546" fmla="*/ 1673458 h 2436046"/>
              <a:gd name="connsiteX68-6547" fmla="*/ 2093587 w 5168654"/>
              <a:gd name="connsiteY68-6548" fmla="*/ 1684049 h 2436046"/>
              <a:gd name="connsiteX69-6549" fmla="*/ 2097118 w 5168654"/>
              <a:gd name="connsiteY69-6550" fmla="*/ 1684049 h 2436046"/>
              <a:gd name="connsiteX70-6551" fmla="*/ 2097118 w 5168654"/>
              <a:gd name="connsiteY70-6552" fmla="*/ 1701702 h 2436046"/>
              <a:gd name="connsiteX71-6553" fmla="*/ 2111240 w 5168654"/>
              <a:gd name="connsiteY71-6554" fmla="*/ 1701702 h 2436046"/>
              <a:gd name="connsiteX72-6555" fmla="*/ 2114770 w 5168654"/>
              <a:gd name="connsiteY72-6556" fmla="*/ 1715824 h 2436046"/>
              <a:gd name="connsiteX73-6557" fmla="*/ 2418392 w 5168654"/>
              <a:gd name="connsiteY73-6558" fmla="*/ 1715824 h 2436046"/>
              <a:gd name="connsiteX74-6559" fmla="*/ 2418393 w 5168654"/>
              <a:gd name="connsiteY74-6560" fmla="*/ 1744068 h 2436046"/>
              <a:gd name="connsiteX75-6561" fmla="*/ 2418393 w 5168654"/>
              <a:gd name="connsiteY75-6562" fmla="*/ 1744068 h 2436046"/>
              <a:gd name="connsiteX76-6563" fmla="*/ 2446637 w 5168654"/>
              <a:gd name="connsiteY76-6564" fmla="*/ 1772312 h 2436046"/>
              <a:gd name="connsiteX77-6565" fmla="*/ 2460759 w 5168654"/>
              <a:gd name="connsiteY77-6566" fmla="*/ 1772312 h 2436046"/>
              <a:gd name="connsiteX78-6567" fmla="*/ 2460759 w 5168654"/>
              <a:gd name="connsiteY78-6568" fmla="*/ 1821739 h 2436046"/>
              <a:gd name="connsiteX79-6569" fmla="*/ 2478412 w 5168654"/>
              <a:gd name="connsiteY79-6570" fmla="*/ 1821739 h 2436046"/>
              <a:gd name="connsiteX80-6571" fmla="*/ 2478412 w 5168654"/>
              <a:gd name="connsiteY80-6572" fmla="*/ 1920593 h 2436046"/>
              <a:gd name="connsiteX81-6573" fmla="*/ 2633754 w 5168654"/>
              <a:gd name="connsiteY81-6574" fmla="*/ 1920593 h 2436046"/>
              <a:gd name="connsiteX82-6575" fmla="*/ 2633754 w 5168654"/>
              <a:gd name="connsiteY82-6576" fmla="*/ 1941776 h 2436046"/>
              <a:gd name="connsiteX83-6577" fmla="*/ 2732608 w 5168654"/>
              <a:gd name="connsiteY83-6578" fmla="*/ 1941776 h 2436046"/>
              <a:gd name="connsiteX84-6579" fmla="*/ 2729036 w 5168654"/>
              <a:gd name="connsiteY84-6580" fmla="*/ 1959407 h 2436046"/>
              <a:gd name="connsiteX85-6581" fmla="*/ 2777020 w 5168654"/>
              <a:gd name="connsiteY85-6582" fmla="*/ 1963502 h 2436046"/>
              <a:gd name="connsiteX86-6583" fmla="*/ 2782035 w 5168654"/>
              <a:gd name="connsiteY86-6584" fmla="*/ 1991203 h 2436046"/>
              <a:gd name="connsiteX87-6585" fmla="*/ 2838523 w 5168654"/>
              <a:gd name="connsiteY87-6586" fmla="*/ 1991203 h 2436046"/>
              <a:gd name="connsiteX88-6587" fmla="*/ 2838523 w 5168654"/>
              <a:gd name="connsiteY88-6588" fmla="*/ 2019447 h 2436046"/>
              <a:gd name="connsiteX89-6589" fmla="*/ 2852645 w 5168654"/>
              <a:gd name="connsiteY89-6590" fmla="*/ 2019447 h 2436046"/>
              <a:gd name="connsiteX90-6591" fmla="*/ 2852645 w 5168654"/>
              <a:gd name="connsiteY90-6592" fmla="*/ 2075935 h 2436046"/>
              <a:gd name="connsiteX91-6593" fmla="*/ 3219817 w 5168654"/>
              <a:gd name="connsiteY91-6594" fmla="*/ 2075934 h 2436046"/>
              <a:gd name="connsiteX92-6595" fmla="*/ 3205695 w 5168654"/>
              <a:gd name="connsiteY92-6596" fmla="*/ 2107709 h 2436046"/>
              <a:gd name="connsiteX93-6597" fmla="*/ 3237470 w 5168654"/>
              <a:gd name="connsiteY93-6598" fmla="*/ 2118300 h 2436046"/>
              <a:gd name="connsiteX94-6599" fmla="*/ 3230409 w 5168654"/>
              <a:gd name="connsiteY94-6600" fmla="*/ 2181850 h 2436046"/>
              <a:gd name="connsiteX95-6601" fmla="*/ 3438709 w 5168654"/>
              <a:gd name="connsiteY95-6602" fmla="*/ 2181850 h 2436046"/>
              <a:gd name="connsiteX96-6603" fmla="*/ 3438709 w 5168654"/>
              <a:gd name="connsiteY96-6604" fmla="*/ 2199502 h 2436046"/>
              <a:gd name="connsiteX97-6605" fmla="*/ 3565807 w 5168654"/>
              <a:gd name="connsiteY97-6606" fmla="*/ 2199502 h 2436046"/>
              <a:gd name="connsiteX98-6607" fmla="*/ 3565807 w 5168654"/>
              <a:gd name="connsiteY98-6608" fmla="*/ 2227746 h 2436046"/>
              <a:gd name="connsiteX99-6609" fmla="*/ 3618764 w 5168654"/>
              <a:gd name="connsiteY99-6610" fmla="*/ 2227746 h 2436046"/>
              <a:gd name="connsiteX100-6611" fmla="*/ 3618764 w 5168654"/>
              <a:gd name="connsiteY100-6612" fmla="*/ 2252460 h 2436046"/>
              <a:gd name="connsiteX101-6613" fmla="*/ 3890613 w 5168654"/>
              <a:gd name="connsiteY101-6614" fmla="*/ 2252460 h 2436046"/>
              <a:gd name="connsiteX102-6615" fmla="*/ 3890613 w 5168654"/>
              <a:gd name="connsiteY102-6616" fmla="*/ 2287765 h 2436046"/>
              <a:gd name="connsiteX103-6617" fmla="*/ 3975345 w 5168654"/>
              <a:gd name="connsiteY103-6618" fmla="*/ 2287765 h 2436046"/>
              <a:gd name="connsiteX104-6619" fmla="*/ 3975345 w 5168654"/>
              <a:gd name="connsiteY104-6620" fmla="*/ 2316009 h 2436046"/>
              <a:gd name="connsiteX105-6621" fmla="*/ 4007119 w 5168654"/>
              <a:gd name="connsiteY105-6622" fmla="*/ 2316009 h 2436046"/>
              <a:gd name="connsiteX106-6623" fmla="*/ 4007119 w 5168654"/>
              <a:gd name="connsiteY106-6624" fmla="*/ 2368967 h 2436046"/>
              <a:gd name="connsiteX107-6625" fmla="*/ 4614366 w 5168654"/>
              <a:gd name="connsiteY107-6626" fmla="*/ 2368967 h 2436046"/>
              <a:gd name="connsiteX108-6627" fmla="*/ 4614366 w 5168654"/>
              <a:gd name="connsiteY108-6628" fmla="*/ 2436046 h 2436046"/>
              <a:gd name="connsiteX109-6629" fmla="*/ 5168654 w 5168654"/>
              <a:gd name="connsiteY109-6630" fmla="*/ 2436046 h 2436046"/>
              <a:gd name="connsiteX0-6631" fmla="*/ 0 w 5168654"/>
              <a:gd name="connsiteY0-6632" fmla="*/ 0 h 2436046"/>
              <a:gd name="connsiteX1-6633" fmla="*/ 144750 w 5168654"/>
              <a:gd name="connsiteY1-6634" fmla="*/ 0 h 2436046"/>
              <a:gd name="connsiteX2-6635" fmla="*/ 144750 w 5168654"/>
              <a:gd name="connsiteY2-6636" fmla="*/ 42366 h 2436046"/>
              <a:gd name="connsiteX3-6637" fmla="*/ 158872 w 5168654"/>
              <a:gd name="connsiteY3-6638" fmla="*/ 42366 h 2436046"/>
              <a:gd name="connsiteX4-6639" fmla="*/ 158872 w 5168654"/>
              <a:gd name="connsiteY4-6640" fmla="*/ 81201 h 2436046"/>
              <a:gd name="connsiteX5-6641" fmla="*/ 162403 w 5168654"/>
              <a:gd name="connsiteY5-6642" fmla="*/ 84732 h 2436046"/>
              <a:gd name="connsiteX6-6643" fmla="*/ 162403 w 5168654"/>
              <a:gd name="connsiteY6-6644" fmla="*/ 155342 h 2436046"/>
              <a:gd name="connsiteX7-6645" fmla="*/ 257726 w 5168654"/>
              <a:gd name="connsiteY7-6646" fmla="*/ 155342 h 2436046"/>
              <a:gd name="connsiteX8-6647" fmla="*/ 257726 w 5168654"/>
              <a:gd name="connsiteY8-6648" fmla="*/ 190647 h 2436046"/>
              <a:gd name="connsiteX9-6649" fmla="*/ 268318 w 5168654"/>
              <a:gd name="connsiteY9-6650" fmla="*/ 190647 h 2436046"/>
              <a:gd name="connsiteX10-6651" fmla="*/ 268318 w 5168654"/>
              <a:gd name="connsiteY10-6652" fmla="*/ 211830 h 2436046"/>
              <a:gd name="connsiteX11-6653" fmla="*/ 508392 w 5168654"/>
              <a:gd name="connsiteY11-6654" fmla="*/ 211830 h 2436046"/>
              <a:gd name="connsiteX12-6655" fmla="*/ 508392 w 5168654"/>
              <a:gd name="connsiteY12-6656" fmla="*/ 243604 h 2436046"/>
              <a:gd name="connsiteX13-6657" fmla="*/ 536636 w 5168654"/>
              <a:gd name="connsiteY13-6658" fmla="*/ 243604 h 2436046"/>
              <a:gd name="connsiteX14-6659" fmla="*/ 536636 w 5168654"/>
              <a:gd name="connsiteY14-6660" fmla="*/ 363641 h 2436046"/>
              <a:gd name="connsiteX15-6661" fmla="*/ 554288 w 5168654"/>
              <a:gd name="connsiteY15-6662" fmla="*/ 363641 h 2436046"/>
              <a:gd name="connsiteX16-6663" fmla="*/ 554288 w 5168654"/>
              <a:gd name="connsiteY16-6664" fmla="*/ 423660 h 2436046"/>
              <a:gd name="connsiteX17-6665" fmla="*/ 769649 w 5168654"/>
              <a:gd name="connsiteY17-6666" fmla="*/ 423660 h 2436046"/>
              <a:gd name="connsiteX18-6667" fmla="*/ 769649 w 5168654"/>
              <a:gd name="connsiteY18-6668" fmla="*/ 430721 h 2436046"/>
              <a:gd name="connsiteX19-6669" fmla="*/ 776710 w 5168654"/>
              <a:gd name="connsiteY19-6670" fmla="*/ 455434 h 2436046"/>
              <a:gd name="connsiteX20-6671" fmla="*/ 794363 w 5168654"/>
              <a:gd name="connsiteY20-6672" fmla="*/ 455434 h 2436046"/>
              <a:gd name="connsiteX21-6673" fmla="*/ 794363 w 5168654"/>
              <a:gd name="connsiteY21-6674" fmla="*/ 497801 h 2436046"/>
              <a:gd name="connsiteX22-6675" fmla="*/ 808485 w 5168654"/>
              <a:gd name="connsiteY22-6676" fmla="*/ 497801 h 2436046"/>
              <a:gd name="connsiteX23-6677" fmla="*/ 808485 w 5168654"/>
              <a:gd name="connsiteY23-6678" fmla="*/ 621368 h 2436046"/>
              <a:gd name="connsiteX24-6679" fmla="*/ 822607 w 5168654"/>
              <a:gd name="connsiteY24-6680" fmla="*/ 621368 h 2436046"/>
              <a:gd name="connsiteX25-6681" fmla="*/ 822607 w 5168654"/>
              <a:gd name="connsiteY25-6682" fmla="*/ 639021 h 2436046"/>
              <a:gd name="connsiteX26-6683" fmla="*/ 1045028 w 5168654"/>
              <a:gd name="connsiteY26-6684" fmla="*/ 639021 h 2436046"/>
              <a:gd name="connsiteX27-6685" fmla="*/ 1045028 w 5168654"/>
              <a:gd name="connsiteY27-6686" fmla="*/ 790832 h 2436046"/>
              <a:gd name="connsiteX28-6687" fmla="*/ 1059150 w 5168654"/>
              <a:gd name="connsiteY28-6688" fmla="*/ 790832 h 2436046"/>
              <a:gd name="connsiteX29-6689" fmla="*/ 1059150 w 5168654"/>
              <a:gd name="connsiteY29-6690" fmla="*/ 889686 h 2436046"/>
              <a:gd name="connsiteX30-6691" fmla="*/ 1083864 w 5168654"/>
              <a:gd name="connsiteY30-6692" fmla="*/ 889686 h 2436046"/>
              <a:gd name="connsiteX31-6693" fmla="*/ 1101516 w 5168654"/>
              <a:gd name="connsiteY31-6694" fmla="*/ 889686 h 2436046"/>
              <a:gd name="connsiteX32-6695" fmla="*/ 1158004 w 5168654"/>
              <a:gd name="connsiteY32-6696" fmla="*/ 889686 h 2436046"/>
              <a:gd name="connsiteX33-6697" fmla="*/ 1158004 w 5168654"/>
              <a:gd name="connsiteY33-6698" fmla="*/ 917930 h 2436046"/>
              <a:gd name="connsiteX34-6699" fmla="*/ 1302755 w 5168654"/>
              <a:gd name="connsiteY34-6700" fmla="*/ 917930 h 2436046"/>
              <a:gd name="connsiteX35-6701" fmla="*/ 1302755 w 5168654"/>
              <a:gd name="connsiteY35-6702" fmla="*/ 942644 h 2436046"/>
              <a:gd name="connsiteX36-6703" fmla="*/ 1313346 w 5168654"/>
              <a:gd name="connsiteY36-6704" fmla="*/ 942644 h 2436046"/>
              <a:gd name="connsiteX37-6705" fmla="*/ 1313346 w 5168654"/>
              <a:gd name="connsiteY37-6706" fmla="*/ 1034437 h 2436046"/>
              <a:gd name="connsiteX38-6707" fmla="*/ 1316877 w 5168654"/>
              <a:gd name="connsiteY38-6708" fmla="*/ 1034437 h 2436046"/>
              <a:gd name="connsiteX39-6709" fmla="*/ 1316877 w 5168654"/>
              <a:gd name="connsiteY39-6710" fmla="*/ 1080333 h 2436046"/>
              <a:gd name="connsiteX40-6711" fmla="*/ 1489871 w 5168654"/>
              <a:gd name="connsiteY40-6712" fmla="*/ 1080333 h 2436046"/>
              <a:gd name="connsiteX41-6713" fmla="*/ 1489871 w 5168654"/>
              <a:gd name="connsiteY41-6714" fmla="*/ 1097986 h 2436046"/>
              <a:gd name="connsiteX42-6715" fmla="*/ 1518115 w 5168654"/>
              <a:gd name="connsiteY42-6716" fmla="*/ 1097986 h 2436046"/>
              <a:gd name="connsiteX43-6717" fmla="*/ 1518115 w 5168654"/>
              <a:gd name="connsiteY43-6718" fmla="*/ 1122699 h 2436046"/>
              <a:gd name="connsiteX44-6719" fmla="*/ 1532237 w 5168654"/>
              <a:gd name="connsiteY44-6720" fmla="*/ 1122699 h 2436046"/>
              <a:gd name="connsiteX45-6721" fmla="*/ 1539298 w 5168654"/>
              <a:gd name="connsiteY45-6722" fmla="*/ 1129760 h 2436046"/>
              <a:gd name="connsiteX46-6723" fmla="*/ 1553420 w 5168654"/>
              <a:gd name="connsiteY46-6724" fmla="*/ 1143882 h 2436046"/>
              <a:gd name="connsiteX47-6725" fmla="*/ 1553420 w 5168654"/>
              <a:gd name="connsiteY47-6726" fmla="*/ 1189779 h 2436046"/>
              <a:gd name="connsiteX48-6727" fmla="*/ 1564012 w 5168654"/>
              <a:gd name="connsiteY48-6728" fmla="*/ 1189779 h 2436046"/>
              <a:gd name="connsiteX49-6729" fmla="*/ 1564012 w 5168654"/>
              <a:gd name="connsiteY49-6730" fmla="*/ 1253328 h 2436046"/>
              <a:gd name="connsiteX50-6731" fmla="*/ 1578134 w 5168654"/>
              <a:gd name="connsiteY50-6732" fmla="*/ 1253328 h 2436046"/>
              <a:gd name="connsiteX51-6733" fmla="*/ 1578134 w 5168654"/>
              <a:gd name="connsiteY51-6734" fmla="*/ 1345121 h 2436046"/>
              <a:gd name="connsiteX52-6735" fmla="*/ 1588726 w 5168654"/>
              <a:gd name="connsiteY52-6736" fmla="*/ 1345121 h 2436046"/>
              <a:gd name="connsiteX53-6737" fmla="*/ 1588726 w 5168654"/>
              <a:gd name="connsiteY53-6738" fmla="*/ 1380426 h 2436046"/>
              <a:gd name="connsiteX54-6739" fmla="*/ 1588726 w 5168654"/>
              <a:gd name="connsiteY54-6740" fmla="*/ 1393678 h 2436046"/>
              <a:gd name="connsiteX55-6741" fmla="*/ 1797025 w 5168654"/>
              <a:gd name="connsiteY55-6742" fmla="*/ 1391027 h 2436046"/>
              <a:gd name="connsiteX56-6743" fmla="*/ 1797025 w 5168654"/>
              <a:gd name="connsiteY56-6744" fmla="*/ 1472219 h 2436046"/>
              <a:gd name="connsiteX57-6745" fmla="*/ 1828800 w 5168654"/>
              <a:gd name="connsiteY57-6746" fmla="*/ 1472219 h 2436046"/>
              <a:gd name="connsiteX58-6747" fmla="*/ 1828800 w 5168654"/>
              <a:gd name="connsiteY58-6748" fmla="*/ 1489872 h 2436046"/>
              <a:gd name="connsiteX59-6749" fmla="*/ 1828800 w 5168654"/>
              <a:gd name="connsiteY59-6750" fmla="*/ 1503994 h 2436046"/>
              <a:gd name="connsiteX60-6751" fmla="*/ 1846452 w 5168654"/>
              <a:gd name="connsiteY60-6752" fmla="*/ 1503994 h 2436046"/>
              <a:gd name="connsiteX61-6753" fmla="*/ 1846452 w 5168654"/>
              <a:gd name="connsiteY61-6754" fmla="*/ 1564012 h 2436046"/>
              <a:gd name="connsiteX62-6755" fmla="*/ 1878227 w 5168654"/>
              <a:gd name="connsiteY62-6756" fmla="*/ 1564012 h 2436046"/>
              <a:gd name="connsiteX63-6757" fmla="*/ 1878227 w 5168654"/>
              <a:gd name="connsiteY63-6758" fmla="*/ 1595787 h 2436046"/>
              <a:gd name="connsiteX64-6759" fmla="*/ 2072404 w 5168654"/>
              <a:gd name="connsiteY64-6760" fmla="*/ 1595787 h 2436046"/>
              <a:gd name="connsiteX65-6761" fmla="*/ 2072404 w 5168654"/>
              <a:gd name="connsiteY65-6762" fmla="*/ 1673458 h 2436046"/>
              <a:gd name="connsiteX66-6763" fmla="*/ 2093587 w 5168654"/>
              <a:gd name="connsiteY66-6764" fmla="*/ 1673458 h 2436046"/>
              <a:gd name="connsiteX67-6765" fmla="*/ 2093587 w 5168654"/>
              <a:gd name="connsiteY67-6766" fmla="*/ 1684049 h 2436046"/>
              <a:gd name="connsiteX68-6767" fmla="*/ 2097118 w 5168654"/>
              <a:gd name="connsiteY68-6768" fmla="*/ 1684049 h 2436046"/>
              <a:gd name="connsiteX69-6769" fmla="*/ 2097118 w 5168654"/>
              <a:gd name="connsiteY69-6770" fmla="*/ 1701702 h 2436046"/>
              <a:gd name="connsiteX70-6771" fmla="*/ 2111240 w 5168654"/>
              <a:gd name="connsiteY70-6772" fmla="*/ 1701702 h 2436046"/>
              <a:gd name="connsiteX71-6773" fmla="*/ 2114770 w 5168654"/>
              <a:gd name="connsiteY71-6774" fmla="*/ 1715824 h 2436046"/>
              <a:gd name="connsiteX72-6775" fmla="*/ 2418392 w 5168654"/>
              <a:gd name="connsiteY72-6776" fmla="*/ 1715824 h 2436046"/>
              <a:gd name="connsiteX73-6777" fmla="*/ 2418393 w 5168654"/>
              <a:gd name="connsiteY73-6778" fmla="*/ 1744068 h 2436046"/>
              <a:gd name="connsiteX74-6779" fmla="*/ 2418393 w 5168654"/>
              <a:gd name="connsiteY74-6780" fmla="*/ 1744068 h 2436046"/>
              <a:gd name="connsiteX75-6781" fmla="*/ 2446637 w 5168654"/>
              <a:gd name="connsiteY75-6782" fmla="*/ 1772312 h 2436046"/>
              <a:gd name="connsiteX76-6783" fmla="*/ 2460759 w 5168654"/>
              <a:gd name="connsiteY76-6784" fmla="*/ 1772312 h 2436046"/>
              <a:gd name="connsiteX77-6785" fmla="*/ 2460759 w 5168654"/>
              <a:gd name="connsiteY77-6786" fmla="*/ 1821739 h 2436046"/>
              <a:gd name="connsiteX78-6787" fmla="*/ 2478412 w 5168654"/>
              <a:gd name="connsiteY78-6788" fmla="*/ 1821739 h 2436046"/>
              <a:gd name="connsiteX79-6789" fmla="*/ 2478412 w 5168654"/>
              <a:gd name="connsiteY79-6790" fmla="*/ 1920593 h 2436046"/>
              <a:gd name="connsiteX80-6791" fmla="*/ 2633754 w 5168654"/>
              <a:gd name="connsiteY80-6792" fmla="*/ 1920593 h 2436046"/>
              <a:gd name="connsiteX81-6793" fmla="*/ 2633754 w 5168654"/>
              <a:gd name="connsiteY81-6794" fmla="*/ 1941776 h 2436046"/>
              <a:gd name="connsiteX82-6795" fmla="*/ 2732608 w 5168654"/>
              <a:gd name="connsiteY82-6796" fmla="*/ 1941776 h 2436046"/>
              <a:gd name="connsiteX83-6797" fmla="*/ 2729036 w 5168654"/>
              <a:gd name="connsiteY83-6798" fmla="*/ 1959407 h 2436046"/>
              <a:gd name="connsiteX84-6799" fmla="*/ 2777020 w 5168654"/>
              <a:gd name="connsiteY84-6800" fmla="*/ 1963502 h 2436046"/>
              <a:gd name="connsiteX85-6801" fmla="*/ 2782035 w 5168654"/>
              <a:gd name="connsiteY85-6802" fmla="*/ 1991203 h 2436046"/>
              <a:gd name="connsiteX86-6803" fmla="*/ 2838523 w 5168654"/>
              <a:gd name="connsiteY86-6804" fmla="*/ 1991203 h 2436046"/>
              <a:gd name="connsiteX87-6805" fmla="*/ 2838523 w 5168654"/>
              <a:gd name="connsiteY87-6806" fmla="*/ 2019447 h 2436046"/>
              <a:gd name="connsiteX88-6807" fmla="*/ 2852645 w 5168654"/>
              <a:gd name="connsiteY88-6808" fmla="*/ 2019447 h 2436046"/>
              <a:gd name="connsiteX89-6809" fmla="*/ 2852645 w 5168654"/>
              <a:gd name="connsiteY89-6810" fmla="*/ 2075935 h 2436046"/>
              <a:gd name="connsiteX90-6811" fmla="*/ 3219817 w 5168654"/>
              <a:gd name="connsiteY90-6812" fmla="*/ 2075934 h 2436046"/>
              <a:gd name="connsiteX91-6813" fmla="*/ 3205695 w 5168654"/>
              <a:gd name="connsiteY91-6814" fmla="*/ 2107709 h 2436046"/>
              <a:gd name="connsiteX92-6815" fmla="*/ 3237470 w 5168654"/>
              <a:gd name="connsiteY92-6816" fmla="*/ 2118300 h 2436046"/>
              <a:gd name="connsiteX93-6817" fmla="*/ 3230409 w 5168654"/>
              <a:gd name="connsiteY93-6818" fmla="*/ 2181850 h 2436046"/>
              <a:gd name="connsiteX94-6819" fmla="*/ 3438709 w 5168654"/>
              <a:gd name="connsiteY94-6820" fmla="*/ 2181850 h 2436046"/>
              <a:gd name="connsiteX95-6821" fmla="*/ 3438709 w 5168654"/>
              <a:gd name="connsiteY95-6822" fmla="*/ 2199502 h 2436046"/>
              <a:gd name="connsiteX96-6823" fmla="*/ 3565807 w 5168654"/>
              <a:gd name="connsiteY96-6824" fmla="*/ 2199502 h 2436046"/>
              <a:gd name="connsiteX97-6825" fmla="*/ 3565807 w 5168654"/>
              <a:gd name="connsiteY97-6826" fmla="*/ 2227746 h 2436046"/>
              <a:gd name="connsiteX98-6827" fmla="*/ 3618764 w 5168654"/>
              <a:gd name="connsiteY98-6828" fmla="*/ 2227746 h 2436046"/>
              <a:gd name="connsiteX99-6829" fmla="*/ 3618764 w 5168654"/>
              <a:gd name="connsiteY99-6830" fmla="*/ 2252460 h 2436046"/>
              <a:gd name="connsiteX100-6831" fmla="*/ 3890613 w 5168654"/>
              <a:gd name="connsiteY100-6832" fmla="*/ 2252460 h 2436046"/>
              <a:gd name="connsiteX101-6833" fmla="*/ 3890613 w 5168654"/>
              <a:gd name="connsiteY101-6834" fmla="*/ 2287765 h 2436046"/>
              <a:gd name="connsiteX102-6835" fmla="*/ 3975345 w 5168654"/>
              <a:gd name="connsiteY102-6836" fmla="*/ 2287765 h 2436046"/>
              <a:gd name="connsiteX103-6837" fmla="*/ 3975345 w 5168654"/>
              <a:gd name="connsiteY103-6838" fmla="*/ 2316009 h 2436046"/>
              <a:gd name="connsiteX104-6839" fmla="*/ 4007119 w 5168654"/>
              <a:gd name="connsiteY104-6840" fmla="*/ 2316009 h 2436046"/>
              <a:gd name="connsiteX105-6841" fmla="*/ 4007119 w 5168654"/>
              <a:gd name="connsiteY105-6842" fmla="*/ 2368967 h 2436046"/>
              <a:gd name="connsiteX106-6843" fmla="*/ 4614366 w 5168654"/>
              <a:gd name="connsiteY106-6844" fmla="*/ 2368967 h 2436046"/>
              <a:gd name="connsiteX107-6845" fmla="*/ 4614366 w 5168654"/>
              <a:gd name="connsiteY107-6846" fmla="*/ 2436046 h 2436046"/>
              <a:gd name="connsiteX108-6847" fmla="*/ 5168654 w 5168654"/>
              <a:gd name="connsiteY108-6848" fmla="*/ 2436046 h 2436046"/>
              <a:gd name="connsiteX0-6849" fmla="*/ 0 w 5168654"/>
              <a:gd name="connsiteY0-6850" fmla="*/ 0 h 2436046"/>
              <a:gd name="connsiteX1-6851" fmla="*/ 144750 w 5168654"/>
              <a:gd name="connsiteY1-6852" fmla="*/ 0 h 2436046"/>
              <a:gd name="connsiteX2-6853" fmla="*/ 144750 w 5168654"/>
              <a:gd name="connsiteY2-6854" fmla="*/ 42366 h 2436046"/>
              <a:gd name="connsiteX3-6855" fmla="*/ 158872 w 5168654"/>
              <a:gd name="connsiteY3-6856" fmla="*/ 42366 h 2436046"/>
              <a:gd name="connsiteX4-6857" fmla="*/ 158872 w 5168654"/>
              <a:gd name="connsiteY4-6858" fmla="*/ 81201 h 2436046"/>
              <a:gd name="connsiteX5-6859" fmla="*/ 162403 w 5168654"/>
              <a:gd name="connsiteY5-6860" fmla="*/ 84732 h 2436046"/>
              <a:gd name="connsiteX6-6861" fmla="*/ 162403 w 5168654"/>
              <a:gd name="connsiteY6-6862" fmla="*/ 155342 h 2436046"/>
              <a:gd name="connsiteX7-6863" fmla="*/ 257726 w 5168654"/>
              <a:gd name="connsiteY7-6864" fmla="*/ 155342 h 2436046"/>
              <a:gd name="connsiteX8-6865" fmla="*/ 257726 w 5168654"/>
              <a:gd name="connsiteY8-6866" fmla="*/ 190647 h 2436046"/>
              <a:gd name="connsiteX9-6867" fmla="*/ 268318 w 5168654"/>
              <a:gd name="connsiteY9-6868" fmla="*/ 190647 h 2436046"/>
              <a:gd name="connsiteX10-6869" fmla="*/ 268318 w 5168654"/>
              <a:gd name="connsiteY10-6870" fmla="*/ 211830 h 2436046"/>
              <a:gd name="connsiteX11-6871" fmla="*/ 508392 w 5168654"/>
              <a:gd name="connsiteY11-6872" fmla="*/ 211830 h 2436046"/>
              <a:gd name="connsiteX12-6873" fmla="*/ 508392 w 5168654"/>
              <a:gd name="connsiteY12-6874" fmla="*/ 243604 h 2436046"/>
              <a:gd name="connsiteX13-6875" fmla="*/ 536636 w 5168654"/>
              <a:gd name="connsiteY13-6876" fmla="*/ 243604 h 2436046"/>
              <a:gd name="connsiteX14-6877" fmla="*/ 536636 w 5168654"/>
              <a:gd name="connsiteY14-6878" fmla="*/ 363641 h 2436046"/>
              <a:gd name="connsiteX15-6879" fmla="*/ 554288 w 5168654"/>
              <a:gd name="connsiteY15-6880" fmla="*/ 363641 h 2436046"/>
              <a:gd name="connsiteX16-6881" fmla="*/ 559589 w 5168654"/>
              <a:gd name="connsiteY16-6882" fmla="*/ 418359 h 2436046"/>
              <a:gd name="connsiteX17-6883" fmla="*/ 769649 w 5168654"/>
              <a:gd name="connsiteY17-6884" fmla="*/ 423660 h 2436046"/>
              <a:gd name="connsiteX18-6885" fmla="*/ 769649 w 5168654"/>
              <a:gd name="connsiteY18-6886" fmla="*/ 430721 h 2436046"/>
              <a:gd name="connsiteX19-6887" fmla="*/ 776710 w 5168654"/>
              <a:gd name="connsiteY19-6888" fmla="*/ 455434 h 2436046"/>
              <a:gd name="connsiteX20-6889" fmla="*/ 794363 w 5168654"/>
              <a:gd name="connsiteY20-6890" fmla="*/ 455434 h 2436046"/>
              <a:gd name="connsiteX21-6891" fmla="*/ 794363 w 5168654"/>
              <a:gd name="connsiteY21-6892" fmla="*/ 497801 h 2436046"/>
              <a:gd name="connsiteX22-6893" fmla="*/ 808485 w 5168654"/>
              <a:gd name="connsiteY22-6894" fmla="*/ 497801 h 2436046"/>
              <a:gd name="connsiteX23-6895" fmla="*/ 808485 w 5168654"/>
              <a:gd name="connsiteY23-6896" fmla="*/ 621368 h 2436046"/>
              <a:gd name="connsiteX24-6897" fmla="*/ 822607 w 5168654"/>
              <a:gd name="connsiteY24-6898" fmla="*/ 621368 h 2436046"/>
              <a:gd name="connsiteX25-6899" fmla="*/ 822607 w 5168654"/>
              <a:gd name="connsiteY25-6900" fmla="*/ 639021 h 2436046"/>
              <a:gd name="connsiteX26-6901" fmla="*/ 1045028 w 5168654"/>
              <a:gd name="connsiteY26-6902" fmla="*/ 639021 h 2436046"/>
              <a:gd name="connsiteX27-6903" fmla="*/ 1045028 w 5168654"/>
              <a:gd name="connsiteY27-6904" fmla="*/ 790832 h 2436046"/>
              <a:gd name="connsiteX28-6905" fmla="*/ 1059150 w 5168654"/>
              <a:gd name="connsiteY28-6906" fmla="*/ 790832 h 2436046"/>
              <a:gd name="connsiteX29-6907" fmla="*/ 1059150 w 5168654"/>
              <a:gd name="connsiteY29-6908" fmla="*/ 889686 h 2436046"/>
              <a:gd name="connsiteX30-6909" fmla="*/ 1083864 w 5168654"/>
              <a:gd name="connsiteY30-6910" fmla="*/ 889686 h 2436046"/>
              <a:gd name="connsiteX31-6911" fmla="*/ 1101516 w 5168654"/>
              <a:gd name="connsiteY31-6912" fmla="*/ 889686 h 2436046"/>
              <a:gd name="connsiteX32-6913" fmla="*/ 1158004 w 5168654"/>
              <a:gd name="connsiteY32-6914" fmla="*/ 889686 h 2436046"/>
              <a:gd name="connsiteX33-6915" fmla="*/ 1158004 w 5168654"/>
              <a:gd name="connsiteY33-6916" fmla="*/ 917930 h 2436046"/>
              <a:gd name="connsiteX34-6917" fmla="*/ 1302755 w 5168654"/>
              <a:gd name="connsiteY34-6918" fmla="*/ 917930 h 2436046"/>
              <a:gd name="connsiteX35-6919" fmla="*/ 1302755 w 5168654"/>
              <a:gd name="connsiteY35-6920" fmla="*/ 942644 h 2436046"/>
              <a:gd name="connsiteX36-6921" fmla="*/ 1313346 w 5168654"/>
              <a:gd name="connsiteY36-6922" fmla="*/ 942644 h 2436046"/>
              <a:gd name="connsiteX37-6923" fmla="*/ 1313346 w 5168654"/>
              <a:gd name="connsiteY37-6924" fmla="*/ 1034437 h 2436046"/>
              <a:gd name="connsiteX38-6925" fmla="*/ 1316877 w 5168654"/>
              <a:gd name="connsiteY38-6926" fmla="*/ 1034437 h 2436046"/>
              <a:gd name="connsiteX39-6927" fmla="*/ 1316877 w 5168654"/>
              <a:gd name="connsiteY39-6928" fmla="*/ 1080333 h 2436046"/>
              <a:gd name="connsiteX40-6929" fmla="*/ 1489871 w 5168654"/>
              <a:gd name="connsiteY40-6930" fmla="*/ 1080333 h 2436046"/>
              <a:gd name="connsiteX41-6931" fmla="*/ 1489871 w 5168654"/>
              <a:gd name="connsiteY41-6932" fmla="*/ 1097986 h 2436046"/>
              <a:gd name="connsiteX42-6933" fmla="*/ 1518115 w 5168654"/>
              <a:gd name="connsiteY42-6934" fmla="*/ 1097986 h 2436046"/>
              <a:gd name="connsiteX43-6935" fmla="*/ 1518115 w 5168654"/>
              <a:gd name="connsiteY43-6936" fmla="*/ 1122699 h 2436046"/>
              <a:gd name="connsiteX44-6937" fmla="*/ 1532237 w 5168654"/>
              <a:gd name="connsiteY44-6938" fmla="*/ 1122699 h 2436046"/>
              <a:gd name="connsiteX45-6939" fmla="*/ 1539298 w 5168654"/>
              <a:gd name="connsiteY45-6940" fmla="*/ 1129760 h 2436046"/>
              <a:gd name="connsiteX46-6941" fmla="*/ 1553420 w 5168654"/>
              <a:gd name="connsiteY46-6942" fmla="*/ 1143882 h 2436046"/>
              <a:gd name="connsiteX47-6943" fmla="*/ 1553420 w 5168654"/>
              <a:gd name="connsiteY47-6944" fmla="*/ 1189779 h 2436046"/>
              <a:gd name="connsiteX48-6945" fmla="*/ 1564012 w 5168654"/>
              <a:gd name="connsiteY48-6946" fmla="*/ 1189779 h 2436046"/>
              <a:gd name="connsiteX49-6947" fmla="*/ 1564012 w 5168654"/>
              <a:gd name="connsiteY49-6948" fmla="*/ 1253328 h 2436046"/>
              <a:gd name="connsiteX50-6949" fmla="*/ 1578134 w 5168654"/>
              <a:gd name="connsiteY50-6950" fmla="*/ 1253328 h 2436046"/>
              <a:gd name="connsiteX51-6951" fmla="*/ 1578134 w 5168654"/>
              <a:gd name="connsiteY51-6952" fmla="*/ 1345121 h 2436046"/>
              <a:gd name="connsiteX52-6953" fmla="*/ 1588726 w 5168654"/>
              <a:gd name="connsiteY52-6954" fmla="*/ 1345121 h 2436046"/>
              <a:gd name="connsiteX53-6955" fmla="*/ 1588726 w 5168654"/>
              <a:gd name="connsiteY53-6956" fmla="*/ 1380426 h 2436046"/>
              <a:gd name="connsiteX54-6957" fmla="*/ 1588726 w 5168654"/>
              <a:gd name="connsiteY54-6958" fmla="*/ 1393678 h 2436046"/>
              <a:gd name="connsiteX55-6959" fmla="*/ 1797025 w 5168654"/>
              <a:gd name="connsiteY55-6960" fmla="*/ 1391027 h 2436046"/>
              <a:gd name="connsiteX56-6961" fmla="*/ 1797025 w 5168654"/>
              <a:gd name="connsiteY56-6962" fmla="*/ 1472219 h 2436046"/>
              <a:gd name="connsiteX57-6963" fmla="*/ 1828800 w 5168654"/>
              <a:gd name="connsiteY57-6964" fmla="*/ 1472219 h 2436046"/>
              <a:gd name="connsiteX58-6965" fmla="*/ 1828800 w 5168654"/>
              <a:gd name="connsiteY58-6966" fmla="*/ 1489872 h 2436046"/>
              <a:gd name="connsiteX59-6967" fmla="*/ 1828800 w 5168654"/>
              <a:gd name="connsiteY59-6968" fmla="*/ 1503994 h 2436046"/>
              <a:gd name="connsiteX60-6969" fmla="*/ 1846452 w 5168654"/>
              <a:gd name="connsiteY60-6970" fmla="*/ 1503994 h 2436046"/>
              <a:gd name="connsiteX61-6971" fmla="*/ 1846452 w 5168654"/>
              <a:gd name="connsiteY61-6972" fmla="*/ 1564012 h 2436046"/>
              <a:gd name="connsiteX62-6973" fmla="*/ 1878227 w 5168654"/>
              <a:gd name="connsiteY62-6974" fmla="*/ 1564012 h 2436046"/>
              <a:gd name="connsiteX63-6975" fmla="*/ 1878227 w 5168654"/>
              <a:gd name="connsiteY63-6976" fmla="*/ 1595787 h 2436046"/>
              <a:gd name="connsiteX64-6977" fmla="*/ 2072404 w 5168654"/>
              <a:gd name="connsiteY64-6978" fmla="*/ 1595787 h 2436046"/>
              <a:gd name="connsiteX65-6979" fmla="*/ 2072404 w 5168654"/>
              <a:gd name="connsiteY65-6980" fmla="*/ 1673458 h 2436046"/>
              <a:gd name="connsiteX66-6981" fmla="*/ 2093587 w 5168654"/>
              <a:gd name="connsiteY66-6982" fmla="*/ 1673458 h 2436046"/>
              <a:gd name="connsiteX67-6983" fmla="*/ 2093587 w 5168654"/>
              <a:gd name="connsiteY67-6984" fmla="*/ 1684049 h 2436046"/>
              <a:gd name="connsiteX68-6985" fmla="*/ 2097118 w 5168654"/>
              <a:gd name="connsiteY68-6986" fmla="*/ 1684049 h 2436046"/>
              <a:gd name="connsiteX69-6987" fmla="*/ 2097118 w 5168654"/>
              <a:gd name="connsiteY69-6988" fmla="*/ 1701702 h 2436046"/>
              <a:gd name="connsiteX70-6989" fmla="*/ 2111240 w 5168654"/>
              <a:gd name="connsiteY70-6990" fmla="*/ 1701702 h 2436046"/>
              <a:gd name="connsiteX71-6991" fmla="*/ 2114770 w 5168654"/>
              <a:gd name="connsiteY71-6992" fmla="*/ 1715824 h 2436046"/>
              <a:gd name="connsiteX72-6993" fmla="*/ 2418392 w 5168654"/>
              <a:gd name="connsiteY72-6994" fmla="*/ 1715824 h 2436046"/>
              <a:gd name="connsiteX73-6995" fmla="*/ 2418393 w 5168654"/>
              <a:gd name="connsiteY73-6996" fmla="*/ 1744068 h 2436046"/>
              <a:gd name="connsiteX74-6997" fmla="*/ 2418393 w 5168654"/>
              <a:gd name="connsiteY74-6998" fmla="*/ 1744068 h 2436046"/>
              <a:gd name="connsiteX75-6999" fmla="*/ 2446637 w 5168654"/>
              <a:gd name="connsiteY75-7000" fmla="*/ 1772312 h 2436046"/>
              <a:gd name="connsiteX76-7001" fmla="*/ 2460759 w 5168654"/>
              <a:gd name="connsiteY76-7002" fmla="*/ 1772312 h 2436046"/>
              <a:gd name="connsiteX77-7003" fmla="*/ 2460759 w 5168654"/>
              <a:gd name="connsiteY77-7004" fmla="*/ 1821739 h 2436046"/>
              <a:gd name="connsiteX78-7005" fmla="*/ 2478412 w 5168654"/>
              <a:gd name="connsiteY78-7006" fmla="*/ 1821739 h 2436046"/>
              <a:gd name="connsiteX79-7007" fmla="*/ 2478412 w 5168654"/>
              <a:gd name="connsiteY79-7008" fmla="*/ 1920593 h 2436046"/>
              <a:gd name="connsiteX80-7009" fmla="*/ 2633754 w 5168654"/>
              <a:gd name="connsiteY80-7010" fmla="*/ 1920593 h 2436046"/>
              <a:gd name="connsiteX81-7011" fmla="*/ 2633754 w 5168654"/>
              <a:gd name="connsiteY81-7012" fmla="*/ 1941776 h 2436046"/>
              <a:gd name="connsiteX82-7013" fmla="*/ 2732608 w 5168654"/>
              <a:gd name="connsiteY82-7014" fmla="*/ 1941776 h 2436046"/>
              <a:gd name="connsiteX83-7015" fmla="*/ 2729036 w 5168654"/>
              <a:gd name="connsiteY83-7016" fmla="*/ 1959407 h 2436046"/>
              <a:gd name="connsiteX84-7017" fmla="*/ 2777020 w 5168654"/>
              <a:gd name="connsiteY84-7018" fmla="*/ 1963502 h 2436046"/>
              <a:gd name="connsiteX85-7019" fmla="*/ 2782035 w 5168654"/>
              <a:gd name="connsiteY85-7020" fmla="*/ 1991203 h 2436046"/>
              <a:gd name="connsiteX86-7021" fmla="*/ 2838523 w 5168654"/>
              <a:gd name="connsiteY86-7022" fmla="*/ 1991203 h 2436046"/>
              <a:gd name="connsiteX87-7023" fmla="*/ 2838523 w 5168654"/>
              <a:gd name="connsiteY87-7024" fmla="*/ 2019447 h 2436046"/>
              <a:gd name="connsiteX88-7025" fmla="*/ 2852645 w 5168654"/>
              <a:gd name="connsiteY88-7026" fmla="*/ 2019447 h 2436046"/>
              <a:gd name="connsiteX89-7027" fmla="*/ 2852645 w 5168654"/>
              <a:gd name="connsiteY89-7028" fmla="*/ 2075935 h 2436046"/>
              <a:gd name="connsiteX90-7029" fmla="*/ 3219817 w 5168654"/>
              <a:gd name="connsiteY90-7030" fmla="*/ 2075934 h 2436046"/>
              <a:gd name="connsiteX91-7031" fmla="*/ 3205695 w 5168654"/>
              <a:gd name="connsiteY91-7032" fmla="*/ 2107709 h 2436046"/>
              <a:gd name="connsiteX92-7033" fmla="*/ 3237470 w 5168654"/>
              <a:gd name="connsiteY92-7034" fmla="*/ 2118300 h 2436046"/>
              <a:gd name="connsiteX93-7035" fmla="*/ 3230409 w 5168654"/>
              <a:gd name="connsiteY93-7036" fmla="*/ 2181850 h 2436046"/>
              <a:gd name="connsiteX94-7037" fmla="*/ 3438709 w 5168654"/>
              <a:gd name="connsiteY94-7038" fmla="*/ 2181850 h 2436046"/>
              <a:gd name="connsiteX95-7039" fmla="*/ 3438709 w 5168654"/>
              <a:gd name="connsiteY95-7040" fmla="*/ 2199502 h 2436046"/>
              <a:gd name="connsiteX96-7041" fmla="*/ 3565807 w 5168654"/>
              <a:gd name="connsiteY96-7042" fmla="*/ 2199502 h 2436046"/>
              <a:gd name="connsiteX97-7043" fmla="*/ 3565807 w 5168654"/>
              <a:gd name="connsiteY97-7044" fmla="*/ 2227746 h 2436046"/>
              <a:gd name="connsiteX98-7045" fmla="*/ 3618764 w 5168654"/>
              <a:gd name="connsiteY98-7046" fmla="*/ 2227746 h 2436046"/>
              <a:gd name="connsiteX99-7047" fmla="*/ 3618764 w 5168654"/>
              <a:gd name="connsiteY99-7048" fmla="*/ 2252460 h 2436046"/>
              <a:gd name="connsiteX100-7049" fmla="*/ 3890613 w 5168654"/>
              <a:gd name="connsiteY100-7050" fmla="*/ 2252460 h 2436046"/>
              <a:gd name="connsiteX101-7051" fmla="*/ 3890613 w 5168654"/>
              <a:gd name="connsiteY101-7052" fmla="*/ 2287765 h 2436046"/>
              <a:gd name="connsiteX102-7053" fmla="*/ 3975345 w 5168654"/>
              <a:gd name="connsiteY102-7054" fmla="*/ 2287765 h 2436046"/>
              <a:gd name="connsiteX103-7055" fmla="*/ 3975345 w 5168654"/>
              <a:gd name="connsiteY103-7056" fmla="*/ 2316009 h 2436046"/>
              <a:gd name="connsiteX104-7057" fmla="*/ 4007119 w 5168654"/>
              <a:gd name="connsiteY104-7058" fmla="*/ 2316009 h 2436046"/>
              <a:gd name="connsiteX105-7059" fmla="*/ 4007119 w 5168654"/>
              <a:gd name="connsiteY105-7060" fmla="*/ 2368967 h 2436046"/>
              <a:gd name="connsiteX106-7061" fmla="*/ 4614366 w 5168654"/>
              <a:gd name="connsiteY106-7062" fmla="*/ 2368967 h 2436046"/>
              <a:gd name="connsiteX107-7063" fmla="*/ 4614366 w 5168654"/>
              <a:gd name="connsiteY107-7064" fmla="*/ 2436046 h 2436046"/>
              <a:gd name="connsiteX108-7065" fmla="*/ 5168654 w 5168654"/>
              <a:gd name="connsiteY108-7066" fmla="*/ 2436046 h 2436046"/>
              <a:gd name="connsiteX0-7067" fmla="*/ 0 w 5168654"/>
              <a:gd name="connsiteY0-7068" fmla="*/ 0 h 2436046"/>
              <a:gd name="connsiteX1-7069" fmla="*/ 144750 w 5168654"/>
              <a:gd name="connsiteY1-7070" fmla="*/ 0 h 2436046"/>
              <a:gd name="connsiteX2-7071" fmla="*/ 144750 w 5168654"/>
              <a:gd name="connsiteY2-7072" fmla="*/ 42366 h 2436046"/>
              <a:gd name="connsiteX3-7073" fmla="*/ 158872 w 5168654"/>
              <a:gd name="connsiteY3-7074" fmla="*/ 42366 h 2436046"/>
              <a:gd name="connsiteX4-7075" fmla="*/ 158872 w 5168654"/>
              <a:gd name="connsiteY4-7076" fmla="*/ 81201 h 2436046"/>
              <a:gd name="connsiteX5-7077" fmla="*/ 162403 w 5168654"/>
              <a:gd name="connsiteY5-7078" fmla="*/ 84732 h 2436046"/>
              <a:gd name="connsiteX6-7079" fmla="*/ 162403 w 5168654"/>
              <a:gd name="connsiteY6-7080" fmla="*/ 155342 h 2436046"/>
              <a:gd name="connsiteX7-7081" fmla="*/ 257726 w 5168654"/>
              <a:gd name="connsiteY7-7082" fmla="*/ 155342 h 2436046"/>
              <a:gd name="connsiteX8-7083" fmla="*/ 257726 w 5168654"/>
              <a:gd name="connsiteY8-7084" fmla="*/ 190647 h 2436046"/>
              <a:gd name="connsiteX9-7085" fmla="*/ 268318 w 5168654"/>
              <a:gd name="connsiteY9-7086" fmla="*/ 190647 h 2436046"/>
              <a:gd name="connsiteX10-7087" fmla="*/ 268318 w 5168654"/>
              <a:gd name="connsiteY10-7088" fmla="*/ 211830 h 2436046"/>
              <a:gd name="connsiteX11-7089" fmla="*/ 508392 w 5168654"/>
              <a:gd name="connsiteY11-7090" fmla="*/ 211830 h 2436046"/>
              <a:gd name="connsiteX12-7091" fmla="*/ 508392 w 5168654"/>
              <a:gd name="connsiteY12-7092" fmla="*/ 243604 h 2436046"/>
              <a:gd name="connsiteX13-7093" fmla="*/ 536636 w 5168654"/>
              <a:gd name="connsiteY13-7094" fmla="*/ 243604 h 2436046"/>
              <a:gd name="connsiteX14-7095" fmla="*/ 536636 w 5168654"/>
              <a:gd name="connsiteY14-7096" fmla="*/ 363641 h 2436046"/>
              <a:gd name="connsiteX15-7097" fmla="*/ 554288 w 5168654"/>
              <a:gd name="connsiteY15-7098" fmla="*/ 363641 h 2436046"/>
              <a:gd name="connsiteX16-7099" fmla="*/ 559589 w 5168654"/>
              <a:gd name="connsiteY16-7100" fmla="*/ 418359 h 2436046"/>
              <a:gd name="connsiteX17-7101" fmla="*/ 769649 w 5168654"/>
              <a:gd name="connsiteY17-7102" fmla="*/ 423660 h 2436046"/>
              <a:gd name="connsiteX18-7103" fmla="*/ 769649 w 5168654"/>
              <a:gd name="connsiteY18-7104" fmla="*/ 414819 h 2436046"/>
              <a:gd name="connsiteX19-7105" fmla="*/ 776710 w 5168654"/>
              <a:gd name="connsiteY19-7106" fmla="*/ 455434 h 2436046"/>
              <a:gd name="connsiteX20-7107" fmla="*/ 794363 w 5168654"/>
              <a:gd name="connsiteY20-7108" fmla="*/ 455434 h 2436046"/>
              <a:gd name="connsiteX21-7109" fmla="*/ 794363 w 5168654"/>
              <a:gd name="connsiteY21-7110" fmla="*/ 497801 h 2436046"/>
              <a:gd name="connsiteX22-7111" fmla="*/ 808485 w 5168654"/>
              <a:gd name="connsiteY22-7112" fmla="*/ 497801 h 2436046"/>
              <a:gd name="connsiteX23-7113" fmla="*/ 808485 w 5168654"/>
              <a:gd name="connsiteY23-7114" fmla="*/ 621368 h 2436046"/>
              <a:gd name="connsiteX24-7115" fmla="*/ 822607 w 5168654"/>
              <a:gd name="connsiteY24-7116" fmla="*/ 621368 h 2436046"/>
              <a:gd name="connsiteX25-7117" fmla="*/ 822607 w 5168654"/>
              <a:gd name="connsiteY25-7118" fmla="*/ 639021 h 2436046"/>
              <a:gd name="connsiteX26-7119" fmla="*/ 1045028 w 5168654"/>
              <a:gd name="connsiteY26-7120" fmla="*/ 639021 h 2436046"/>
              <a:gd name="connsiteX27-7121" fmla="*/ 1045028 w 5168654"/>
              <a:gd name="connsiteY27-7122" fmla="*/ 790832 h 2436046"/>
              <a:gd name="connsiteX28-7123" fmla="*/ 1059150 w 5168654"/>
              <a:gd name="connsiteY28-7124" fmla="*/ 790832 h 2436046"/>
              <a:gd name="connsiteX29-7125" fmla="*/ 1059150 w 5168654"/>
              <a:gd name="connsiteY29-7126" fmla="*/ 889686 h 2436046"/>
              <a:gd name="connsiteX30-7127" fmla="*/ 1083864 w 5168654"/>
              <a:gd name="connsiteY30-7128" fmla="*/ 889686 h 2436046"/>
              <a:gd name="connsiteX31-7129" fmla="*/ 1101516 w 5168654"/>
              <a:gd name="connsiteY31-7130" fmla="*/ 889686 h 2436046"/>
              <a:gd name="connsiteX32-7131" fmla="*/ 1158004 w 5168654"/>
              <a:gd name="connsiteY32-7132" fmla="*/ 889686 h 2436046"/>
              <a:gd name="connsiteX33-7133" fmla="*/ 1158004 w 5168654"/>
              <a:gd name="connsiteY33-7134" fmla="*/ 917930 h 2436046"/>
              <a:gd name="connsiteX34-7135" fmla="*/ 1302755 w 5168654"/>
              <a:gd name="connsiteY34-7136" fmla="*/ 917930 h 2436046"/>
              <a:gd name="connsiteX35-7137" fmla="*/ 1302755 w 5168654"/>
              <a:gd name="connsiteY35-7138" fmla="*/ 942644 h 2436046"/>
              <a:gd name="connsiteX36-7139" fmla="*/ 1313346 w 5168654"/>
              <a:gd name="connsiteY36-7140" fmla="*/ 942644 h 2436046"/>
              <a:gd name="connsiteX37-7141" fmla="*/ 1313346 w 5168654"/>
              <a:gd name="connsiteY37-7142" fmla="*/ 1034437 h 2436046"/>
              <a:gd name="connsiteX38-7143" fmla="*/ 1316877 w 5168654"/>
              <a:gd name="connsiteY38-7144" fmla="*/ 1034437 h 2436046"/>
              <a:gd name="connsiteX39-7145" fmla="*/ 1316877 w 5168654"/>
              <a:gd name="connsiteY39-7146" fmla="*/ 1080333 h 2436046"/>
              <a:gd name="connsiteX40-7147" fmla="*/ 1489871 w 5168654"/>
              <a:gd name="connsiteY40-7148" fmla="*/ 1080333 h 2436046"/>
              <a:gd name="connsiteX41-7149" fmla="*/ 1489871 w 5168654"/>
              <a:gd name="connsiteY41-7150" fmla="*/ 1097986 h 2436046"/>
              <a:gd name="connsiteX42-7151" fmla="*/ 1518115 w 5168654"/>
              <a:gd name="connsiteY42-7152" fmla="*/ 1097986 h 2436046"/>
              <a:gd name="connsiteX43-7153" fmla="*/ 1518115 w 5168654"/>
              <a:gd name="connsiteY43-7154" fmla="*/ 1122699 h 2436046"/>
              <a:gd name="connsiteX44-7155" fmla="*/ 1532237 w 5168654"/>
              <a:gd name="connsiteY44-7156" fmla="*/ 1122699 h 2436046"/>
              <a:gd name="connsiteX45-7157" fmla="*/ 1539298 w 5168654"/>
              <a:gd name="connsiteY45-7158" fmla="*/ 1129760 h 2436046"/>
              <a:gd name="connsiteX46-7159" fmla="*/ 1553420 w 5168654"/>
              <a:gd name="connsiteY46-7160" fmla="*/ 1143882 h 2436046"/>
              <a:gd name="connsiteX47-7161" fmla="*/ 1553420 w 5168654"/>
              <a:gd name="connsiteY47-7162" fmla="*/ 1189779 h 2436046"/>
              <a:gd name="connsiteX48-7163" fmla="*/ 1564012 w 5168654"/>
              <a:gd name="connsiteY48-7164" fmla="*/ 1189779 h 2436046"/>
              <a:gd name="connsiteX49-7165" fmla="*/ 1564012 w 5168654"/>
              <a:gd name="connsiteY49-7166" fmla="*/ 1253328 h 2436046"/>
              <a:gd name="connsiteX50-7167" fmla="*/ 1578134 w 5168654"/>
              <a:gd name="connsiteY50-7168" fmla="*/ 1253328 h 2436046"/>
              <a:gd name="connsiteX51-7169" fmla="*/ 1578134 w 5168654"/>
              <a:gd name="connsiteY51-7170" fmla="*/ 1345121 h 2436046"/>
              <a:gd name="connsiteX52-7171" fmla="*/ 1588726 w 5168654"/>
              <a:gd name="connsiteY52-7172" fmla="*/ 1345121 h 2436046"/>
              <a:gd name="connsiteX53-7173" fmla="*/ 1588726 w 5168654"/>
              <a:gd name="connsiteY53-7174" fmla="*/ 1380426 h 2436046"/>
              <a:gd name="connsiteX54-7175" fmla="*/ 1588726 w 5168654"/>
              <a:gd name="connsiteY54-7176" fmla="*/ 1393678 h 2436046"/>
              <a:gd name="connsiteX55-7177" fmla="*/ 1797025 w 5168654"/>
              <a:gd name="connsiteY55-7178" fmla="*/ 1391027 h 2436046"/>
              <a:gd name="connsiteX56-7179" fmla="*/ 1797025 w 5168654"/>
              <a:gd name="connsiteY56-7180" fmla="*/ 1472219 h 2436046"/>
              <a:gd name="connsiteX57-7181" fmla="*/ 1828800 w 5168654"/>
              <a:gd name="connsiteY57-7182" fmla="*/ 1472219 h 2436046"/>
              <a:gd name="connsiteX58-7183" fmla="*/ 1828800 w 5168654"/>
              <a:gd name="connsiteY58-7184" fmla="*/ 1489872 h 2436046"/>
              <a:gd name="connsiteX59-7185" fmla="*/ 1828800 w 5168654"/>
              <a:gd name="connsiteY59-7186" fmla="*/ 1503994 h 2436046"/>
              <a:gd name="connsiteX60-7187" fmla="*/ 1846452 w 5168654"/>
              <a:gd name="connsiteY60-7188" fmla="*/ 1503994 h 2436046"/>
              <a:gd name="connsiteX61-7189" fmla="*/ 1846452 w 5168654"/>
              <a:gd name="connsiteY61-7190" fmla="*/ 1564012 h 2436046"/>
              <a:gd name="connsiteX62-7191" fmla="*/ 1878227 w 5168654"/>
              <a:gd name="connsiteY62-7192" fmla="*/ 1564012 h 2436046"/>
              <a:gd name="connsiteX63-7193" fmla="*/ 1878227 w 5168654"/>
              <a:gd name="connsiteY63-7194" fmla="*/ 1595787 h 2436046"/>
              <a:gd name="connsiteX64-7195" fmla="*/ 2072404 w 5168654"/>
              <a:gd name="connsiteY64-7196" fmla="*/ 1595787 h 2436046"/>
              <a:gd name="connsiteX65-7197" fmla="*/ 2072404 w 5168654"/>
              <a:gd name="connsiteY65-7198" fmla="*/ 1673458 h 2436046"/>
              <a:gd name="connsiteX66-7199" fmla="*/ 2093587 w 5168654"/>
              <a:gd name="connsiteY66-7200" fmla="*/ 1673458 h 2436046"/>
              <a:gd name="connsiteX67-7201" fmla="*/ 2093587 w 5168654"/>
              <a:gd name="connsiteY67-7202" fmla="*/ 1684049 h 2436046"/>
              <a:gd name="connsiteX68-7203" fmla="*/ 2097118 w 5168654"/>
              <a:gd name="connsiteY68-7204" fmla="*/ 1684049 h 2436046"/>
              <a:gd name="connsiteX69-7205" fmla="*/ 2097118 w 5168654"/>
              <a:gd name="connsiteY69-7206" fmla="*/ 1701702 h 2436046"/>
              <a:gd name="connsiteX70-7207" fmla="*/ 2111240 w 5168654"/>
              <a:gd name="connsiteY70-7208" fmla="*/ 1701702 h 2436046"/>
              <a:gd name="connsiteX71-7209" fmla="*/ 2114770 w 5168654"/>
              <a:gd name="connsiteY71-7210" fmla="*/ 1715824 h 2436046"/>
              <a:gd name="connsiteX72-7211" fmla="*/ 2418392 w 5168654"/>
              <a:gd name="connsiteY72-7212" fmla="*/ 1715824 h 2436046"/>
              <a:gd name="connsiteX73-7213" fmla="*/ 2418393 w 5168654"/>
              <a:gd name="connsiteY73-7214" fmla="*/ 1744068 h 2436046"/>
              <a:gd name="connsiteX74-7215" fmla="*/ 2418393 w 5168654"/>
              <a:gd name="connsiteY74-7216" fmla="*/ 1744068 h 2436046"/>
              <a:gd name="connsiteX75-7217" fmla="*/ 2446637 w 5168654"/>
              <a:gd name="connsiteY75-7218" fmla="*/ 1772312 h 2436046"/>
              <a:gd name="connsiteX76-7219" fmla="*/ 2460759 w 5168654"/>
              <a:gd name="connsiteY76-7220" fmla="*/ 1772312 h 2436046"/>
              <a:gd name="connsiteX77-7221" fmla="*/ 2460759 w 5168654"/>
              <a:gd name="connsiteY77-7222" fmla="*/ 1821739 h 2436046"/>
              <a:gd name="connsiteX78-7223" fmla="*/ 2478412 w 5168654"/>
              <a:gd name="connsiteY78-7224" fmla="*/ 1821739 h 2436046"/>
              <a:gd name="connsiteX79-7225" fmla="*/ 2478412 w 5168654"/>
              <a:gd name="connsiteY79-7226" fmla="*/ 1920593 h 2436046"/>
              <a:gd name="connsiteX80-7227" fmla="*/ 2633754 w 5168654"/>
              <a:gd name="connsiteY80-7228" fmla="*/ 1920593 h 2436046"/>
              <a:gd name="connsiteX81-7229" fmla="*/ 2633754 w 5168654"/>
              <a:gd name="connsiteY81-7230" fmla="*/ 1941776 h 2436046"/>
              <a:gd name="connsiteX82-7231" fmla="*/ 2732608 w 5168654"/>
              <a:gd name="connsiteY82-7232" fmla="*/ 1941776 h 2436046"/>
              <a:gd name="connsiteX83-7233" fmla="*/ 2729036 w 5168654"/>
              <a:gd name="connsiteY83-7234" fmla="*/ 1959407 h 2436046"/>
              <a:gd name="connsiteX84-7235" fmla="*/ 2777020 w 5168654"/>
              <a:gd name="connsiteY84-7236" fmla="*/ 1963502 h 2436046"/>
              <a:gd name="connsiteX85-7237" fmla="*/ 2782035 w 5168654"/>
              <a:gd name="connsiteY85-7238" fmla="*/ 1991203 h 2436046"/>
              <a:gd name="connsiteX86-7239" fmla="*/ 2838523 w 5168654"/>
              <a:gd name="connsiteY86-7240" fmla="*/ 1991203 h 2436046"/>
              <a:gd name="connsiteX87-7241" fmla="*/ 2838523 w 5168654"/>
              <a:gd name="connsiteY87-7242" fmla="*/ 2019447 h 2436046"/>
              <a:gd name="connsiteX88-7243" fmla="*/ 2852645 w 5168654"/>
              <a:gd name="connsiteY88-7244" fmla="*/ 2019447 h 2436046"/>
              <a:gd name="connsiteX89-7245" fmla="*/ 2852645 w 5168654"/>
              <a:gd name="connsiteY89-7246" fmla="*/ 2075935 h 2436046"/>
              <a:gd name="connsiteX90-7247" fmla="*/ 3219817 w 5168654"/>
              <a:gd name="connsiteY90-7248" fmla="*/ 2075934 h 2436046"/>
              <a:gd name="connsiteX91-7249" fmla="*/ 3205695 w 5168654"/>
              <a:gd name="connsiteY91-7250" fmla="*/ 2107709 h 2436046"/>
              <a:gd name="connsiteX92-7251" fmla="*/ 3237470 w 5168654"/>
              <a:gd name="connsiteY92-7252" fmla="*/ 2118300 h 2436046"/>
              <a:gd name="connsiteX93-7253" fmla="*/ 3230409 w 5168654"/>
              <a:gd name="connsiteY93-7254" fmla="*/ 2181850 h 2436046"/>
              <a:gd name="connsiteX94-7255" fmla="*/ 3438709 w 5168654"/>
              <a:gd name="connsiteY94-7256" fmla="*/ 2181850 h 2436046"/>
              <a:gd name="connsiteX95-7257" fmla="*/ 3438709 w 5168654"/>
              <a:gd name="connsiteY95-7258" fmla="*/ 2199502 h 2436046"/>
              <a:gd name="connsiteX96-7259" fmla="*/ 3565807 w 5168654"/>
              <a:gd name="connsiteY96-7260" fmla="*/ 2199502 h 2436046"/>
              <a:gd name="connsiteX97-7261" fmla="*/ 3565807 w 5168654"/>
              <a:gd name="connsiteY97-7262" fmla="*/ 2227746 h 2436046"/>
              <a:gd name="connsiteX98-7263" fmla="*/ 3618764 w 5168654"/>
              <a:gd name="connsiteY98-7264" fmla="*/ 2227746 h 2436046"/>
              <a:gd name="connsiteX99-7265" fmla="*/ 3618764 w 5168654"/>
              <a:gd name="connsiteY99-7266" fmla="*/ 2252460 h 2436046"/>
              <a:gd name="connsiteX100-7267" fmla="*/ 3890613 w 5168654"/>
              <a:gd name="connsiteY100-7268" fmla="*/ 2252460 h 2436046"/>
              <a:gd name="connsiteX101-7269" fmla="*/ 3890613 w 5168654"/>
              <a:gd name="connsiteY101-7270" fmla="*/ 2287765 h 2436046"/>
              <a:gd name="connsiteX102-7271" fmla="*/ 3975345 w 5168654"/>
              <a:gd name="connsiteY102-7272" fmla="*/ 2287765 h 2436046"/>
              <a:gd name="connsiteX103-7273" fmla="*/ 3975345 w 5168654"/>
              <a:gd name="connsiteY103-7274" fmla="*/ 2316009 h 2436046"/>
              <a:gd name="connsiteX104-7275" fmla="*/ 4007119 w 5168654"/>
              <a:gd name="connsiteY104-7276" fmla="*/ 2316009 h 2436046"/>
              <a:gd name="connsiteX105-7277" fmla="*/ 4007119 w 5168654"/>
              <a:gd name="connsiteY105-7278" fmla="*/ 2368967 h 2436046"/>
              <a:gd name="connsiteX106-7279" fmla="*/ 4614366 w 5168654"/>
              <a:gd name="connsiteY106-7280" fmla="*/ 2368967 h 2436046"/>
              <a:gd name="connsiteX107-7281" fmla="*/ 4614366 w 5168654"/>
              <a:gd name="connsiteY107-7282" fmla="*/ 2436046 h 2436046"/>
              <a:gd name="connsiteX108-7283" fmla="*/ 5168654 w 5168654"/>
              <a:gd name="connsiteY108-7284" fmla="*/ 2436046 h 2436046"/>
              <a:gd name="connsiteX0-7285" fmla="*/ 0 w 5168654"/>
              <a:gd name="connsiteY0-7286" fmla="*/ 0 h 2436046"/>
              <a:gd name="connsiteX1-7287" fmla="*/ 144750 w 5168654"/>
              <a:gd name="connsiteY1-7288" fmla="*/ 0 h 2436046"/>
              <a:gd name="connsiteX2-7289" fmla="*/ 144750 w 5168654"/>
              <a:gd name="connsiteY2-7290" fmla="*/ 42366 h 2436046"/>
              <a:gd name="connsiteX3-7291" fmla="*/ 158872 w 5168654"/>
              <a:gd name="connsiteY3-7292" fmla="*/ 42366 h 2436046"/>
              <a:gd name="connsiteX4-7293" fmla="*/ 158872 w 5168654"/>
              <a:gd name="connsiteY4-7294" fmla="*/ 81201 h 2436046"/>
              <a:gd name="connsiteX5-7295" fmla="*/ 162403 w 5168654"/>
              <a:gd name="connsiteY5-7296" fmla="*/ 84732 h 2436046"/>
              <a:gd name="connsiteX6-7297" fmla="*/ 162403 w 5168654"/>
              <a:gd name="connsiteY6-7298" fmla="*/ 155342 h 2436046"/>
              <a:gd name="connsiteX7-7299" fmla="*/ 257726 w 5168654"/>
              <a:gd name="connsiteY7-7300" fmla="*/ 155342 h 2436046"/>
              <a:gd name="connsiteX8-7301" fmla="*/ 257726 w 5168654"/>
              <a:gd name="connsiteY8-7302" fmla="*/ 190647 h 2436046"/>
              <a:gd name="connsiteX9-7303" fmla="*/ 268318 w 5168654"/>
              <a:gd name="connsiteY9-7304" fmla="*/ 190647 h 2436046"/>
              <a:gd name="connsiteX10-7305" fmla="*/ 268318 w 5168654"/>
              <a:gd name="connsiteY10-7306" fmla="*/ 211830 h 2436046"/>
              <a:gd name="connsiteX11-7307" fmla="*/ 508392 w 5168654"/>
              <a:gd name="connsiteY11-7308" fmla="*/ 211830 h 2436046"/>
              <a:gd name="connsiteX12-7309" fmla="*/ 508392 w 5168654"/>
              <a:gd name="connsiteY12-7310" fmla="*/ 243604 h 2436046"/>
              <a:gd name="connsiteX13-7311" fmla="*/ 536636 w 5168654"/>
              <a:gd name="connsiteY13-7312" fmla="*/ 243604 h 2436046"/>
              <a:gd name="connsiteX14-7313" fmla="*/ 536636 w 5168654"/>
              <a:gd name="connsiteY14-7314" fmla="*/ 363641 h 2436046"/>
              <a:gd name="connsiteX15-7315" fmla="*/ 554288 w 5168654"/>
              <a:gd name="connsiteY15-7316" fmla="*/ 363641 h 2436046"/>
              <a:gd name="connsiteX16-7317" fmla="*/ 559589 w 5168654"/>
              <a:gd name="connsiteY16-7318" fmla="*/ 418359 h 2436046"/>
              <a:gd name="connsiteX17-7319" fmla="*/ 769649 w 5168654"/>
              <a:gd name="connsiteY17-7320" fmla="*/ 423660 h 2436046"/>
              <a:gd name="connsiteX18-7321" fmla="*/ 776710 w 5168654"/>
              <a:gd name="connsiteY18-7322" fmla="*/ 455434 h 2436046"/>
              <a:gd name="connsiteX19-7323" fmla="*/ 794363 w 5168654"/>
              <a:gd name="connsiteY19-7324" fmla="*/ 455434 h 2436046"/>
              <a:gd name="connsiteX20-7325" fmla="*/ 794363 w 5168654"/>
              <a:gd name="connsiteY20-7326" fmla="*/ 497801 h 2436046"/>
              <a:gd name="connsiteX21-7327" fmla="*/ 808485 w 5168654"/>
              <a:gd name="connsiteY21-7328" fmla="*/ 497801 h 2436046"/>
              <a:gd name="connsiteX22-7329" fmla="*/ 808485 w 5168654"/>
              <a:gd name="connsiteY22-7330" fmla="*/ 621368 h 2436046"/>
              <a:gd name="connsiteX23-7331" fmla="*/ 822607 w 5168654"/>
              <a:gd name="connsiteY23-7332" fmla="*/ 621368 h 2436046"/>
              <a:gd name="connsiteX24-7333" fmla="*/ 822607 w 5168654"/>
              <a:gd name="connsiteY24-7334" fmla="*/ 639021 h 2436046"/>
              <a:gd name="connsiteX25-7335" fmla="*/ 1045028 w 5168654"/>
              <a:gd name="connsiteY25-7336" fmla="*/ 639021 h 2436046"/>
              <a:gd name="connsiteX26-7337" fmla="*/ 1045028 w 5168654"/>
              <a:gd name="connsiteY26-7338" fmla="*/ 790832 h 2436046"/>
              <a:gd name="connsiteX27-7339" fmla="*/ 1059150 w 5168654"/>
              <a:gd name="connsiteY27-7340" fmla="*/ 790832 h 2436046"/>
              <a:gd name="connsiteX28-7341" fmla="*/ 1059150 w 5168654"/>
              <a:gd name="connsiteY28-7342" fmla="*/ 889686 h 2436046"/>
              <a:gd name="connsiteX29-7343" fmla="*/ 1083864 w 5168654"/>
              <a:gd name="connsiteY29-7344" fmla="*/ 889686 h 2436046"/>
              <a:gd name="connsiteX30-7345" fmla="*/ 1101516 w 5168654"/>
              <a:gd name="connsiteY30-7346" fmla="*/ 889686 h 2436046"/>
              <a:gd name="connsiteX31-7347" fmla="*/ 1158004 w 5168654"/>
              <a:gd name="connsiteY31-7348" fmla="*/ 889686 h 2436046"/>
              <a:gd name="connsiteX32-7349" fmla="*/ 1158004 w 5168654"/>
              <a:gd name="connsiteY32-7350" fmla="*/ 917930 h 2436046"/>
              <a:gd name="connsiteX33-7351" fmla="*/ 1302755 w 5168654"/>
              <a:gd name="connsiteY33-7352" fmla="*/ 917930 h 2436046"/>
              <a:gd name="connsiteX34-7353" fmla="*/ 1302755 w 5168654"/>
              <a:gd name="connsiteY34-7354" fmla="*/ 942644 h 2436046"/>
              <a:gd name="connsiteX35-7355" fmla="*/ 1313346 w 5168654"/>
              <a:gd name="connsiteY35-7356" fmla="*/ 942644 h 2436046"/>
              <a:gd name="connsiteX36-7357" fmla="*/ 1313346 w 5168654"/>
              <a:gd name="connsiteY36-7358" fmla="*/ 1034437 h 2436046"/>
              <a:gd name="connsiteX37-7359" fmla="*/ 1316877 w 5168654"/>
              <a:gd name="connsiteY37-7360" fmla="*/ 1034437 h 2436046"/>
              <a:gd name="connsiteX38-7361" fmla="*/ 1316877 w 5168654"/>
              <a:gd name="connsiteY38-7362" fmla="*/ 1080333 h 2436046"/>
              <a:gd name="connsiteX39-7363" fmla="*/ 1489871 w 5168654"/>
              <a:gd name="connsiteY39-7364" fmla="*/ 1080333 h 2436046"/>
              <a:gd name="connsiteX40-7365" fmla="*/ 1489871 w 5168654"/>
              <a:gd name="connsiteY40-7366" fmla="*/ 1097986 h 2436046"/>
              <a:gd name="connsiteX41-7367" fmla="*/ 1518115 w 5168654"/>
              <a:gd name="connsiteY41-7368" fmla="*/ 1097986 h 2436046"/>
              <a:gd name="connsiteX42-7369" fmla="*/ 1518115 w 5168654"/>
              <a:gd name="connsiteY42-7370" fmla="*/ 1122699 h 2436046"/>
              <a:gd name="connsiteX43-7371" fmla="*/ 1532237 w 5168654"/>
              <a:gd name="connsiteY43-7372" fmla="*/ 1122699 h 2436046"/>
              <a:gd name="connsiteX44-7373" fmla="*/ 1539298 w 5168654"/>
              <a:gd name="connsiteY44-7374" fmla="*/ 1129760 h 2436046"/>
              <a:gd name="connsiteX45-7375" fmla="*/ 1553420 w 5168654"/>
              <a:gd name="connsiteY45-7376" fmla="*/ 1143882 h 2436046"/>
              <a:gd name="connsiteX46-7377" fmla="*/ 1553420 w 5168654"/>
              <a:gd name="connsiteY46-7378" fmla="*/ 1189779 h 2436046"/>
              <a:gd name="connsiteX47-7379" fmla="*/ 1564012 w 5168654"/>
              <a:gd name="connsiteY47-7380" fmla="*/ 1189779 h 2436046"/>
              <a:gd name="connsiteX48-7381" fmla="*/ 1564012 w 5168654"/>
              <a:gd name="connsiteY48-7382" fmla="*/ 1253328 h 2436046"/>
              <a:gd name="connsiteX49-7383" fmla="*/ 1578134 w 5168654"/>
              <a:gd name="connsiteY49-7384" fmla="*/ 1253328 h 2436046"/>
              <a:gd name="connsiteX50-7385" fmla="*/ 1578134 w 5168654"/>
              <a:gd name="connsiteY50-7386" fmla="*/ 1345121 h 2436046"/>
              <a:gd name="connsiteX51-7387" fmla="*/ 1588726 w 5168654"/>
              <a:gd name="connsiteY51-7388" fmla="*/ 1345121 h 2436046"/>
              <a:gd name="connsiteX52-7389" fmla="*/ 1588726 w 5168654"/>
              <a:gd name="connsiteY52-7390" fmla="*/ 1380426 h 2436046"/>
              <a:gd name="connsiteX53-7391" fmla="*/ 1588726 w 5168654"/>
              <a:gd name="connsiteY53-7392" fmla="*/ 1393678 h 2436046"/>
              <a:gd name="connsiteX54-7393" fmla="*/ 1797025 w 5168654"/>
              <a:gd name="connsiteY54-7394" fmla="*/ 1391027 h 2436046"/>
              <a:gd name="connsiteX55-7395" fmla="*/ 1797025 w 5168654"/>
              <a:gd name="connsiteY55-7396" fmla="*/ 1472219 h 2436046"/>
              <a:gd name="connsiteX56-7397" fmla="*/ 1828800 w 5168654"/>
              <a:gd name="connsiteY56-7398" fmla="*/ 1472219 h 2436046"/>
              <a:gd name="connsiteX57-7399" fmla="*/ 1828800 w 5168654"/>
              <a:gd name="connsiteY57-7400" fmla="*/ 1489872 h 2436046"/>
              <a:gd name="connsiteX58-7401" fmla="*/ 1828800 w 5168654"/>
              <a:gd name="connsiteY58-7402" fmla="*/ 1503994 h 2436046"/>
              <a:gd name="connsiteX59-7403" fmla="*/ 1846452 w 5168654"/>
              <a:gd name="connsiteY59-7404" fmla="*/ 1503994 h 2436046"/>
              <a:gd name="connsiteX60-7405" fmla="*/ 1846452 w 5168654"/>
              <a:gd name="connsiteY60-7406" fmla="*/ 1564012 h 2436046"/>
              <a:gd name="connsiteX61-7407" fmla="*/ 1878227 w 5168654"/>
              <a:gd name="connsiteY61-7408" fmla="*/ 1564012 h 2436046"/>
              <a:gd name="connsiteX62-7409" fmla="*/ 1878227 w 5168654"/>
              <a:gd name="connsiteY62-7410" fmla="*/ 1595787 h 2436046"/>
              <a:gd name="connsiteX63-7411" fmla="*/ 2072404 w 5168654"/>
              <a:gd name="connsiteY63-7412" fmla="*/ 1595787 h 2436046"/>
              <a:gd name="connsiteX64-7413" fmla="*/ 2072404 w 5168654"/>
              <a:gd name="connsiteY64-7414" fmla="*/ 1673458 h 2436046"/>
              <a:gd name="connsiteX65-7415" fmla="*/ 2093587 w 5168654"/>
              <a:gd name="connsiteY65-7416" fmla="*/ 1673458 h 2436046"/>
              <a:gd name="connsiteX66-7417" fmla="*/ 2093587 w 5168654"/>
              <a:gd name="connsiteY66-7418" fmla="*/ 1684049 h 2436046"/>
              <a:gd name="connsiteX67-7419" fmla="*/ 2097118 w 5168654"/>
              <a:gd name="connsiteY67-7420" fmla="*/ 1684049 h 2436046"/>
              <a:gd name="connsiteX68-7421" fmla="*/ 2097118 w 5168654"/>
              <a:gd name="connsiteY68-7422" fmla="*/ 1701702 h 2436046"/>
              <a:gd name="connsiteX69-7423" fmla="*/ 2111240 w 5168654"/>
              <a:gd name="connsiteY69-7424" fmla="*/ 1701702 h 2436046"/>
              <a:gd name="connsiteX70-7425" fmla="*/ 2114770 w 5168654"/>
              <a:gd name="connsiteY70-7426" fmla="*/ 1715824 h 2436046"/>
              <a:gd name="connsiteX71-7427" fmla="*/ 2418392 w 5168654"/>
              <a:gd name="connsiteY71-7428" fmla="*/ 1715824 h 2436046"/>
              <a:gd name="connsiteX72-7429" fmla="*/ 2418393 w 5168654"/>
              <a:gd name="connsiteY72-7430" fmla="*/ 1744068 h 2436046"/>
              <a:gd name="connsiteX73-7431" fmla="*/ 2418393 w 5168654"/>
              <a:gd name="connsiteY73-7432" fmla="*/ 1744068 h 2436046"/>
              <a:gd name="connsiteX74-7433" fmla="*/ 2446637 w 5168654"/>
              <a:gd name="connsiteY74-7434" fmla="*/ 1772312 h 2436046"/>
              <a:gd name="connsiteX75-7435" fmla="*/ 2460759 w 5168654"/>
              <a:gd name="connsiteY75-7436" fmla="*/ 1772312 h 2436046"/>
              <a:gd name="connsiteX76-7437" fmla="*/ 2460759 w 5168654"/>
              <a:gd name="connsiteY76-7438" fmla="*/ 1821739 h 2436046"/>
              <a:gd name="connsiteX77-7439" fmla="*/ 2478412 w 5168654"/>
              <a:gd name="connsiteY77-7440" fmla="*/ 1821739 h 2436046"/>
              <a:gd name="connsiteX78-7441" fmla="*/ 2478412 w 5168654"/>
              <a:gd name="connsiteY78-7442" fmla="*/ 1920593 h 2436046"/>
              <a:gd name="connsiteX79-7443" fmla="*/ 2633754 w 5168654"/>
              <a:gd name="connsiteY79-7444" fmla="*/ 1920593 h 2436046"/>
              <a:gd name="connsiteX80-7445" fmla="*/ 2633754 w 5168654"/>
              <a:gd name="connsiteY80-7446" fmla="*/ 1941776 h 2436046"/>
              <a:gd name="connsiteX81-7447" fmla="*/ 2732608 w 5168654"/>
              <a:gd name="connsiteY81-7448" fmla="*/ 1941776 h 2436046"/>
              <a:gd name="connsiteX82-7449" fmla="*/ 2729036 w 5168654"/>
              <a:gd name="connsiteY82-7450" fmla="*/ 1959407 h 2436046"/>
              <a:gd name="connsiteX83-7451" fmla="*/ 2777020 w 5168654"/>
              <a:gd name="connsiteY83-7452" fmla="*/ 1963502 h 2436046"/>
              <a:gd name="connsiteX84-7453" fmla="*/ 2782035 w 5168654"/>
              <a:gd name="connsiteY84-7454" fmla="*/ 1991203 h 2436046"/>
              <a:gd name="connsiteX85-7455" fmla="*/ 2838523 w 5168654"/>
              <a:gd name="connsiteY85-7456" fmla="*/ 1991203 h 2436046"/>
              <a:gd name="connsiteX86-7457" fmla="*/ 2838523 w 5168654"/>
              <a:gd name="connsiteY86-7458" fmla="*/ 2019447 h 2436046"/>
              <a:gd name="connsiteX87-7459" fmla="*/ 2852645 w 5168654"/>
              <a:gd name="connsiteY87-7460" fmla="*/ 2019447 h 2436046"/>
              <a:gd name="connsiteX88-7461" fmla="*/ 2852645 w 5168654"/>
              <a:gd name="connsiteY88-7462" fmla="*/ 2075935 h 2436046"/>
              <a:gd name="connsiteX89-7463" fmla="*/ 3219817 w 5168654"/>
              <a:gd name="connsiteY89-7464" fmla="*/ 2075934 h 2436046"/>
              <a:gd name="connsiteX90-7465" fmla="*/ 3205695 w 5168654"/>
              <a:gd name="connsiteY90-7466" fmla="*/ 2107709 h 2436046"/>
              <a:gd name="connsiteX91-7467" fmla="*/ 3237470 w 5168654"/>
              <a:gd name="connsiteY91-7468" fmla="*/ 2118300 h 2436046"/>
              <a:gd name="connsiteX92-7469" fmla="*/ 3230409 w 5168654"/>
              <a:gd name="connsiteY92-7470" fmla="*/ 2181850 h 2436046"/>
              <a:gd name="connsiteX93-7471" fmla="*/ 3438709 w 5168654"/>
              <a:gd name="connsiteY93-7472" fmla="*/ 2181850 h 2436046"/>
              <a:gd name="connsiteX94-7473" fmla="*/ 3438709 w 5168654"/>
              <a:gd name="connsiteY94-7474" fmla="*/ 2199502 h 2436046"/>
              <a:gd name="connsiteX95-7475" fmla="*/ 3565807 w 5168654"/>
              <a:gd name="connsiteY95-7476" fmla="*/ 2199502 h 2436046"/>
              <a:gd name="connsiteX96-7477" fmla="*/ 3565807 w 5168654"/>
              <a:gd name="connsiteY96-7478" fmla="*/ 2227746 h 2436046"/>
              <a:gd name="connsiteX97-7479" fmla="*/ 3618764 w 5168654"/>
              <a:gd name="connsiteY97-7480" fmla="*/ 2227746 h 2436046"/>
              <a:gd name="connsiteX98-7481" fmla="*/ 3618764 w 5168654"/>
              <a:gd name="connsiteY98-7482" fmla="*/ 2252460 h 2436046"/>
              <a:gd name="connsiteX99-7483" fmla="*/ 3890613 w 5168654"/>
              <a:gd name="connsiteY99-7484" fmla="*/ 2252460 h 2436046"/>
              <a:gd name="connsiteX100-7485" fmla="*/ 3890613 w 5168654"/>
              <a:gd name="connsiteY100-7486" fmla="*/ 2287765 h 2436046"/>
              <a:gd name="connsiteX101-7487" fmla="*/ 3975345 w 5168654"/>
              <a:gd name="connsiteY101-7488" fmla="*/ 2287765 h 2436046"/>
              <a:gd name="connsiteX102-7489" fmla="*/ 3975345 w 5168654"/>
              <a:gd name="connsiteY102-7490" fmla="*/ 2316009 h 2436046"/>
              <a:gd name="connsiteX103-7491" fmla="*/ 4007119 w 5168654"/>
              <a:gd name="connsiteY103-7492" fmla="*/ 2316009 h 2436046"/>
              <a:gd name="connsiteX104-7493" fmla="*/ 4007119 w 5168654"/>
              <a:gd name="connsiteY104-7494" fmla="*/ 2368967 h 2436046"/>
              <a:gd name="connsiteX105-7495" fmla="*/ 4614366 w 5168654"/>
              <a:gd name="connsiteY105-7496" fmla="*/ 2368967 h 2436046"/>
              <a:gd name="connsiteX106-7497" fmla="*/ 4614366 w 5168654"/>
              <a:gd name="connsiteY106-7498" fmla="*/ 2436046 h 2436046"/>
              <a:gd name="connsiteX107-7499" fmla="*/ 5168654 w 5168654"/>
              <a:gd name="connsiteY107-7500" fmla="*/ 2436046 h 2436046"/>
              <a:gd name="connsiteX0-7501" fmla="*/ 0 w 5168654"/>
              <a:gd name="connsiteY0-7502" fmla="*/ 0 h 2436046"/>
              <a:gd name="connsiteX1-7503" fmla="*/ 144750 w 5168654"/>
              <a:gd name="connsiteY1-7504" fmla="*/ 0 h 2436046"/>
              <a:gd name="connsiteX2-7505" fmla="*/ 144750 w 5168654"/>
              <a:gd name="connsiteY2-7506" fmla="*/ 42366 h 2436046"/>
              <a:gd name="connsiteX3-7507" fmla="*/ 158872 w 5168654"/>
              <a:gd name="connsiteY3-7508" fmla="*/ 42366 h 2436046"/>
              <a:gd name="connsiteX4-7509" fmla="*/ 158872 w 5168654"/>
              <a:gd name="connsiteY4-7510" fmla="*/ 81201 h 2436046"/>
              <a:gd name="connsiteX5-7511" fmla="*/ 162403 w 5168654"/>
              <a:gd name="connsiteY5-7512" fmla="*/ 84732 h 2436046"/>
              <a:gd name="connsiteX6-7513" fmla="*/ 162403 w 5168654"/>
              <a:gd name="connsiteY6-7514" fmla="*/ 155342 h 2436046"/>
              <a:gd name="connsiteX7-7515" fmla="*/ 257726 w 5168654"/>
              <a:gd name="connsiteY7-7516" fmla="*/ 155342 h 2436046"/>
              <a:gd name="connsiteX8-7517" fmla="*/ 257726 w 5168654"/>
              <a:gd name="connsiteY8-7518" fmla="*/ 190647 h 2436046"/>
              <a:gd name="connsiteX9-7519" fmla="*/ 268318 w 5168654"/>
              <a:gd name="connsiteY9-7520" fmla="*/ 190647 h 2436046"/>
              <a:gd name="connsiteX10-7521" fmla="*/ 268318 w 5168654"/>
              <a:gd name="connsiteY10-7522" fmla="*/ 211830 h 2436046"/>
              <a:gd name="connsiteX11-7523" fmla="*/ 508392 w 5168654"/>
              <a:gd name="connsiteY11-7524" fmla="*/ 211830 h 2436046"/>
              <a:gd name="connsiteX12-7525" fmla="*/ 508392 w 5168654"/>
              <a:gd name="connsiteY12-7526" fmla="*/ 243604 h 2436046"/>
              <a:gd name="connsiteX13-7527" fmla="*/ 536636 w 5168654"/>
              <a:gd name="connsiteY13-7528" fmla="*/ 243604 h 2436046"/>
              <a:gd name="connsiteX14-7529" fmla="*/ 536636 w 5168654"/>
              <a:gd name="connsiteY14-7530" fmla="*/ 363641 h 2436046"/>
              <a:gd name="connsiteX15-7531" fmla="*/ 554288 w 5168654"/>
              <a:gd name="connsiteY15-7532" fmla="*/ 363641 h 2436046"/>
              <a:gd name="connsiteX16-7533" fmla="*/ 559589 w 5168654"/>
              <a:gd name="connsiteY16-7534" fmla="*/ 418359 h 2436046"/>
              <a:gd name="connsiteX17-7535" fmla="*/ 772299 w 5168654"/>
              <a:gd name="connsiteY17-7536" fmla="*/ 413058 h 2436046"/>
              <a:gd name="connsiteX18-7537" fmla="*/ 776710 w 5168654"/>
              <a:gd name="connsiteY18-7538" fmla="*/ 455434 h 2436046"/>
              <a:gd name="connsiteX19-7539" fmla="*/ 794363 w 5168654"/>
              <a:gd name="connsiteY19-7540" fmla="*/ 455434 h 2436046"/>
              <a:gd name="connsiteX20-7541" fmla="*/ 794363 w 5168654"/>
              <a:gd name="connsiteY20-7542" fmla="*/ 497801 h 2436046"/>
              <a:gd name="connsiteX21-7543" fmla="*/ 808485 w 5168654"/>
              <a:gd name="connsiteY21-7544" fmla="*/ 497801 h 2436046"/>
              <a:gd name="connsiteX22-7545" fmla="*/ 808485 w 5168654"/>
              <a:gd name="connsiteY22-7546" fmla="*/ 621368 h 2436046"/>
              <a:gd name="connsiteX23-7547" fmla="*/ 822607 w 5168654"/>
              <a:gd name="connsiteY23-7548" fmla="*/ 621368 h 2436046"/>
              <a:gd name="connsiteX24-7549" fmla="*/ 822607 w 5168654"/>
              <a:gd name="connsiteY24-7550" fmla="*/ 639021 h 2436046"/>
              <a:gd name="connsiteX25-7551" fmla="*/ 1045028 w 5168654"/>
              <a:gd name="connsiteY25-7552" fmla="*/ 639021 h 2436046"/>
              <a:gd name="connsiteX26-7553" fmla="*/ 1045028 w 5168654"/>
              <a:gd name="connsiteY26-7554" fmla="*/ 790832 h 2436046"/>
              <a:gd name="connsiteX27-7555" fmla="*/ 1059150 w 5168654"/>
              <a:gd name="connsiteY27-7556" fmla="*/ 790832 h 2436046"/>
              <a:gd name="connsiteX28-7557" fmla="*/ 1059150 w 5168654"/>
              <a:gd name="connsiteY28-7558" fmla="*/ 889686 h 2436046"/>
              <a:gd name="connsiteX29-7559" fmla="*/ 1083864 w 5168654"/>
              <a:gd name="connsiteY29-7560" fmla="*/ 889686 h 2436046"/>
              <a:gd name="connsiteX30-7561" fmla="*/ 1101516 w 5168654"/>
              <a:gd name="connsiteY30-7562" fmla="*/ 889686 h 2436046"/>
              <a:gd name="connsiteX31-7563" fmla="*/ 1158004 w 5168654"/>
              <a:gd name="connsiteY31-7564" fmla="*/ 889686 h 2436046"/>
              <a:gd name="connsiteX32-7565" fmla="*/ 1158004 w 5168654"/>
              <a:gd name="connsiteY32-7566" fmla="*/ 917930 h 2436046"/>
              <a:gd name="connsiteX33-7567" fmla="*/ 1302755 w 5168654"/>
              <a:gd name="connsiteY33-7568" fmla="*/ 917930 h 2436046"/>
              <a:gd name="connsiteX34-7569" fmla="*/ 1302755 w 5168654"/>
              <a:gd name="connsiteY34-7570" fmla="*/ 942644 h 2436046"/>
              <a:gd name="connsiteX35-7571" fmla="*/ 1313346 w 5168654"/>
              <a:gd name="connsiteY35-7572" fmla="*/ 942644 h 2436046"/>
              <a:gd name="connsiteX36-7573" fmla="*/ 1313346 w 5168654"/>
              <a:gd name="connsiteY36-7574" fmla="*/ 1034437 h 2436046"/>
              <a:gd name="connsiteX37-7575" fmla="*/ 1316877 w 5168654"/>
              <a:gd name="connsiteY37-7576" fmla="*/ 1034437 h 2436046"/>
              <a:gd name="connsiteX38-7577" fmla="*/ 1316877 w 5168654"/>
              <a:gd name="connsiteY38-7578" fmla="*/ 1080333 h 2436046"/>
              <a:gd name="connsiteX39-7579" fmla="*/ 1489871 w 5168654"/>
              <a:gd name="connsiteY39-7580" fmla="*/ 1080333 h 2436046"/>
              <a:gd name="connsiteX40-7581" fmla="*/ 1489871 w 5168654"/>
              <a:gd name="connsiteY40-7582" fmla="*/ 1097986 h 2436046"/>
              <a:gd name="connsiteX41-7583" fmla="*/ 1518115 w 5168654"/>
              <a:gd name="connsiteY41-7584" fmla="*/ 1097986 h 2436046"/>
              <a:gd name="connsiteX42-7585" fmla="*/ 1518115 w 5168654"/>
              <a:gd name="connsiteY42-7586" fmla="*/ 1122699 h 2436046"/>
              <a:gd name="connsiteX43-7587" fmla="*/ 1532237 w 5168654"/>
              <a:gd name="connsiteY43-7588" fmla="*/ 1122699 h 2436046"/>
              <a:gd name="connsiteX44-7589" fmla="*/ 1539298 w 5168654"/>
              <a:gd name="connsiteY44-7590" fmla="*/ 1129760 h 2436046"/>
              <a:gd name="connsiteX45-7591" fmla="*/ 1553420 w 5168654"/>
              <a:gd name="connsiteY45-7592" fmla="*/ 1143882 h 2436046"/>
              <a:gd name="connsiteX46-7593" fmla="*/ 1553420 w 5168654"/>
              <a:gd name="connsiteY46-7594" fmla="*/ 1189779 h 2436046"/>
              <a:gd name="connsiteX47-7595" fmla="*/ 1564012 w 5168654"/>
              <a:gd name="connsiteY47-7596" fmla="*/ 1189779 h 2436046"/>
              <a:gd name="connsiteX48-7597" fmla="*/ 1564012 w 5168654"/>
              <a:gd name="connsiteY48-7598" fmla="*/ 1253328 h 2436046"/>
              <a:gd name="connsiteX49-7599" fmla="*/ 1578134 w 5168654"/>
              <a:gd name="connsiteY49-7600" fmla="*/ 1253328 h 2436046"/>
              <a:gd name="connsiteX50-7601" fmla="*/ 1578134 w 5168654"/>
              <a:gd name="connsiteY50-7602" fmla="*/ 1345121 h 2436046"/>
              <a:gd name="connsiteX51-7603" fmla="*/ 1588726 w 5168654"/>
              <a:gd name="connsiteY51-7604" fmla="*/ 1345121 h 2436046"/>
              <a:gd name="connsiteX52-7605" fmla="*/ 1588726 w 5168654"/>
              <a:gd name="connsiteY52-7606" fmla="*/ 1380426 h 2436046"/>
              <a:gd name="connsiteX53-7607" fmla="*/ 1588726 w 5168654"/>
              <a:gd name="connsiteY53-7608" fmla="*/ 1393678 h 2436046"/>
              <a:gd name="connsiteX54-7609" fmla="*/ 1797025 w 5168654"/>
              <a:gd name="connsiteY54-7610" fmla="*/ 1391027 h 2436046"/>
              <a:gd name="connsiteX55-7611" fmla="*/ 1797025 w 5168654"/>
              <a:gd name="connsiteY55-7612" fmla="*/ 1472219 h 2436046"/>
              <a:gd name="connsiteX56-7613" fmla="*/ 1828800 w 5168654"/>
              <a:gd name="connsiteY56-7614" fmla="*/ 1472219 h 2436046"/>
              <a:gd name="connsiteX57-7615" fmla="*/ 1828800 w 5168654"/>
              <a:gd name="connsiteY57-7616" fmla="*/ 1489872 h 2436046"/>
              <a:gd name="connsiteX58-7617" fmla="*/ 1828800 w 5168654"/>
              <a:gd name="connsiteY58-7618" fmla="*/ 1503994 h 2436046"/>
              <a:gd name="connsiteX59-7619" fmla="*/ 1846452 w 5168654"/>
              <a:gd name="connsiteY59-7620" fmla="*/ 1503994 h 2436046"/>
              <a:gd name="connsiteX60-7621" fmla="*/ 1846452 w 5168654"/>
              <a:gd name="connsiteY60-7622" fmla="*/ 1564012 h 2436046"/>
              <a:gd name="connsiteX61-7623" fmla="*/ 1878227 w 5168654"/>
              <a:gd name="connsiteY61-7624" fmla="*/ 1564012 h 2436046"/>
              <a:gd name="connsiteX62-7625" fmla="*/ 1878227 w 5168654"/>
              <a:gd name="connsiteY62-7626" fmla="*/ 1595787 h 2436046"/>
              <a:gd name="connsiteX63-7627" fmla="*/ 2072404 w 5168654"/>
              <a:gd name="connsiteY63-7628" fmla="*/ 1595787 h 2436046"/>
              <a:gd name="connsiteX64-7629" fmla="*/ 2072404 w 5168654"/>
              <a:gd name="connsiteY64-7630" fmla="*/ 1673458 h 2436046"/>
              <a:gd name="connsiteX65-7631" fmla="*/ 2093587 w 5168654"/>
              <a:gd name="connsiteY65-7632" fmla="*/ 1673458 h 2436046"/>
              <a:gd name="connsiteX66-7633" fmla="*/ 2093587 w 5168654"/>
              <a:gd name="connsiteY66-7634" fmla="*/ 1684049 h 2436046"/>
              <a:gd name="connsiteX67-7635" fmla="*/ 2097118 w 5168654"/>
              <a:gd name="connsiteY67-7636" fmla="*/ 1684049 h 2436046"/>
              <a:gd name="connsiteX68-7637" fmla="*/ 2097118 w 5168654"/>
              <a:gd name="connsiteY68-7638" fmla="*/ 1701702 h 2436046"/>
              <a:gd name="connsiteX69-7639" fmla="*/ 2111240 w 5168654"/>
              <a:gd name="connsiteY69-7640" fmla="*/ 1701702 h 2436046"/>
              <a:gd name="connsiteX70-7641" fmla="*/ 2114770 w 5168654"/>
              <a:gd name="connsiteY70-7642" fmla="*/ 1715824 h 2436046"/>
              <a:gd name="connsiteX71-7643" fmla="*/ 2418392 w 5168654"/>
              <a:gd name="connsiteY71-7644" fmla="*/ 1715824 h 2436046"/>
              <a:gd name="connsiteX72-7645" fmla="*/ 2418393 w 5168654"/>
              <a:gd name="connsiteY72-7646" fmla="*/ 1744068 h 2436046"/>
              <a:gd name="connsiteX73-7647" fmla="*/ 2418393 w 5168654"/>
              <a:gd name="connsiteY73-7648" fmla="*/ 1744068 h 2436046"/>
              <a:gd name="connsiteX74-7649" fmla="*/ 2446637 w 5168654"/>
              <a:gd name="connsiteY74-7650" fmla="*/ 1772312 h 2436046"/>
              <a:gd name="connsiteX75-7651" fmla="*/ 2460759 w 5168654"/>
              <a:gd name="connsiteY75-7652" fmla="*/ 1772312 h 2436046"/>
              <a:gd name="connsiteX76-7653" fmla="*/ 2460759 w 5168654"/>
              <a:gd name="connsiteY76-7654" fmla="*/ 1821739 h 2436046"/>
              <a:gd name="connsiteX77-7655" fmla="*/ 2478412 w 5168654"/>
              <a:gd name="connsiteY77-7656" fmla="*/ 1821739 h 2436046"/>
              <a:gd name="connsiteX78-7657" fmla="*/ 2478412 w 5168654"/>
              <a:gd name="connsiteY78-7658" fmla="*/ 1920593 h 2436046"/>
              <a:gd name="connsiteX79-7659" fmla="*/ 2633754 w 5168654"/>
              <a:gd name="connsiteY79-7660" fmla="*/ 1920593 h 2436046"/>
              <a:gd name="connsiteX80-7661" fmla="*/ 2633754 w 5168654"/>
              <a:gd name="connsiteY80-7662" fmla="*/ 1941776 h 2436046"/>
              <a:gd name="connsiteX81-7663" fmla="*/ 2732608 w 5168654"/>
              <a:gd name="connsiteY81-7664" fmla="*/ 1941776 h 2436046"/>
              <a:gd name="connsiteX82-7665" fmla="*/ 2729036 w 5168654"/>
              <a:gd name="connsiteY82-7666" fmla="*/ 1959407 h 2436046"/>
              <a:gd name="connsiteX83-7667" fmla="*/ 2777020 w 5168654"/>
              <a:gd name="connsiteY83-7668" fmla="*/ 1963502 h 2436046"/>
              <a:gd name="connsiteX84-7669" fmla="*/ 2782035 w 5168654"/>
              <a:gd name="connsiteY84-7670" fmla="*/ 1991203 h 2436046"/>
              <a:gd name="connsiteX85-7671" fmla="*/ 2838523 w 5168654"/>
              <a:gd name="connsiteY85-7672" fmla="*/ 1991203 h 2436046"/>
              <a:gd name="connsiteX86-7673" fmla="*/ 2838523 w 5168654"/>
              <a:gd name="connsiteY86-7674" fmla="*/ 2019447 h 2436046"/>
              <a:gd name="connsiteX87-7675" fmla="*/ 2852645 w 5168654"/>
              <a:gd name="connsiteY87-7676" fmla="*/ 2019447 h 2436046"/>
              <a:gd name="connsiteX88-7677" fmla="*/ 2852645 w 5168654"/>
              <a:gd name="connsiteY88-7678" fmla="*/ 2075935 h 2436046"/>
              <a:gd name="connsiteX89-7679" fmla="*/ 3219817 w 5168654"/>
              <a:gd name="connsiteY89-7680" fmla="*/ 2075934 h 2436046"/>
              <a:gd name="connsiteX90-7681" fmla="*/ 3205695 w 5168654"/>
              <a:gd name="connsiteY90-7682" fmla="*/ 2107709 h 2436046"/>
              <a:gd name="connsiteX91-7683" fmla="*/ 3237470 w 5168654"/>
              <a:gd name="connsiteY91-7684" fmla="*/ 2118300 h 2436046"/>
              <a:gd name="connsiteX92-7685" fmla="*/ 3230409 w 5168654"/>
              <a:gd name="connsiteY92-7686" fmla="*/ 2181850 h 2436046"/>
              <a:gd name="connsiteX93-7687" fmla="*/ 3438709 w 5168654"/>
              <a:gd name="connsiteY93-7688" fmla="*/ 2181850 h 2436046"/>
              <a:gd name="connsiteX94-7689" fmla="*/ 3438709 w 5168654"/>
              <a:gd name="connsiteY94-7690" fmla="*/ 2199502 h 2436046"/>
              <a:gd name="connsiteX95-7691" fmla="*/ 3565807 w 5168654"/>
              <a:gd name="connsiteY95-7692" fmla="*/ 2199502 h 2436046"/>
              <a:gd name="connsiteX96-7693" fmla="*/ 3565807 w 5168654"/>
              <a:gd name="connsiteY96-7694" fmla="*/ 2227746 h 2436046"/>
              <a:gd name="connsiteX97-7695" fmla="*/ 3618764 w 5168654"/>
              <a:gd name="connsiteY97-7696" fmla="*/ 2227746 h 2436046"/>
              <a:gd name="connsiteX98-7697" fmla="*/ 3618764 w 5168654"/>
              <a:gd name="connsiteY98-7698" fmla="*/ 2252460 h 2436046"/>
              <a:gd name="connsiteX99-7699" fmla="*/ 3890613 w 5168654"/>
              <a:gd name="connsiteY99-7700" fmla="*/ 2252460 h 2436046"/>
              <a:gd name="connsiteX100-7701" fmla="*/ 3890613 w 5168654"/>
              <a:gd name="connsiteY100-7702" fmla="*/ 2287765 h 2436046"/>
              <a:gd name="connsiteX101-7703" fmla="*/ 3975345 w 5168654"/>
              <a:gd name="connsiteY101-7704" fmla="*/ 2287765 h 2436046"/>
              <a:gd name="connsiteX102-7705" fmla="*/ 3975345 w 5168654"/>
              <a:gd name="connsiteY102-7706" fmla="*/ 2316009 h 2436046"/>
              <a:gd name="connsiteX103-7707" fmla="*/ 4007119 w 5168654"/>
              <a:gd name="connsiteY103-7708" fmla="*/ 2316009 h 2436046"/>
              <a:gd name="connsiteX104-7709" fmla="*/ 4007119 w 5168654"/>
              <a:gd name="connsiteY104-7710" fmla="*/ 2368967 h 2436046"/>
              <a:gd name="connsiteX105-7711" fmla="*/ 4614366 w 5168654"/>
              <a:gd name="connsiteY105-7712" fmla="*/ 2368967 h 2436046"/>
              <a:gd name="connsiteX106-7713" fmla="*/ 4614366 w 5168654"/>
              <a:gd name="connsiteY106-7714" fmla="*/ 2436046 h 2436046"/>
              <a:gd name="connsiteX107-7715" fmla="*/ 5168654 w 5168654"/>
              <a:gd name="connsiteY107-7716" fmla="*/ 2436046 h 2436046"/>
              <a:gd name="connsiteX0-7717" fmla="*/ 0 w 5168654"/>
              <a:gd name="connsiteY0-7718" fmla="*/ 0 h 2436046"/>
              <a:gd name="connsiteX1-7719" fmla="*/ 144750 w 5168654"/>
              <a:gd name="connsiteY1-7720" fmla="*/ 0 h 2436046"/>
              <a:gd name="connsiteX2-7721" fmla="*/ 144750 w 5168654"/>
              <a:gd name="connsiteY2-7722" fmla="*/ 42366 h 2436046"/>
              <a:gd name="connsiteX3-7723" fmla="*/ 158872 w 5168654"/>
              <a:gd name="connsiteY3-7724" fmla="*/ 42366 h 2436046"/>
              <a:gd name="connsiteX4-7725" fmla="*/ 158872 w 5168654"/>
              <a:gd name="connsiteY4-7726" fmla="*/ 81201 h 2436046"/>
              <a:gd name="connsiteX5-7727" fmla="*/ 162403 w 5168654"/>
              <a:gd name="connsiteY5-7728" fmla="*/ 84732 h 2436046"/>
              <a:gd name="connsiteX6-7729" fmla="*/ 162403 w 5168654"/>
              <a:gd name="connsiteY6-7730" fmla="*/ 155342 h 2436046"/>
              <a:gd name="connsiteX7-7731" fmla="*/ 257726 w 5168654"/>
              <a:gd name="connsiteY7-7732" fmla="*/ 155342 h 2436046"/>
              <a:gd name="connsiteX8-7733" fmla="*/ 257726 w 5168654"/>
              <a:gd name="connsiteY8-7734" fmla="*/ 190647 h 2436046"/>
              <a:gd name="connsiteX9-7735" fmla="*/ 268318 w 5168654"/>
              <a:gd name="connsiteY9-7736" fmla="*/ 190647 h 2436046"/>
              <a:gd name="connsiteX10-7737" fmla="*/ 268318 w 5168654"/>
              <a:gd name="connsiteY10-7738" fmla="*/ 222432 h 2436046"/>
              <a:gd name="connsiteX11-7739" fmla="*/ 508392 w 5168654"/>
              <a:gd name="connsiteY11-7740" fmla="*/ 211830 h 2436046"/>
              <a:gd name="connsiteX12-7741" fmla="*/ 508392 w 5168654"/>
              <a:gd name="connsiteY12-7742" fmla="*/ 243604 h 2436046"/>
              <a:gd name="connsiteX13-7743" fmla="*/ 536636 w 5168654"/>
              <a:gd name="connsiteY13-7744" fmla="*/ 243604 h 2436046"/>
              <a:gd name="connsiteX14-7745" fmla="*/ 536636 w 5168654"/>
              <a:gd name="connsiteY14-7746" fmla="*/ 363641 h 2436046"/>
              <a:gd name="connsiteX15-7747" fmla="*/ 554288 w 5168654"/>
              <a:gd name="connsiteY15-7748" fmla="*/ 363641 h 2436046"/>
              <a:gd name="connsiteX16-7749" fmla="*/ 559589 w 5168654"/>
              <a:gd name="connsiteY16-7750" fmla="*/ 418359 h 2436046"/>
              <a:gd name="connsiteX17-7751" fmla="*/ 772299 w 5168654"/>
              <a:gd name="connsiteY17-7752" fmla="*/ 413058 h 2436046"/>
              <a:gd name="connsiteX18-7753" fmla="*/ 776710 w 5168654"/>
              <a:gd name="connsiteY18-7754" fmla="*/ 455434 h 2436046"/>
              <a:gd name="connsiteX19-7755" fmla="*/ 794363 w 5168654"/>
              <a:gd name="connsiteY19-7756" fmla="*/ 455434 h 2436046"/>
              <a:gd name="connsiteX20-7757" fmla="*/ 794363 w 5168654"/>
              <a:gd name="connsiteY20-7758" fmla="*/ 497801 h 2436046"/>
              <a:gd name="connsiteX21-7759" fmla="*/ 808485 w 5168654"/>
              <a:gd name="connsiteY21-7760" fmla="*/ 497801 h 2436046"/>
              <a:gd name="connsiteX22-7761" fmla="*/ 808485 w 5168654"/>
              <a:gd name="connsiteY22-7762" fmla="*/ 621368 h 2436046"/>
              <a:gd name="connsiteX23-7763" fmla="*/ 822607 w 5168654"/>
              <a:gd name="connsiteY23-7764" fmla="*/ 621368 h 2436046"/>
              <a:gd name="connsiteX24-7765" fmla="*/ 822607 w 5168654"/>
              <a:gd name="connsiteY24-7766" fmla="*/ 639021 h 2436046"/>
              <a:gd name="connsiteX25-7767" fmla="*/ 1045028 w 5168654"/>
              <a:gd name="connsiteY25-7768" fmla="*/ 639021 h 2436046"/>
              <a:gd name="connsiteX26-7769" fmla="*/ 1045028 w 5168654"/>
              <a:gd name="connsiteY26-7770" fmla="*/ 790832 h 2436046"/>
              <a:gd name="connsiteX27-7771" fmla="*/ 1059150 w 5168654"/>
              <a:gd name="connsiteY27-7772" fmla="*/ 790832 h 2436046"/>
              <a:gd name="connsiteX28-7773" fmla="*/ 1059150 w 5168654"/>
              <a:gd name="connsiteY28-7774" fmla="*/ 889686 h 2436046"/>
              <a:gd name="connsiteX29-7775" fmla="*/ 1083864 w 5168654"/>
              <a:gd name="connsiteY29-7776" fmla="*/ 889686 h 2436046"/>
              <a:gd name="connsiteX30-7777" fmla="*/ 1101516 w 5168654"/>
              <a:gd name="connsiteY30-7778" fmla="*/ 889686 h 2436046"/>
              <a:gd name="connsiteX31-7779" fmla="*/ 1158004 w 5168654"/>
              <a:gd name="connsiteY31-7780" fmla="*/ 889686 h 2436046"/>
              <a:gd name="connsiteX32-7781" fmla="*/ 1158004 w 5168654"/>
              <a:gd name="connsiteY32-7782" fmla="*/ 917930 h 2436046"/>
              <a:gd name="connsiteX33-7783" fmla="*/ 1302755 w 5168654"/>
              <a:gd name="connsiteY33-7784" fmla="*/ 917930 h 2436046"/>
              <a:gd name="connsiteX34-7785" fmla="*/ 1302755 w 5168654"/>
              <a:gd name="connsiteY34-7786" fmla="*/ 942644 h 2436046"/>
              <a:gd name="connsiteX35-7787" fmla="*/ 1313346 w 5168654"/>
              <a:gd name="connsiteY35-7788" fmla="*/ 942644 h 2436046"/>
              <a:gd name="connsiteX36-7789" fmla="*/ 1313346 w 5168654"/>
              <a:gd name="connsiteY36-7790" fmla="*/ 1034437 h 2436046"/>
              <a:gd name="connsiteX37-7791" fmla="*/ 1316877 w 5168654"/>
              <a:gd name="connsiteY37-7792" fmla="*/ 1034437 h 2436046"/>
              <a:gd name="connsiteX38-7793" fmla="*/ 1316877 w 5168654"/>
              <a:gd name="connsiteY38-7794" fmla="*/ 1080333 h 2436046"/>
              <a:gd name="connsiteX39-7795" fmla="*/ 1489871 w 5168654"/>
              <a:gd name="connsiteY39-7796" fmla="*/ 1080333 h 2436046"/>
              <a:gd name="connsiteX40-7797" fmla="*/ 1489871 w 5168654"/>
              <a:gd name="connsiteY40-7798" fmla="*/ 1097986 h 2436046"/>
              <a:gd name="connsiteX41-7799" fmla="*/ 1518115 w 5168654"/>
              <a:gd name="connsiteY41-7800" fmla="*/ 1097986 h 2436046"/>
              <a:gd name="connsiteX42-7801" fmla="*/ 1518115 w 5168654"/>
              <a:gd name="connsiteY42-7802" fmla="*/ 1122699 h 2436046"/>
              <a:gd name="connsiteX43-7803" fmla="*/ 1532237 w 5168654"/>
              <a:gd name="connsiteY43-7804" fmla="*/ 1122699 h 2436046"/>
              <a:gd name="connsiteX44-7805" fmla="*/ 1539298 w 5168654"/>
              <a:gd name="connsiteY44-7806" fmla="*/ 1129760 h 2436046"/>
              <a:gd name="connsiteX45-7807" fmla="*/ 1553420 w 5168654"/>
              <a:gd name="connsiteY45-7808" fmla="*/ 1143882 h 2436046"/>
              <a:gd name="connsiteX46-7809" fmla="*/ 1553420 w 5168654"/>
              <a:gd name="connsiteY46-7810" fmla="*/ 1189779 h 2436046"/>
              <a:gd name="connsiteX47-7811" fmla="*/ 1564012 w 5168654"/>
              <a:gd name="connsiteY47-7812" fmla="*/ 1189779 h 2436046"/>
              <a:gd name="connsiteX48-7813" fmla="*/ 1564012 w 5168654"/>
              <a:gd name="connsiteY48-7814" fmla="*/ 1253328 h 2436046"/>
              <a:gd name="connsiteX49-7815" fmla="*/ 1578134 w 5168654"/>
              <a:gd name="connsiteY49-7816" fmla="*/ 1253328 h 2436046"/>
              <a:gd name="connsiteX50-7817" fmla="*/ 1578134 w 5168654"/>
              <a:gd name="connsiteY50-7818" fmla="*/ 1345121 h 2436046"/>
              <a:gd name="connsiteX51-7819" fmla="*/ 1588726 w 5168654"/>
              <a:gd name="connsiteY51-7820" fmla="*/ 1345121 h 2436046"/>
              <a:gd name="connsiteX52-7821" fmla="*/ 1588726 w 5168654"/>
              <a:gd name="connsiteY52-7822" fmla="*/ 1380426 h 2436046"/>
              <a:gd name="connsiteX53-7823" fmla="*/ 1588726 w 5168654"/>
              <a:gd name="connsiteY53-7824" fmla="*/ 1393678 h 2436046"/>
              <a:gd name="connsiteX54-7825" fmla="*/ 1797025 w 5168654"/>
              <a:gd name="connsiteY54-7826" fmla="*/ 1391027 h 2436046"/>
              <a:gd name="connsiteX55-7827" fmla="*/ 1797025 w 5168654"/>
              <a:gd name="connsiteY55-7828" fmla="*/ 1472219 h 2436046"/>
              <a:gd name="connsiteX56-7829" fmla="*/ 1828800 w 5168654"/>
              <a:gd name="connsiteY56-7830" fmla="*/ 1472219 h 2436046"/>
              <a:gd name="connsiteX57-7831" fmla="*/ 1828800 w 5168654"/>
              <a:gd name="connsiteY57-7832" fmla="*/ 1489872 h 2436046"/>
              <a:gd name="connsiteX58-7833" fmla="*/ 1828800 w 5168654"/>
              <a:gd name="connsiteY58-7834" fmla="*/ 1503994 h 2436046"/>
              <a:gd name="connsiteX59-7835" fmla="*/ 1846452 w 5168654"/>
              <a:gd name="connsiteY59-7836" fmla="*/ 1503994 h 2436046"/>
              <a:gd name="connsiteX60-7837" fmla="*/ 1846452 w 5168654"/>
              <a:gd name="connsiteY60-7838" fmla="*/ 1564012 h 2436046"/>
              <a:gd name="connsiteX61-7839" fmla="*/ 1878227 w 5168654"/>
              <a:gd name="connsiteY61-7840" fmla="*/ 1564012 h 2436046"/>
              <a:gd name="connsiteX62-7841" fmla="*/ 1878227 w 5168654"/>
              <a:gd name="connsiteY62-7842" fmla="*/ 1595787 h 2436046"/>
              <a:gd name="connsiteX63-7843" fmla="*/ 2072404 w 5168654"/>
              <a:gd name="connsiteY63-7844" fmla="*/ 1595787 h 2436046"/>
              <a:gd name="connsiteX64-7845" fmla="*/ 2072404 w 5168654"/>
              <a:gd name="connsiteY64-7846" fmla="*/ 1673458 h 2436046"/>
              <a:gd name="connsiteX65-7847" fmla="*/ 2093587 w 5168654"/>
              <a:gd name="connsiteY65-7848" fmla="*/ 1673458 h 2436046"/>
              <a:gd name="connsiteX66-7849" fmla="*/ 2093587 w 5168654"/>
              <a:gd name="connsiteY66-7850" fmla="*/ 1684049 h 2436046"/>
              <a:gd name="connsiteX67-7851" fmla="*/ 2097118 w 5168654"/>
              <a:gd name="connsiteY67-7852" fmla="*/ 1684049 h 2436046"/>
              <a:gd name="connsiteX68-7853" fmla="*/ 2097118 w 5168654"/>
              <a:gd name="connsiteY68-7854" fmla="*/ 1701702 h 2436046"/>
              <a:gd name="connsiteX69-7855" fmla="*/ 2111240 w 5168654"/>
              <a:gd name="connsiteY69-7856" fmla="*/ 1701702 h 2436046"/>
              <a:gd name="connsiteX70-7857" fmla="*/ 2114770 w 5168654"/>
              <a:gd name="connsiteY70-7858" fmla="*/ 1715824 h 2436046"/>
              <a:gd name="connsiteX71-7859" fmla="*/ 2418392 w 5168654"/>
              <a:gd name="connsiteY71-7860" fmla="*/ 1715824 h 2436046"/>
              <a:gd name="connsiteX72-7861" fmla="*/ 2418393 w 5168654"/>
              <a:gd name="connsiteY72-7862" fmla="*/ 1744068 h 2436046"/>
              <a:gd name="connsiteX73-7863" fmla="*/ 2418393 w 5168654"/>
              <a:gd name="connsiteY73-7864" fmla="*/ 1744068 h 2436046"/>
              <a:gd name="connsiteX74-7865" fmla="*/ 2446637 w 5168654"/>
              <a:gd name="connsiteY74-7866" fmla="*/ 1772312 h 2436046"/>
              <a:gd name="connsiteX75-7867" fmla="*/ 2460759 w 5168654"/>
              <a:gd name="connsiteY75-7868" fmla="*/ 1772312 h 2436046"/>
              <a:gd name="connsiteX76-7869" fmla="*/ 2460759 w 5168654"/>
              <a:gd name="connsiteY76-7870" fmla="*/ 1821739 h 2436046"/>
              <a:gd name="connsiteX77-7871" fmla="*/ 2478412 w 5168654"/>
              <a:gd name="connsiteY77-7872" fmla="*/ 1821739 h 2436046"/>
              <a:gd name="connsiteX78-7873" fmla="*/ 2478412 w 5168654"/>
              <a:gd name="connsiteY78-7874" fmla="*/ 1920593 h 2436046"/>
              <a:gd name="connsiteX79-7875" fmla="*/ 2633754 w 5168654"/>
              <a:gd name="connsiteY79-7876" fmla="*/ 1920593 h 2436046"/>
              <a:gd name="connsiteX80-7877" fmla="*/ 2633754 w 5168654"/>
              <a:gd name="connsiteY80-7878" fmla="*/ 1941776 h 2436046"/>
              <a:gd name="connsiteX81-7879" fmla="*/ 2732608 w 5168654"/>
              <a:gd name="connsiteY81-7880" fmla="*/ 1941776 h 2436046"/>
              <a:gd name="connsiteX82-7881" fmla="*/ 2729036 w 5168654"/>
              <a:gd name="connsiteY82-7882" fmla="*/ 1959407 h 2436046"/>
              <a:gd name="connsiteX83-7883" fmla="*/ 2777020 w 5168654"/>
              <a:gd name="connsiteY83-7884" fmla="*/ 1963502 h 2436046"/>
              <a:gd name="connsiteX84-7885" fmla="*/ 2782035 w 5168654"/>
              <a:gd name="connsiteY84-7886" fmla="*/ 1991203 h 2436046"/>
              <a:gd name="connsiteX85-7887" fmla="*/ 2838523 w 5168654"/>
              <a:gd name="connsiteY85-7888" fmla="*/ 1991203 h 2436046"/>
              <a:gd name="connsiteX86-7889" fmla="*/ 2838523 w 5168654"/>
              <a:gd name="connsiteY86-7890" fmla="*/ 2019447 h 2436046"/>
              <a:gd name="connsiteX87-7891" fmla="*/ 2852645 w 5168654"/>
              <a:gd name="connsiteY87-7892" fmla="*/ 2019447 h 2436046"/>
              <a:gd name="connsiteX88-7893" fmla="*/ 2852645 w 5168654"/>
              <a:gd name="connsiteY88-7894" fmla="*/ 2075935 h 2436046"/>
              <a:gd name="connsiteX89-7895" fmla="*/ 3219817 w 5168654"/>
              <a:gd name="connsiteY89-7896" fmla="*/ 2075934 h 2436046"/>
              <a:gd name="connsiteX90-7897" fmla="*/ 3205695 w 5168654"/>
              <a:gd name="connsiteY90-7898" fmla="*/ 2107709 h 2436046"/>
              <a:gd name="connsiteX91-7899" fmla="*/ 3237470 w 5168654"/>
              <a:gd name="connsiteY91-7900" fmla="*/ 2118300 h 2436046"/>
              <a:gd name="connsiteX92-7901" fmla="*/ 3230409 w 5168654"/>
              <a:gd name="connsiteY92-7902" fmla="*/ 2181850 h 2436046"/>
              <a:gd name="connsiteX93-7903" fmla="*/ 3438709 w 5168654"/>
              <a:gd name="connsiteY93-7904" fmla="*/ 2181850 h 2436046"/>
              <a:gd name="connsiteX94-7905" fmla="*/ 3438709 w 5168654"/>
              <a:gd name="connsiteY94-7906" fmla="*/ 2199502 h 2436046"/>
              <a:gd name="connsiteX95-7907" fmla="*/ 3565807 w 5168654"/>
              <a:gd name="connsiteY95-7908" fmla="*/ 2199502 h 2436046"/>
              <a:gd name="connsiteX96-7909" fmla="*/ 3565807 w 5168654"/>
              <a:gd name="connsiteY96-7910" fmla="*/ 2227746 h 2436046"/>
              <a:gd name="connsiteX97-7911" fmla="*/ 3618764 w 5168654"/>
              <a:gd name="connsiteY97-7912" fmla="*/ 2227746 h 2436046"/>
              <a:gd name="connsiteX98-7913" fmla="*/ 3618764 w 5168654"/>
              <a:gd name="connsiteY98-7914" fmla="*/ 2252460 h 2436046"/>
              <a:gd name="connsiteX99-7915" fmla="*/ 3890613 w 5168654"/>
              <a:gd name="connsiteY99-7916" fmla="*/ 2252460 h 2436046"/>
              <a:gd name="connsiteX100-7917" fmla="*/ 3890613 w 5168654"/>
              <a:gd name="connsiteY100-7918" fmla="*/ 2287765 h 2436046"/>
              <a:gd name="connsiteX101-7919" fmla="*/ 3975345 w 5168654"/>
              <a:gd name="connsiteY101-7920" fmla="*/ 2287765 h 2436046"/>
              <a:gd name="connsiteX102-7921" fmla="*/ 3975345 w 5168654"/>
              <a:gd name="connsiteY102-7922" fmla="*/ 2316009 h 2436046"/>
              <a:gd name="connsiteX103-7923" fmla="*/ 4007119 w 5168654"/>
              <a:gd name="connsiteY103-7924" fmla="*/ 2316009 h 2436046"/>
              <a:gd name="connsiteX104-7925" fmla="*/ 4007119 w 5168654"/>
              <a:gd name="connsiteY104-7926" fmla="*/ 2368967 h 2436046"/>
              <a:gd name="connsiteX105-7927" fmla="*/ 4614366 w 5168654"/>
              <a:gd name="connsiteY105-7928" fmla="*/ 2368967 h 2436046"/>
              <a:gd name="connsiteX106-7929" fmla="*/ 4614366 w 5168654"/>
              <a:gd name="connsiteY106-7930" fmla="*/ 2436046 h 2436046"/>
              <a:gd name="connsiteX107-7931" fmla="*/ 5168654 w 5168654"/>
              <a:gd name="connsiteY107-7932" fmla="*/ 2436046 h 2436046"/>
              <a:gd name="connsiteX0-7933" fmla="*/ 0 w 5168654"/>
              <a:gd name="connsiteY0-7934" fmla="*/ 0 h 2436046"/>
              <a:gd name="connsiteX1-7935" fmla="*/ 144750 w 5168654"/>
              <a:gd name="connsiteY1-7936" fmla="*/ 0 h 2436046"/>
              <a:gd name="connsiteX2-7937" fmla="*/ 144750 w 5168654"/>
              <a:gd name="connsiteY2-7938" fmla="*/ 42366 h 2436046"/>
              <a:gd name="connsiteX3-7939" fmla="*/ 158872 w 5168654"/>
              <a:gd name="connsiteY3-7940" fmla="*/ 42366 h 2436046"/>
              <a:gd name="connsiteX4-7941" fmla="*/ 158872 w 5168654"/>
              <a:gd name="connsiteY4-7942" fmla="*/ 81201 h 2436046"/>
              <a:gd name="connsiteX5-7943" fmla="*/ 162403 w 5168654"/>
              <a:gd name="connsiteY5-7944" fmla="*/ 84732 h 2436046"/>
              <a:gd name="connsiteX6-7945" fmla="*/ 162403 w 5168654"/>
              <a:gd name="connsiteY6-7946" fmla="*/ 155342 h 2436046"/>
              <a:gd name="connsiteX7-7947" fmla="*/ 257726 w 5168654"/>
              <a:gd name="connsiteY7-7948" fmla="*/ 155342 h 2436046"/>
              <a:gd name="connsiteX8-7949" fmla="*/ 257726 w 5168654"/>
              <a:gd name="connsiteY8-7950" fmla="*/ 190647 h 2436046"/>
              <a:gd name="connsiteX9-7951" fmla="*/ 268318 w 5168654"/>
              <a:gd name="connsiteY9-7952" fmla="*/ 190647 h 2436046"/>
              <a:gd name="connsiteX10-7953" fmla="*/ 268318 w 5168654"/>
              <a:gd name="connsiteY10-7954" fmla="*/ 222432 h 2436046"/>
              <a:gd name="connsiteX11-7955" fmla="*/ 505742 w 5168654"/>
              <a:gd name="connsiteY11-7956" fmla="*/ 219781 h 2436046"/>
              <a:gd name="connsiteX12-7957" fmla="*/ 508392 w 5168654"/>
              <a:gd name="connsiteY12-7958" fmla="*/ 243604 h 2436046"/>
              <a:gd name="connsiteX13-7959" fmla="*/ 536636 w 5168654"/>
              <a:gd name="connsiteY13-7960" fmla="*/ 243604 h 2436046"/>
              <a:gd name="connsiteX14-7961" fmla="*/ 536636 w 5168654"/>
              <a:gd name="connsiteY14-7962" fmla="*/ 363641 h 2436046"/>
              <a:gd name="connsiteX15-7963" fmla="*/ 554288 w 5168654"/>
              <a:gd name="connsiteY15-7964" fmla="*/ 363641 h 2436046"/>
              <a:gd name="connsiteX16-7965" fmla="*/ 559589 w 5168654"/>
              <a:gd name="connsiteY16-7966" fmla="*/ 418359 h 2436046"/>
              <a:gd name="connsiteX17-7967" fmla="*/ 772299 w 5168654"/>
              <a:gd name="connsiteY17-7968" fmla="*/ 413058 h 2436046"/>
              <a:gd name="connsiteX18-7969" fmla="*/ 776710 w 5168654"/>
              <a:gd name="connsiteY18-7970" fmla="*/ 455434 h 2436046"/>
              <a:gd name="connsiteX19-7971" fmla="*/ 794363 w 5168654"/>
              <a:gd name="connsiteY19-7972" fmla="*/ 455434 h 2436046"/>
              <a:gd name="connsiteX20-7973" fmla="*/ 794363 w 5168654"/>
              <a:gd name="connsiteY20-7974" fmla="*/ 497801 h 2436046"/>
              <a:gd name="connsiteX21-7975" fmla="*/ 808485 w 5168654"/>
              <a:gd name="connsiteY21-7976" fmla="*/ 497801 h 2436046"/>
              <a:gd name="connsiteX22-7977" fmla="*/ 808485 w 5168654"/>
              <a:gd name="connsiteY22-7978" fmla="*/ 621368 h 2436046"/>
              <a:gd name="connsiteX23-7979" fmla="*/ 822607 w 5168654"/>
              <a:gd name="connsiteY23-7980" fmla="*/ 621368 h 2436046"/>
              <a:gd name="connsiteX24-7981" fmla="*/ 822607 w 5168654"/>
              <a:gd name="connsiteY24-7982" fmla="*/ 639021 h 2436046"/>
              <a:gd name="connsiteX25-7983" fmla="*/ 1045028 w 5168654"/>
              <a:gd name="connsiteY25-7984" fmla="*/ 639021 h 2436046"/>
              <a:gd name="connsiteX26-7985" fmla="*/ 1045028 w 5168654"/>
              <a:gd name="connsiteY26-7986" fmla="*/ 790832 h 2436046"/>
              <a:gd name="connsiteX27-7987" fmla="*/ 1059150 w 5168654"/>
              <a:gd name="connsiteY27-7988" fmla="*/ 790832 h 2436046"/>
              <a:gd name="connsiteX28-7989" fmla="*/ 1059150 w 5168654"/>
              <a:gd name="connsiteY28-7990" fmla="*/ 889686 h 2436046"/>
              <a:gd name="connsiteX29-7991" fmla="*/ 1083864 w 5168654"/>
              <a:gd name="connsiteY29-7992" fmla="*/ 889686 h 2436046"/>
              <a:gd name="connsiteX30-7993" fmla="*/ 1101516 w 5168654"/>
              <a:gd name="connsiteY30-7994" fmla="*/ 889686 h 2436046"/>
              <a:gd name="connsiteX31-7995" fmla="*/ 1158004 w 5168654"/>
              <a:gd name="connsiteY31-7996" fmla="*/ 889686 h 2436046"/>
              <a:gd name="connsiteX32-7997" fmla="*/ 1158004 w 5168654"/>
              <a:gd name="connsiteY32-7998" fmla="*/ 917930 h 2436046"/>
              <a:gd name="connsiteX33-7999" fmla="*/ 1302755 w 5168654"/>
              <a:gd name="connsiteY33-8000" fmla="*/ 917930 h 2436046"/>
              <a:gd name="connsiteX34-8001" fmla="*/ 1302755 w 5168654"/>
              <a:gd name="connsiteY34-8002" fmla="*/ 942644 h 2436046"/>
              <a:gd name="connsiteX35-8003" fmla="*/ 1313346 w 5168654"/>
              <a:gd name="connsiteY35-8004" fmla="*/ 942644 h 2436046"/>
              <a:gd name="connsiteX36-8005" fmla="*/ 1313346 w 5168654"/>
              <a:gd name="connsiteY36-8006" fmla="*/ 1034437 h 2436046"/>
              <a:gd name="connsiteX37-8007" fmla="*/ 1316877 w 5168654"/>
              <a:gd name="connsiteY37-8008" fmla="*/ 1034437 h 2436046"/>
              <a:gd name="connsiteX38-8009" fmla="*/ 1316877 w 5168654"/>
              <a:gd name="connsiteY38-8010" fmla="*/ 1080333 h 2436046"/>
              <a:gd name="connsiteX39-8011" fmla="*/ 1489871 w 5168654"/>
              <a:gd name="connsiteY39-8012" fmla="*/ 1080333 h 2436046"/>
              <a:gd name="connsiteX40-8013" fmla="*/ 1489871 w 5168654"/>
              <a:gd name="connsiteY40-8014" fmla="*/ 1097986 h 2436046"/>
              <a:gd name="connsiteX41-8015" fmla="*/ 1518115 w 5168654"/>
              <a:gd name="connsiteY41-8016" fmla="*/ 1097986 h 2436046"/>
              <a:gd name="connsiteX42-8017" fmla="*/ 1518115 w 5168654"/>
              <a:gd name="connsiteY42-8018" fmla="*/ 1122699 h 2436046"/>
              <a:gd name="connsiteX43-8019" fmla="*/ 1532237 w 5168654"/>
              <a:gd name="connsiteY43-8020" fmla="*/ 1122699 h 2436046"/>
              <a:gd name="connsiteX44-8021" fmla="*/ 1539298 w 5168654"/>
              <a:gd name="connsiteY44-8022" fmla="*/ 1129760 h 2436046"/>
              <a:gd name="connsiteX45-8023" fmla="*/ 1553420 w 5168654"/>
              <a:gd name="connsiteY45-8024" fmla="*/ 1143882 h 2436046"/>
              <a:gd name="connsiteX46-8025" fmla="*/ 1553420 w 5168654"/>
              <a:gd name="connsiteY46-8026" fmla="*/ 1189779 h 2436046"/>
              <a:gd name="connsiteX47-8027" fmla="*/ 1564012 w 5168654"/>
              <a:gd name="connsiteY47-8028" fmla="*/ 1189779 h 2436046"/>
              <a:gd name="connsiteX48-8029" fmla="*/ 1564012 w 5168654"/>
              <a:gd name="connsiteY48-8030" fmla="*/ 1253328 h 2436046"/>
              <a:gd name="connsiteX49-8031" fmla="*/ 1578134 w 5168654"/>
              <a:gd name="connsiteY49-8032" fmla="*/ 1253328 h 2436046"/>
              <a:gd name="connsiteX50-8033" fmla="*/ 1578134 w 5168654"/>
              <a:gd name="connsiteY50-8034" fmla="*/ 1345121 h 2436046"/>
              <a:gd name="connsiteX51-8035" fmla="*/ 1588726 w 5168654"/>
              <a:gd name="connsiteY51-8036" fmla="*/ 1345121 h 2436046"/>
              <a:gd name="connsiteX52-8037" fmla="*/ 1588726 w 5168654"/>
              <a:gd name="connsiteY52-8038" fmla="*/ 1380426 h 2436046"/>
              <a:gd name="connsiteX53-8039" fmla="*/ 1588726 w 5168654"/>
              <a:gd name="connsiteY53-8040" fmla="*/ 1393678 h 2436046"/>
              <a:gd name="connsiteX54-8041" fmla="*/ 1797025 w 5168654"/>
              <a:gd name="connsiteY54-8042" fmla="*/ 1391027 h 2436046"/>
              <a:gd name="connsiteX55-8043" fmla="*/ 1797025 w 5168654"/>
              <a:gd name="connsiteY55-8044" fmla="*/ 1472219 h 2436046"/>
              <a:gd name="connsiteX56-8045" fmla="*/ 1828800 w 5168654"/>
              <a:gd name="connsiteY56-8046" fmla="*/ 1472219 h 2436046"/>
              <a:gd name="connsiteX57-8047" fmla="*/ 1828800 w 5168654"/>
              <a:gd name="connsiteY57-8048" fmla="*/ 1489872 h 2436046"/>
              <a:gd name="connsiteX58-8049" fmla="*/ 1828800 w 5168654"/>
              <a:gd name="connsiteY58-8050" fmla="*/ 1503994 h 2436046"/>
              <a:gd name="connsiteX59-8051" fmla="*/ 1846452 w 5168654"/>
              <a:gd name="connsiteY59-8052" fmla="*/ 1503994 h 2436046"/>
              <a:gd name="connsiteX60-8053" fmla="*/ 1846452 w 5168654"/>
              <a:gd name="connsiteY60-8054" fmla="*/ 1564012 h 2436046"/>
              <a:gd name="connsiteX61-8055" fmla="*/ 1878227 w 5168654"/>
              <a:gd name="connsiteY61-8056" fmla="*/ 1564012 h 2436046"/>
              <a:gd name="connsiteX62-8057" fmla="*/ 1878227 w 5168654"/>
              <a:gd name="connsiteY62-8058" fmla="*/ 1595787 h 2436046"/>
              <a:gd name="connsiteX63-8059" fmla="*/ 2072404 w 5168654"/>
              <a:gd name="connsiteY63-8060" fmla="*/ 1595787 h 2436046"/>
              <a:gd name="connsiteX64-8061" fmla="*/ 2072404 w 5168654"/>
              <a:gd name="connsiteY64-8062" fmla="*/ 1673458 h 2436046"/>
              <a:gd name="connsiteX65-8063" fmla="*/ 2093587 w 5168654"/>
              <a:gd name="connsiteY65-8064" fmla="*/ 1673458 h 2436046"/>
              <a:gd name="connsiteX66-8065" fmla="*/ 2093587 w 5168654"/>
              <a:gd name="connsiteY66-8066" fmla="*/ 1684049 h 2436046"/>
              <a:gd name="connsiteX67-8067" fmla="*/ 2097118 w 5168654"/>
              <a:gd name="connsiteY67-8068" fmla="*/ 1684049 h 2436046"/>
              <a:gd name="connsiteX68-8069" fmla="*/ 2097118 w 5168654"/>
              <a:gd name="connsiteY68-8070" fmla="*/ 1701702 h 2436046"/>
              <a:gd name="connsiteX69-8071" fmla="*/ 2111240 w 5168654"/>
              <a:gd name="connsiteY69-8072" fmla="*/ 1701702 h 2436046"/>
              <a:gd name="connsiteX70-8073" fmla="*/ 2114770 w 5168654"/>
              <a:gd name="connsiteY70-8074" fmla="*/ 1715824 h 2436046"/>
              <a:gd name="connsiteX71-8075" fmla="*/ 2418392 w 5168654"/>
              <a:gd name="connsiteY71-8076" fmla="*/ 1715824 h 2436046"/>
              <a:gd name="connsiteX72-8077" fmla="*/ 2418393 w 5168654"/>
              <a:gd name="connsiteY72-8078" fmla="*/ 1744068 h 2436046"/>
              <a:gd name="connsiteX73-8079" fmla="*/ 2418393 w 5168654"/>
              <a:gd name="connsiteY73-8080" fmla="*/ 1744068 h 2436046"/>
              <a:gd name="connsiteX74-8081" fmla="*/ 2446637 w 5168654"/>
              <a:gd name="connsiteY74-8082" fmla="*/ 1772312 h 2436046"/>
              <a:gd name="connsiteX75-8083" fmla="*/ 2460759 w 5168654"/>
              <a:gd name="connsiteY75-8084" fmla="*/ 1772312 h 2436046"/>
              <a:gd name="connsiteX76-8085" fmla="*/ 2460759 w 5168654"/>
              <a:gd name="connsiteY76-8086" fmla="*/ 1821739 h 2436046"/>
              <a:gd name="connsiteX77-8087" fmla="*/ 2478412 w 5168654"/>
              <a:gd name="connsiteY77-8088" fmla="*/ 1821739 h 2436046"/>
              <a:gd name="connsiteX78-8089" fmla="*/ 2478412 w 5168654"/>
              <a:gd name="connsiteY78-8090" fmla="*/ 1920593 h 2436046"/>
              <a:gd name="connsiteX79-8091" fmla="*/ 2633754 w 5168654"/>
              <a:gd name="connsiteY79-8092" fmla="*/ 1920593 h 2436046"/>
              <a:gd name="connsiteX80-8093" fmla="*/ 2633754 w 5168654"/>
              <a:gd name="connsiteY80-8094" fmla="*/ 1941776 h 2436046"/>
              <a:gd name="connsiteX81-8095" fmla="*/ 2732608 w 5168654"/>
              <a:gd name="connsiteY81-8096" fmla="*/ 1941776 h 2436046"/>
              <a:gd name="connsiteX82-8097" fmla="*/ 2729036 w 5168654"/>
              <a:gd name="connsiteY82-8098" fmla="*/ 1959407 h 2436046"/>
              <a:gd name="connsiteX83-8099" fmla="*/ 2777020 w 5168654"/>
              <a:gd name="connsiteY83-8100" fmla="*/ 1963502 h 2436046"/>
              <a:gd name="connsiteX84-8101" fmla="*/ 2782035 w 5168654"/>
              <a:gd name="connsiteY84-8102" fmla="*/ 1991203 h 2436046"/>
              <a:gd name="connsiteX85-8103" fmla="*/ 2838523 w 5168654"/>
              <a:gd name="connsiteY85-8104" fmla="*/ 1991203 h 2436046"/>
              <a:gd name="connsiteX86-8105" fmla="*/ 2838523 w 5168654"/>
              <a:gd name="connsiteY86-8106" fmla="*/ 2019447 h 2436046"/>
              <a:gd name="connsiteX87-8107" fmla="*/ 2852645 w 5168654"/>
              <a:gd name="connsiteY87-8108" fmla="*/ 2019447 h 2436046"/>
              <a:gd name="connsiteX88-8109" fmla="*/ 2852645 w 5168654"/>
              <a:gd name="connsiteY88-8110" fmla="*/ 2075935 h 2436046"/>
              <a:gd name="connsiteX89-8111" fmla="*/ 3219817 w 5168654"/>
              <a:gd name="connsiteY89-8112" fmla="*/ 2075934 h 2436046"/>
              <a:gd name="connsiteX90-8113" fmla="*/ 3205695 w 5168654"/>
              <a:gd name="connsiteY90-8114" fmla="*/ 2107709 h 2436046"/>
              <a:gd name="connsiteX91-8115" fmla="*/ 3237470 w 5168654"/>
              <a:gd name="connsiteY91-8116" fmla="*/ 2118300 h 2436046"/>
              <a:gd name="connsiteX92-8117" fmla="*/ 3230409 w 5168654"/>
              <a:gd name="connsiteY92-8118" fmla="*/ 2181850 h 2436046"/>
              <a:gd name="connsiteX93-8119" fmla="*/ 3438709 w 5168654"/>
              <a:gd name="connsiteY93-8120" fmla="*/ 2181850 h 2436046"/>
              <a:gd name="connsiteX94-8121" fmla="*/ 3438709 w 5168654"/>
              <a:gd name="connsiteY94-8122" fmla="*/ 2199502 h 2436046"/>
              <a:gd name="connsiteX95-8123" fmla="*/ 3565807 w 5168654"/>
              <a:gd name="connsiteY95-8124" fmla="*/ 2199502 h 2436046"/>
              <a:gd name="connsiteX96-8125" fmla="*/ 3565807 w 5168654"/>
              <a:gd name="connsiteY96-8126" fmla="*/ 2227746 h 2436046"/>
              <a:gd name="connsiteX97-8127" fmla="*/ 3618764 w 5168654"/>
              <a:gd name="connsiteY97-8128" fmla="*/ 2227746 h 2436046"/>
              <a:gd name="connsiteX98-8129" fmla="*/ 3618764 w 5168654"/>
              <a:gd name="connsiteY98-8130" fmla="*/ 2252460 h 2436046"/>
              <a:gd name="connsiteX99-8131" fmla="*/ 3890613 w 5168654"/>
              <a:gd name="connsiteY99-8132" fmla="*/ 2252460 h 2436046"/>
              <a:gd name="connsiteX100-8133" fmla="*/ 3890613 w 5168654"/>
              <a:gd name="connsiteY100-8134" fmla="*/ 2287765 h 2436046"/>
              <a:gd name="connsiteX101-8135" fmla="*/ 3975345 w 5168654"/>
              <a:gd name="connsiteY101-8136" fmla="*/ 2287765 h 2436046"/>
              <a:gd name="connsiteX102-8137" fmla="*/ 3975345 w 5168654"/>
              <a:gd name="connsiteY102-8138" fmla="*/ 2316009 h 2436046"/>
              <a:gd name="connsiteX103-8139" fmla="*/ 4007119 w 5168654"/>
              <a:gd name="connsiteY103-8140" fmla="*/ 2316009 h 2436046"/>
              <a:gd name="connsiteX104-8141" fmla="*/ 4007119 w 5168654"/>
              <a:gd name="connsiteY104-8142" fmla="*/ 2368967 h 2436046"/>
              <a:gd name="connsiteX105-8143" fmla="*/ 4614366 w 5168654"/>
              <a:gd name="connsiteY105-8144" fmla="*/ 2368967 h 2436046"/>
              <a:gd name="connsiteX106-8145" fmla="*/ 4614366 w 5168654"/>
              <a:gd name="connsiteY106-8146" fmla="*/ 2436046 h 2436046"/>
              <a:gd name="connsiteX107-8147" fmla="*/ 5168654 w 5168654"/>
              <a:gd name="connsiteY107-8148" fmla="*/ 2436046 h 2436046"/>
              <a:gd name="connsiteX0-8149" fmla="*/ 0 w 5168654"/>
              <a:gd name="connsiteY0-8150" fmla="*/ 471 h 2436517"/>
              <a:gd name="connsiteX1-8151" fmla="*/ 81529 w 5168654"/>
              <a:gd name="connsiteY1-8152" fmla="*/ 0 h 2436517"/>
              <a:gd name="connsiteX2-8153" fmla="*/ 144750 w 5168654"/>
              <a:gd name="connsiteY2-8154" fmla="*/ 471 h 2436517"/>
              <a:gd name="connsiteX3-8155" fmla="*/ 144750 w 5168654"/>
              <a:gd name="connsiteY3-8156" fmla="*/ 42837 h 2436517"/>
              <a:gd name="connsiteX4-8157" fmla="*/ 158872 w 5168654"/>
              <a:gd name="connsiteY4-8158" fmla="*/ 42837 h 2436517"/>
              <a:gd name="connsiteX5-8159" fmla="*/ 158872 w 5168654"/>
              <a:gd name="connsiteY5-8160" fmla="*/ 81672 h 2436517"/>
              <a:gd name="connsiteX6-8161" fmla="*/ 162403 w 5168654"/>
              <a:gd name="connsiteY6-8162" fmla="*/ 85203 h 2436517"/>
              <a:gd name="connsiteX7-8163" fmla="*/ 162403 w 5168654"/>
              <a:gd name="connsiteY7-8164" fmla="*/ 155813 h 2436517"/>
              <a:gd name="connsiteX8-8165" fmla="*/ 257726 w 5168654"/>
              <a:gd name="connsiteY8-8166" fmla="*/ 155813 h 2436517"/>
              <a:gd name="connsiteX9-8167" fmla="*/ 257726 w 5168654"/>
              <a:gd name="connsiteY9-8168" fmla="*/ 191118 h 2436517"/>
              <a:gd name="connsiteX10-8169" fmla="*/ 268318 w 5168654"/>
              <a:gd name="connsiteY10-8170" fmla="*/ 191118 h 2436517"/>
              <a:gd name="connsiteX11-8171" fmla="*/ 268318 w 5168654"/>
              <a:gd name="connsiteY11-8172" fmla="*/ 222903 h 2436517"/>
              <a:gd name="connsiteX12-8173" fmla="*/ 505742 w 5168654"/>
              <a:gd name="connsiteY12-8174" fmla="*/ 220252 h 2436517"/>
              <a:gd name="connsiteX13-8175" fmla="*/ 508392 w 5168654"/>
              <a:gd name="connsiteY13-8176" fmla="*/ 244075 h 2436517"/>
              <a:gd name="connsiteX14-8177" fmla="*/ 536636 w 5168654"/>
              <a:gd name="connsiteY14-8178" fmla="*/ 244075 h 2436517"/>
              <a:gd name="connsiteX15-8179" fmla="*/ 536636 w 5168654"/>
              <a:gd name="connsiteY15-8180" fmla="*/ 364112 h 2436517"/>
              <a:gd name="connsiteX16-8181" fmla="*/ 554288 w 5168654"/>
              <a:gd name="connsiteY16-8182" fmla="*/ 364112 h 2436517"/>
              <a:gd name="connsiteX17-8183" fmla="*/ 559589 w 5168654"/>
              <a:gd name="connsiteY17-8184" fmla="*/ 418830 h 2436517"/>
              <a:gd name="connsiteX18-8185" fmla="*/ 772299 w 5168654"/>
              <a:gd name="connsiteY18-8186" fmla="*/ 413529 h 2436517"/>
              <a:gd name="connsiteX19-8187" fmla="*/ 776710 w 5168654"/>
              <a:gd name="connsiteY19-8188" fmla="*/ 455905 h 2436517"/>
              <a:gd name="connsiteX20-8189" fmla="*/ 794363 w 5168654"/>
              <a:gd name="connsiteY20-8190" fmla="*/ 455905 h 2436517"/>
              <a:gd name="connsiteX21-8191" fmla="*/ 794363 w 5168654"/>
              <a:gd name="connsiteY21-8192" fmla="*/ 498272 h 2436517"/>
              <a:gd name="connsiteX22-8193" fmla="*/ 808485 w 5168654"/>
              <a:gd name="connsiteY22-8194" fmla="*/ 498272 h 2436517"/>
              <a:gd name="connsiteX23-8195" fmla="*/ 808485 w 5168654"/>
              <a:gd name="connsiteY23-8196" fmla="*/ 621839 h 2436517"/>
              <a:gd name="connsiteX24-8197" fmla="*/ 822607 w 5168654"/>
              <a:gd name="connsiteY24-8198" fmla="*/ 621839 h 2436517"/>
              <a:gd name="connsiteX25-8199" fmla="*/ 822607 w 5168654"/>
              <a:gd name="connsiteY25-8200" fmla="*/ 639492 h 2436517"/>
              <a:gd name="connsiteX26-8201" fmla="*/ 1045028 w 5168654"/>
              <a:gd name="connsiteY26-8202" fmla="*/ 639492 h 2436517"/>
              <a:gd name="connsiteX27-8203" fmla="*/ 1045028 w 5168654"/>
              <a:gd name="connsiteY27-8204" fmla="*/ 791303 h 2436517"/>
              <a:gd name="connsiteX28-8205" fmla="*/ 1059150 w 5168654"/>
              <a:gd name="connsiteY28-8206" fmla="*/ 791303 h 2436517"/>
              <a:gd name="connsiteX29-8207" fmla="*/ 1059150 w 5168654"/>
              <a:gd name="connsiteY29-8208" fmla="*/ 890157 h 2436517"/>
              <a:gd name="connsiteX30-8209" fmla="*/ 1083864 w 5168654"/>
              <a:gd name="connsiteY30-8210" fmla="*/ 890157 h 2436517"/>
              <a:gd name="connsiteX31-8211" fmla="*/ 1101516 w 5168654"/>
              <a:gd name="connsiteY31-8212" fmla="*/ 890157 h 2436517"/>
              <a:gd name="connsiteX32-8213" fmla="*/ 1158004 w 5168654"/>
              <a:gd name="connsiteY32-8214" fmla="*/ 890157 h 2436517"/>
              <a:gd name="connsiteX33-8215" fmla="*/ 1158004 w 5168654"/>
              <a:gd name="connsiteY33-8216" fmla="*/ 918401 h 2436517"/>
              <a:gd name="connsiteX34-8217" fmla="*/ 1302755 w 5168654"/>
              <a:gd name="connsiteY34-8218" fmla="*/ 918401 h 2436517"/>
              <a:gd name="connsiteX35-8219" fmla="*/ 1302755 w 5168654"/>
              <a:gd name="connsiteY35-8220" fmla="*/ 943115 h 2436517"/>
              <a:gd name="connsiteX36-8221" fmla="*/ 1313346 w 5168654"/>
              <a:gd name="connsiteY36-8222" fmla="*/ 943115 h 2436517"/>
              <a:gd name="connsiteX37-8223" fmla="*/ 1313346 w 5168654"/>
              <a:gd name="connsiteY37-8224" fmla="*/ 1034908 h 2436517"/>
              <a:gd name="connsiteX38-8225" fmla="*/ 1316877 w 5168654"/>
              <a:gd name="connsiteY38-8226" fmla="*/ 1034908 h 2436517"/>
              <a:gd name="connsiteX39-8227" fmla="*/ 1316877 w 5168654"/>
              <a:gd name="connsiteY39-8228" fmla="*/ 1080804 h 2436517"/>
              <a:gd name="connsiteX40-8229" fmla="*/ 1489871 w 5168654"/>
              <a:gd name="connsiteY40-8230" fmla="*/ 1080804 h 2436517"/>
              <a:gd name="connsiteX41-8231" fmla="*/ 1489871 w 5168654"/>
              <a:gd name="connsiteY41-8232" fmla="*/ 1098457 h 2436517"/>
              <a:gd name="connsiteX42-8233" fmla="*/ 1518115 w 5168654"/>
              <a:gd name="connsiteY42-8234" fmla="*/ 1098457 h 2436517"/>
              <a:gd name="connsiteX43-8235" fmla="*/ 1518115 w 5168654"/>
              <a:gd name="connsiteY43-8236" fmla="*/ 1123170 h 2436517"/>
              <a:gd name="connsiteX44-8237" fmla="*/ 1532237 w 5168654"/>
              <a:gd name="connsiteY44-8238" fmla="*/ 1123170 h 2436517"/>
              <a:gd name="connsiteX45-8239" fmla="*/ 1539298 w 5168654"/>
              <a:gd name="connsiteY45-8240" fmla="*/ 1130231 h 2436517"/>
              <a:gd name="connsiteX46-8241" fmla="*/ 1553420 w 5168654"/>
              <a:gd name="connsiteY46-8242" fmla="*/ 1144353 h 2436517"/>
              <a:gd name="connsiteX47-8243" fmla="*/ 1553420 w 5168654"/>
              <a:gd name="connsiteY47-8244" fmla="*/ 1190250 h 2436517"/>
              <a:gd name="connsiteX48-8245" fmla="*/ 1564012 w 5168654"/>
              <a:gd name="connsiteY48-8246" fmla="*/ 1190250 h 2436517"/>
              <a:gd name="connsiteX49-8247" fmla="*/ 1564012 w 5168654"/>
              <a:gd name="connsiteY49-8248" fmla="*/ 1253799 h 2436517"/>
              <a:gd name="connsiteX50-8249" fmla="*/ 1578134 w 5168654"/>
              <a:gd name="connsiteY50-8250" fmla="*/ 1253799 h 2436517"/>
              <a:gd name="connsiteX51-8251" fmla="*/ 1578134 w 5168654"/>
              <a:gd name="connsiteY51-8252" fmla="*/ 1345592 h 2436517"/>
              <a:gd name="connsiteX52-8253" fmla="*/ 1588726 w 5168654"/>
              <a:gd name="connsiteY52-8254" fmla="*/ 1345592 h 2436517"/>
              <a:gd name="connsiteX53-8255" fmla="*/ 1588726 w 5168654"/>
              <a:gd name="connsiteY53-8256" fmla="*/ 1380897 h 2436517"/>
              <a:gd name="connsiteX54-8257" fmla="*/ 1588726 w 5168654"/>
              <a:gd name="connsiteY54-8258" fmla="*/ 1394149 h 2436517"/>
              <a:gd name="connsiteX55-8259" fmla="*/ 1797025 w 5168654"/>
              <a:gd name="connsiteY55-8260" fmla="*/ 1391498 h 2436517"/>
              <a:gd name="connsiteX56-8261" fmla="*/ 1797025 w 5168654"/>
              <a:gd name="connsiteY56-8262" fmla="*/ 1472690 h 2436517"/>
              <a:gd name="connsiteX57-8263" fmla="*/ 1828800 w 5168654"/>
              <a:gd name="connsiteY57-8264" fmla="*/ 1472690 h 2436517"/>
              <a:gd name="connsiteX58-8265" fmla="*/ 1828800 w 5168654"/>
              <a:gd name="connsiteY58-8266" fmla="*/ 1490343 h 2436517"/>
              <a:gd name="connsiteX59-8267" fmla="*/ 1828800 w 5168654"/>
              <a:gd name="connsiteY59-8268" fmla="*/ 1504465 h 2436517"/>
              <a:gd name="connsiteX60-8269" fmla="*/ 1846452 w 5168654"/>
              <a:gd name="connsiteY60-8270" fmla="*/ 1504465 h 2436517"/>
              <a:gd name="connsiteX61-8271" fmla="*/ 1846452 w 5168654"/>
              <a:gd name="connsiteY61-8272" fmla="*/ 1564483 h 2436517"/>
              <a:gd name="connsiteX62-8273" fmla="*/ 1878227 w 5168654"/>
              <a:gd name="connsiteY62-8274" fmla="*/ 1564483 h 2436517"/>
              <a:gd name="connsiteX63-8275" fmla="*/ 1878227 w 5168654"/>
              <a:gd name="connsiteY63-8276" fmla="*/ 1596258 h 2436517"/>
              <a:gd name="connsiteX64-8277" fmla="*/ 2072404 w 5168654"/>
              <a:gd name="connsiteY64-8278" fmla="*/ 1596258 h 2436517"/>
              <a:gd name="connsiteX65-8279" fmla="*/ 2072404 w 5168654"/>
              <a:gd name="connsiteY65-8280" fmla="*/ 1673929 h 2436517"/>
              <a:gd name="connsiteX66-8281" fmla="*/ 2093587 w 5168654"/>
              <a:gd name="connsiteY66-8282" fmla="*/ 1673929 h 2436517"/>
              <a:gd name="connsiteX67-8283" fmla="*/ 2093587 w 5168654"/>
              <a:gd name="connsiteY67-8284" fmla="*/ 1684520 h 2436517"/>
              <a:gd name="connsiteX68-8285" fmla="*/ 2097118 w 5168654"/>
              <a:gd name="connsiteY68-8286" fmla="*/ 1684520 h 2436517"/>
              <a:gd name="connsiteX69-8287" fmla="*/ 2097118 w 5168654"/>
              <a:gd name="connsiteY69-8288" fmla="*/ 1702173 h 2436517"/>
              <a:gd name="connsiteX70-8289" fmla="*/ 2111240 w 5168654"/>
              <a:gd name="connsiteY70-8290" fmla="*/ 1702173 h 2436517"/>
              <a:gd name="connsiteX71-8291" fmla="*/ 2114770 w 5168654"/>
              <a:gd name="connsiteY71-8292" fmla="*/ 1716295 h 2436517"/>
              <a:gd name="connsiteX72-8293" fmla="*/ 2418392 w 5168654"/>
              <a:gd name="connsiteY72-8294" fmla="*/ 1716295 h 2436517"/>
              <a:gd name="connsiteX73-8295" fmla="*/ 2418393 w 5168654"/>
              <a:gd name="connsiteY73-8296" fmla="*/ 1744539 h 2436517"/>
              <a:gd name="connsiteX74-8297" fmla="*/ 2418393 w 5168654"/>
              <a:gd name="connsiteY74-8298" fmla="*/ 1744539 h 2436517"/>
              <a:gd name="connsiteX75-8299" fmla="*/ 2446637 w 5168654"/>
              <a:gd name="connsiteY75-8300" fmla="*/ 1772783 h 2436517"/>
              <a:gd name="connsiteX76-8301" fmla="*/ 2460759 w 5168654"/>
              <a:gd name="connsiteY76-8302" fmla="*/ 1772783 h 2436517"/>
              <a:gd name="connsiteX77-8303" fmla="*/ 2460759 w 5168654"/>
              <a:gd name="connsiteY77-8304" fmla="*/ 1822210 h 2436517"/>
              <a:gd name="connsiteX78-8305" fmla="*/ 2478412 w 5168654"/>
              <a:gd name="connsiteY78-8306" fmla="*/ 1822210 h 2436517"/>
              <a:gd name="connsiteX79-8307" fmla="*/ 2478412 w 5168654"/>
              <a:gd name="connsiteY79-8308" fmla="*/ 1921064 h 2436517"/>
              <a:gd name="connsiteX80-8309" fmla="*/ 2633754 w 5168654"/>
              <a:gd name="connsiteY80-8310" fmla="*/ 1921064 h 2436517"/>
              <a:gd name="connsiteX81-8311" fmla="*/ 2633754 w 5168654"/>
              <a:gd name="connsiteY81-8312" fmla="*/ 1942247 h 2436517"/>
              <a:gd name="connsiteX82-8313" fmla="*/ 2732608 w 5168654"/>
              <a:gd name="connsiteY82-8314" fmla="*/ 1942247 h 2436517"/>
              <a:gd name="connsiteX83-8315" fmla="*/ 2729036 w 5168654"/>
              <a:gd name="connsiteY83-8316" fmla="*/ 1959878 h 2436517"/>
              <a:gd name="connsiteX84-8317" fmla="*/ 2777020 w 5168654"/>
              <a:gd name="connsiteY84-8318" fmla="*/ 1963973 h 2436517"/>
              <a:gd name="connsiteX85-8319" fmla="*/ 2782035 w 5168654"/>
              <a:gd name="connsiteY85-8320" fmla="*/ 1991674 h 2436517"/>
              <a:gd name="connsiteX86-8321" fmla="*/ 2838523 w 5168654"/>
              <a:gd name="connsiteY86-8322" fmla="*/ 1991674 h 2436517"/>
              <a:gd name="connsiteX87-8323" fmla="*/ 2838523 w 5168654"/>
              <a:gd name="connsiteY87-8324" fmla="*/ 2019918 h 2436517"/>
              <a:gd name="connsiteX88-8325" fmla="*/ 2852645 w 5168654"/>
              <a:gd name="connsiteY88-8326" fmla="*/ 2019918 h 2436517"/>
              <a:gd name="connsiteX89-8327" fmla="*/ 2852645 w 5168654"/>
              <a:gd name="connsiteY89-8328" fmla="*/ 2076406 h 2436517"/>
              <a:gd name="connsiteX90-8329" fmla="*/ 3219817 w 5168654"/>
              <a:gd name="connsiteY90-8330" fmla="*/ 2076405 h 2436517"/>
              <a:gd name="connsiteX91-8331" fmla="*/ 3205695 w 5168654"/>
              <a:gd name="connsiteY91-8332" fmla="*/ 2108180 h 2436517"/>
              <a:gd name="connsiteX92-8333" fmla="*/ 3237470 w 5168654"/>
              <a:gd name="connsiteY92-8334" fmla="*/ 2118771 h 2436517"/>
              <a:gd name="connsiteX93-8335" fmla="*/ 3230409 w 5168654"/>
              <a:gd name="connsiteY93-8336" fmla="*/ 2182321 h 2436517"/>
              <a:gd name="connsiteX94-8337" fmla="*/ 3438709 w 5168654"/>
              <a:gd name="connsiteY94-8338" fmla="*/ 2182321 h 2436517"/>
              <a:gd name="connsiteX95-8339" fmla="*/ 3438709 w 5168654"/>
              <a:gd name="connsiteY95-8340" fmla="*/ 2199973 h 2436517"/>
              <a:gd name="connsiteX96-8341" fmla="*/ 3565807 w 5168654"/>
              <a:gd name="connsiteY96-8342" fmla="*/ 2199973 h 2436517"/>
              <a:gd name="connsiteX97-8343" fmla="*/ 3565807 w 5168654"/>
              <a:gd name="connsiteY97-8344" fmla="*/ 2228217 h 2436517"/>
              <a:gd name="connsiteX98-8345" fmla="*/ 3618764 w 5168654"/>
              <a:gd name="connsiteY98-8346" fmla="*/ 2228217 h 2436517"/>
              <a:gd name="connsiteX99-8347" fmla="*/ 3618764 w 5168654"/>
              <a:gd name="connsiteY99-8348" fmla="*/ 2252931 h 2436517"/>
              <a:gd name="connsiteX100-8349" fmla="*/ 3890613 w 5168654"/>
              <a:gd name="connsiteY100-8350" fmla="*/ 2252931 h 2436517"/>
              <a:gd name="connsiteX101-8351" fmla="*/ 3890613 w 5168654"/>
              <a:gd name="connsiteY101-8352" fmla="*/ 2288236 h 2436517"/>
              <a:gd name="connsiteX102-8353" fmla="*/ 3975345 w 5168654"/>
              <a:gd name="connsiteY102-8354" fmla="*/ 2288236 h 2436517"/>
              <a:gd name="connsiteX103-8355" fmla="*/ 3975345 w 5168654"/>
              <a:gd name="connsiteY103-8356" fmla="*/ 2316480 h 2436517"/>
              <a:gd name="connsiteX104-8357" fmla="*/ 4007119 w 5168654"/>
              <a:gd name="connsiteY104-8358" fmla="*/ 2316480 h 2436517"/>
              <a:gd name="connsiteX105-8359" fmla="*/ 4007119 w 5168654"/>
              <a:gd name="connsiteY105-8360" fmla="*/ 2369438 h 2436517"/>
              <a:gd name="connsiteX106-8361" fmla="*/ 4614366 w 5168654"/>
              <a:gd name="connsiteY106-8362" fmla="*/ 2369438 h 2436517"/>
              <a:gd name="connsiteX107-8363" fmla="*/ 4614366 w 5168654"/>
              <a:gd name="connsiteY107-8364" fmla="*/ 2436517 h 2436517"/>
              <a:gd name="connsiteX108-8365" fmla="*/ 5168654 w 5168654"/>
              <a:gd name="connsiteY108-8366" fmla="*/ 2436517 h 2436517"/>
              <a:gd name="connsiteX0-8367" fmla="*/ 0 w 5168654"/>
              <a:gd name="connsiteY0-8368" fmla="*/ 0 h 2436046"/>
              <a:gd name="connsiteX1-8369" fmla="*/ 44423 w 5168654"/>
              <a:gd name="connsiteY1-8370" fmla="*/ 15431 h 2436046"/>
              <a:gd name="connsiteX2-8371" fmla="*/ 144750 w 5168654"/>
              <a:gd name="connsiteY2-8372" fmla="*/ 0 h 2436046"/>
              <a:gd name="connsiteX3-8373" fmla="*/ 144750 w 5168654"/>
              <a:gd name="connsiteY3-8374" fmla="*/ 42366 h 2436046"/>
              <a:gd name="connsiteX4-8375" fmla="*/ 158872 w 5168654"/>
              <a:gd name="connsiteY4-8376" fmla="*/ 42366 h 2436046"/>
              <a:gd name="connsiteX5-8377" fmla="*/ 158872 w 5168654"/>
              <a:gd name="connsiteY5-8378" fmla="*/ 81201 h 2436046"/>
              <a:gd name="connsiteX6-8379" fmla="*/ 162403 w 5168654"/>
              <a:gd name="connsiteY6-8380" fmla="*/ 84732 h 2436046"/>
              <a:gd name="connsiteX7-8381" fmla="*/ 162403 w 5168654"/>
              <a:gd name="connsiteY7-8382" fmla="*/ 155342 h 2436046"/>
              <a:gd name="connsiteX8-8383" fmla="*/ 257726 w 5168654"/>
              <a:gd name="connsiteY8-8384" fmla="*/ 155342 h 2436046"/>
              <a:gd name="connsiteX9-8385" fmla="*/ 257726 w 5168654"/>
              <a:gd name="connsiteY9-8386" fmla="*/ 190647 h 2436046"/>
              <a:gd name="connsiteX10-8387" fmla="*/ 268318 w 5168654"/>
              <a:gd name="connsiteY10-8388" fmla="*/ 190647 h 2436046"/>
              <a:gd name="connsiteX11-8389" fmla="*/ 268318 w 5168654"/>
              <a:gd name="connsiteY11-8390" fmla="*/ 222432 h 2436046"/>
              <a:gd name="connsiteX12-8391" fmla="*/ 505742 w 5168654"/>
              <a:gd name="connsiteY12-8392" fmla="*/ 219781 h 2436046"/>
              <a:gd name="connsiteX13-8393" fmla="*/ 508392 w 5168654"/>
              <a:gd name="connsiteY13-8394" fmla="*/ 243604 h 2436046"/>
              <a:gd name="connsiteX14-8395" fmla="*/ 536636 w 5168654"/>
              <a:gd name="connsiteY14-8396" fmla="*/ 243604 h 2436046"/>
              <a:gd name="connsiteX15-8397" fmla="*/ 536636 w 5168654"/>
              <a:gd name="connsiteY15-8398" fmla="*/ 363641 h 2436046"/>
              <a:gd name="connsiteX16-8399" fmla="*/ 554288 w 5168654"/>
              <a:gd name="connsiteY16-8400" fmla="*/ 363641 h 2436046"/>
              <a:gd name="connsiteX17-8401" fmla="*/ 559589 w 5168654"/>
              <a:gd name="connsiteY17-8402" fmla="*/ 418359 h 2436046"/>
              <a:gd name="connsiteX18-8403" fmla="*/ 772299 w 5168654"/>
              <a:gd name="connsiteY18-8404" fmla="*/ 413058 h 2436046"/>
              <a:gd name="connsiteX19-8405" fmla="*/ 776710 w 5168654"/>
              <a:gd name="connsiteY19-8406" fmla="*/ 455434 h 2436046"/>
              <a:gd name="connsiteX20-8407" fmla="*/ 794363 w 5168654"/>
              <a:gd name="connsiteY20-8408" fmla="*/ 455434 h 2436046"/>
              <a:gd name="connsiteX21-8409" fmla="*/ 794363 w 5168654"/>
              <a:gd name="connsiteY21-8410" fmla="*/ 497801 h 2436046"/>
              <a:gd name="connsiteX22-8411" fmla="*/ 808485 w 5168654"/>
              <a:gd name="connsiteY22-8412" fmla="*/ 497801 h 2436046"/>
              <a:gd name="connsiteX23-8413" fmla="*/ 808485 w 5168654"/>
              <a:gd name="connsiteY23-8414" fmla="*/ 621368 h 2436046"/>
              <a:gd name="connsiteX24-8415" fmla="*/ 822607 w 5168654"/>
              <a:gd name="connsiteY24-8416" fmla="*/ 621368 h 2436046"/>
              <a:gd name="connsiteX25-8417" fmla="*/ 822607 w 5168654"/>
              <a:gd name="connsiteY25-8418" fmla="*/ 639021 h 2436046"/>
              <a:gd name="connsiteX26-8419" fmla="*/ 1045028 w 5168654"/>
              <a:gd name="connsiteY26-8420" fmla="*/ 639021 h 2436046"/>
              <a:gd name="connsiteX27-8421" fmla="*/ 1045028 w 5168654"/>
              <a:gd name="connsiteY27-8422" fmla="*/ 790832 h 2436046"/>
              <a:gd name="connsiteX28-8423" fmla="*/ 1059150 w 5168654"/>
              <a:gd name="connsiteY28-8424" fmla="*/ 790832 h 2436046"/>
              <a:gd name="connsiteX29-8425" fmla="*/ 1059150 w 5168654"/>
              <a:gd name="connsiteY29-8426" fmla="*/ 889686 h 2436046"/>
              <a:gd name="connsiteX30-8427" fmla="*/ 1083864 w 5168654"/>
              <a:gd name="connsiteY30-8428" fmla="*/ 889686 h 2436046"/>
              <a:gd name="connsiteX31-8429" fmla="*/ 1101516 w 5168654"/>
              <a:gd name="connsiteY31-8430" fmla="*/ 889686 h 2436046"/>
              <a:gd name="connsiteX32-8431" fmla="*/ 1158004 w 5168654"/>
              <a:gd name="connsiteY32-8432" fmla="*/ 889686 h 2436046"/>
              <a:gd name="connsiteX33-8433" fmla="*/ 1158004 w 5168654"/>
              <a:gd name="connsiteY33-8434" fmla="*/ 917930 h 2436046"/>
              <a:gd name="connsiteX34-8435" fmla="*/ 1302755 w 5168654"/>
              <a:gd name="connsiteY34-8436" fmla="*/ 917930 h 2436046"/>
              <a:gd name="connsiteX35-8437" fmla="*/ 1302755 w 5168654"/>
              <a:gd name="connsiteY35-8438" fmla="*/ 942644 h 2436046"/>
              <a:gd name="connsiteX36-8439" fmla="*/ 1313346 w 5168654"/>
              <a:gd name="connsiteY36-8440" fmla="*/ 942644 h 2436046"/>
              <a:gd name="connsiteX37-8441" fmla="*/ 1313346 w 5168654"/>
              <a:gd name="connsiteY37-8442" fmla="*/ 1034437 h 2436046"/>
              <a:gd name="connsiteX38-8443" fmla="*/ 1316877 w 5168654"/>
              <a:gd name="connsiteY38-8444" fmla="*/ 1034437 h 2436046"/>
              <a:gd name="connsiteX39-8445" fmla="*/ 1316877 w 5168654"/>
              <a:gd name="connsiteY39-8446" fmla="*/ 1080333 h 2436046"/>
              <a:gd name="connsiteX40-8447" fmla="*/ 1489871 w 5168654"/>
              <a:gd name="connsiteY40-8448" fmla="*/ 1080333 h 2436046"/>
              <a:gd name="connsiteX41-8449" fmla="*/ 1489871 w 5168654"/>
              <a:gd name="connsiteY41-8450" fmla="*/ 1097986 h 2436046"/>
              <a:gd name="connsiteX42-8451" fmla="*/ 1518115 w 5168654"/>
              <a:gd name="connsiteY42-8452" fmla="*/ 1097986 h 2436046"/>
              <a:gd name="connsiteX43-8453" fmla="*/ 1518115 w 5168654"/>
              <a:gd name="connsiteY43-8454" fmla="*/ 1122699 h 2436046"/>
              <a:gd name="connsiteX44-8455" fmla="*/ 1532237 w 5168654"/>
              <a:gd name="connsiteY44-8456" fmla="*/ 1122699 h 2436046"/>
              <a:gd name="connsiteX45-8457" fmla="*/ 1539298 w 5168654"/>
              <a:gd name="connsiteY45-8458" fmla="*/ 1129760 h 2436046"/>
              <a:gd name="connsiteX46-8459" fmla="*/ 1553420 w 5168654"/>
              <a:gd name="connsiteY46-8460" fmla="*/ 1143882 h 2436046"/>
              <a:gd name="connsiteX47-8461" fmla="*/ 1553420 w 5168654"/>
              <a:gd name="connsiteY47-8462" fmla="*/ 1189779 h 2436046"/>
              <a:gd name="connsiteX48-8463" fmla="*/ 1564012 w 5168654"/>
              <a:gd name="connsiteY48-8464" fmla="*/ 1189779 h 2436046"/>
              <a:gd name="connsiteX49-8465" fmla="*/ 1564012 w 5168654"/>
              <a:gd name="connsiteY49-8466" fmla="*/ 1253328 h 2436046"/>
              <a:gd name="connsiteX50-8467" fmla="*/ 1578134 w 5168654"/>
              <a:gd name="connsiteY50-8468" fmla="*/ 1253328 h 2436046"/>
              <a:gd name="connsiteX51-8469" fmla="*/ 1578134 w 5168654"/>
              <a:gd name="connsiteY51-8470" fmla="*/ 1345121 h 2436046"/>
              <a:gd name="connsiteX52-8471" fmla="*/ 1588726 w 5168654"/>
              <a:gd name="connsiteY52-8472" fmla="*/ 1345121 h 2436046"/>
              <a:gd name="connsiteX53-8473" fmla="*/ 1588726 w 5168654"/>
              <a:gd name="connsiteY53-8474" fmla="*/ 1380426 h 2436046"/>
              <a:gd name="connsiteX54-8475" fmla="*/ 1588726 w 5168654"/>
              <a:gd name="connsiteY54-8476" fmla="*/ 1393678 h 2436046"/>
              <a:gd name="connsiteX55-8477" fmla="*/ 1797025 w 5168654"/>
              <a:gd name="connsiteY55-8478" fmla="*/ 1391027 h 2436046"/>
              <a:gd name="connsiteX56-8479" fmla="*/ 1797025 w 5168654"/>
              <a:gd name="connsiteY56-8480" fmla="*/ 1472219 h 2436046"/>
              <a:gd name="connsiteX57-8481" fmla="*/ 1828800 w 5168654"/>
              <a:gd name="connsiteY57-8482" fmla="*/ 1472219 h 2436046"/>
              <a:gd name="connsiteX58-8483" fmla="*/ 1828800 w 5168654"/>
              <a:gd name="connsiteY58-8484" fmla="*/ 1489872 h 2436046"/>
              <a:gd name="connsiteX59-8485" fmla="*/ 1828800 w 5168654"/>
              <a:gd name="connsiteY59-8486" fmla="*/ 1503994 h 2436046"/>
              <a:gd name="connsiteX60-8487" fmla="*/ 1846452 w 5168654"/>
              <a:gd name="connsiteY60-8488" fmla="*/ 1503994 h 2436046"/>
              <a:gd name="connsiteX61-8489" fmla="*/ 1846452 w 5168654"/>
              <a:gd name="connsiteY61-8490" fmla="*/ 1564012 h 2436046"/>
              <a:gd name="connsiteX62-8491" fmla="*/ 1878227 w 5168654"/>
              <a:gd name="connsiteY62-8492" fmla="*/ 1564012 h 2436046"/>
              <a:gd name="connsiteX63-8493" fmla="*/ 1878227 w 5168654"/>
              <a:gd name="connsiteY63-8494" fmla="*/ 1595787 h 2436046"/>
              <a:gd name="connsiteX64-8495" fmla="*/ 2072404 w 5168654"/>
              <a:gd name="connsiteY64-8496" fmla="*/ 1595787 h 2436046"/>
              <a:gd name="connsiteX65-8497" fmla="*/ 2072404 w 5168654"/>
              <a:gd name="connsiteY65-8498" fmla="*/ 1673458 h 2436046"/>
              <a:gd name="connsiteX66-8499" fmla="*/ 2093587 w 5168654"/>
              <a:gd name="connsiteY66-8500" fmla="*/ 1673458 h 2436046"/>
              <a:gd name="connsiteX67-8501" fmla="*/ 2093587 w 5168654"/>
              <a:gd name="connsiteY67-8502" fmla="*/ 1684049 h 2436046"/>
              <a:gd name="connsiteX68-8503" fmla="*/ 2097118 w 5168654"/>
              <a:gd name="connsiteY68-8504" fmla="*/ 1684049 h 2436046"/>
              <a:gd name="connsiteX69-8505" fmla="*/ 2097118 w 5168654"/>
              <a:gd name="connsiteY69-8506" fmla="*/ 1701702 h 2436046"/>
              <a:gd name="connsiteX70-8507" fmla="*/ 2111240 w 5168654"/>
              <a:gd name="connsiteY70-8508" fmla="*/ 1701702 h 2436046"/>
              <a:gd name="connsiteX71-8509" fmla="*/ 2114770 w 5168654"/>
              <a:gd name="connsiteY71-8510" fmla="*/ 1715824 h 2436046"/>
              <a:gd name="connsiteX72-8511" fmla="*/ 2418392 w 5168654"/>
              <a:gd name="connsiteY72-8512" fmla="*/ 1715824 h 2436046"/>
              <a:gd name="connsiteX73-8513" fmla="*/ 2418393 w 5168654"/>
              <a:gd name="connsiteY73-8514" fmla="*/ 1744068 h 2436046"/>
              <a:gd name="connsiteX74-8515" fmla="*/ 2418393 w 5168654"/>
              <a:gd name="connsiteY74-8516" fmla="*/ 1744068 h 2436046"/>
              <a:gd name="connsiteX75-8517" fmla="*/ 2446637 w 5168654"/>
              <a:gd name="connsiteY75-8518" fmla="*/ 1772312 h 2436046"/>
              <a:gd name="connsiteX76-8519" fmla="*/ 2460759 w 5168654"/>
              <a:gd name="connsiteY76-8520" fmla="*/ 1772312 h 2436046"/>
              <a:gd name="connsiteX77-8521" fmla="*/ 2460759 w 5168654"/>
              <a:gd name="connsiteY77-8522" fmla="*/ 1821739 h 2436046"/>
              <a:gd name="connsiteX78-8523" fmla="*/ 2478412 w 5168654"/>
              <a:gd name="connsiteY78-8524" fmla="*/ 1821739 h 2436046"/>
              <a:gd name="connsiteX79-8525" fmla="*/ 2478412 w 5168654"/>
              <a:gd name="connsiteY79-8526" fmla="*/ 1920593 h 2436046"/>
              <a:gd name="connsiteX80-8527" fmla="*/ 2633754 w 5168654"/>
              <a:gd name="connsiteY80-8528" fmla="*/ 1920593 h 2436046"/>
              <a:gd name="connsiteX81-8529" fmla="*/ 2633754 w 5168654"/>
              <a:gd name="connsiteY81-8530" fmla="*/ 1941776 h 2436046"/>
              <a:gd name="connsiteX82-8531" fmla="*/ 2732608 w 5168654"/>
              <a:gd name="connsiteY82-8532" fmla="*/ 1941776 h 2436046"/>
              <a:gd name="connsiteX83-8533" fmla="*/ 2729036 w 5168654"/>
              <a:gd name="connsiteY83-8534" fmla="*/ 1959407 h 2436046"/>
              <a:gd name="connsiteX84-8535" fmla="*/ 2777020 w 5168654"/>
              <a:gd name="connsiteY84-8536" fmla="*/ 1963502 h 2436046"/>
              <a:gd name="connsiteX85-8537" fmla="*/ 2782035 w 5168654"/>
              <a:gd name="connsiteY85-8538" fmla="*/ 1991203 h 2436046"/>
              <a:gd name="connsiteX86-8539" fmla="*/ 2838523 w 5168654"/>
              <a:gd name="connsiteY86-8540" fmla="*/ 1991203 h 2436046"/>
              <a:gd name="connsiteX87-8541" fmla="*/ 2838523 w 5168654"/>
              <a:gd name="connsiteY87-8542" fmla="*/ 2019447 h 2436046"/>
              <a:gd name="connsiteX88-8543" fmla="*/ 2852645 w 5168654"/>
              <a:gd name="connsiteY88-8544" fmla="*/ 2019447 h 2436046"/>
              <a:gd name="connsiteX89-8545" fmla="*/ 2852645 w 5168654"/>
              <a:gd name="connsiteY89-8546" fmla="*/ 2075935 h 2436046"/>
              <a:gd name="connsiteX90-8547" fmla="*/ 3219817 w 5168654"/>
              <a:gd name="connsiteY90-8548" fmla="*/ 2075934 h 2436046"/>
              <a:gd name="connsiteX91-8549" fmla="*/ 3205695 w 5168654"/>
              <a:gd name="connsiteY91-8550" fmla="*/ 2107709 h 2436046"/>
              <a:gd name="connsiteX92-8551" fmla="*/ 3237470 w 5168654"/>
              <a:gd name="connsiteY92-8552" fmla="*/ 2118300 h 2436046"/>
              <a:gd name="connsiteX93-8553" fmla="*/ 3230409 w 5168654"/>
              <a:gd name="connsiteY93-8554" fmla="*/ 2181850 h 2436046"/>
              <a:gd name="connsiteX94-8555" fmla="*/ 3438709 w 5168654"/>
              <a:gd name="connsiteY94-8556" fmla="*/ 2181850 h 2436046"/>
              <a:gd name="connsiteX95-8557" fmla="*/ 3438709 w 5168654"/>
              <a:gd name="connsiteY95-8558" fmla="*/ 2199502 h 2436046"/>
              <a:gd name="connsiteX96-8559" fmla="*/ 3565807 w 5168654"/>
              <a:gd name="connsiteY96-8560" fmla="*/ 2199502 h 2436046"/>
              <a:gd name="connsiteX97-8561" fmla="*/ 3565807 w 5168654"/>
              <a:gd name="connsiteY97-8562" fmla="*/ 2227746 h 2436046"/>
              <a:gd name="connsiteX98-8563" fmla="*/ 3618764 w 5168654"/>
              <a:gd name="connsiteY98-8564" fmla="*/ 2227746 h 2436046"/>
              <a:gd name="connsiteX99-8565" fmla="*/ 3618764 w 5168654"/>
              <a:gd name="connsiteY99-8566" fmla="*/ 2252460 h 2436046"/>
              <a:gd name="connsiteX100-8567" fmla="*/ 3890613 w 5168654"/>
              <a:gd name="connsiteY100-8568" fmla="*/ 2252460 h 2436046"/>
              <a:gd name="connsiteX101-8569" fmla="*/ 3890613 w 5168654"/>
              <a:gd name="connsiteY101-8570" fmla="*/ 2287765 h 2436046"/>
              <a:gd name="connsiteX102-8571" fmla="*/ 3975345 w 5168654"/>
              <a:gd name="connsiteY102-8572" fmla="*/ 2287765 h 2436046"/>
              <a:gd name="connsiteX103-8573" fmla="*/ 3975345 w 5168654"/>
              <a:gd name="connsiteY103-8574" fmla="*/ 2316009 h 2436046"/>
              <a:gd name="connsiteX104-8575" fmla="*/ 4007119 w 5168654"/>
              <a:gd name="connsiteY104-8576" fmla="*/ 2316009 h 2436046"/>
              <a:gd name="connsiteX105-8577" fmla="*/ 4007119 w 5168654"/>
              <a:gd name="connsiteY105-8578" fmla="*/ 2368967 h 2436046"/>
              <a:gd name="connsiteX106-8579" fmla="*/ 4614366 w 5168654"/>
              <a:gd name="connsiteY106-8580" fmla="*/ 2368967 h 2436046"/>
              <a:gd name="connsiteX107-8581" fmla="*/ 4614366 w 5168654"/>
              <a:gd name="connsiteY107-8582" fmla="*/ 2436046 h 2436046"/>
              <a:gd name="connsiteX108-8583" fmla="*/ 5168654 w 5168654"/>
              <a:gd name="connsiteY108-8584" fmla="*/ 2436046 h 2436046"/>
              <a:gd name="connsiteX0-8585" fmla="*/ 0 w 5168654"/>
              <a:gd name="connsiteY0-8586" fmla="*/ 0 h 2436046"/>
              <a:gd name="connsiteX1-8587" fmla="*/ 44423 w 5168654"/>
              <a:gd name="connsiteY1-8588" fmla="*/ 2179 h 2436046"/>
              <a:gd name="connsiteX2-8589" fmla="*/ 144750 w 5168654"/>
              <a:gd name="connsiteY2-8590" fmla="*/ 0 h 2436046"/>
              <a:gd name="connsiteX3-8591" fmla="*/ 144750 w 5168654"/>
              <a:gd name="connsiteY3-8592" fmla="*/ 42366 h 2436046"/>
              <a:gd name="connsiteX4-8593" fmla="*/ 158872 w 5168654"/>
              <a:gd name="connsiteY4-8594" fmla="*/ 42366 h 2436046"/>
              <a:gd name="connsiteX5-8595" fmla="*/ 158872 w 5168654"/>
              <a:gd name="connsiteY5-8596" fmla="*/ 81201 h 2436046"/>
              <a:gd name="connsiteX6-8597" fmla="*/ 162403 w 5168654"/>
              <a:gd name="connsiteY6-8598" fmla="*/ 84732 h 2436046"/>
              <a:gd name="connsiteX7-8599" fmla="*/ 162403 w 5168654"/>
              <a:gd name="connsiteY7-8600" fmla="*/ 155342 h 2436046"/>
              <a:gd name="connsiteX8-8601" fmla="*/ 257726 w 5168654"/>
              <a:gd name="connsiteY8-8602" fmla="*/ 155342 h 2436046"/>
              <a:gd name="connsiteX9-8603" fmla="*/ 257726 w 5168654"/>
              <a:gd name="connsiteY9-8604" fmla="*/ 190647 h 2436046"/>
              <a:gd name="connsiteX10-8605" fmla="*/ 268318 w 5168654"/>
              <a:gd name="connsiteY10-8606" fmla="*/ 190647 h 2436046"/>
              <a:gd name="connsiteX11-8607" fmla="*/ 268318 w 5168654"/>
              <a:gd name="connsiteY11-8608" fmla="*/ 222432 h 2436046"/>
              <a:gd name="connsiteX12-8609" fmla="*/ 505742 w 5168654"/>
              <a:gd name="connsiteY12-8610" fmla="*/ 219781 h 2436046"/>
              <a:gd name="connsiteX13-8611" fmla="*/ 508392 w 5168654"/>
              <a:gd name="connsiteY13-8612" fmla="*/ 243604 h 2436046"/>
              <a:gd name="connsiteX14-8613" fmla="*/ 536636 w 5168654"/>
              <a:gd name="connsiteY14-8614" fmla="*/ 243604 h 2436046"/>
              <a:gd name="connsiteX15-8615" fmla="*/ 536636 w 5168654"/>
              <a:gd name="connsiteY15-8616" fmla="*/ 363641 h 2436046"/>
              <a:gd name="connsiteX16-8617" fmla="*/ 554288 w 5168654"/>
              <a:gd name="connsiteY16-8618" fmla="*/ 363641 h 2436046"/>
              <a:gd name="connsiteX17-8619" fmla="*/ 559589 w 5168654"/>
              <a:gd name="connsiteY17-8620" fmla="*/ 418359 h 2436046"/>
              <a:gd name="connsiteX18-8621" fmla="*/ 772299 w 5168654"/>
              <a:gd name="connsiteY18-8622" fmla="*/ 413058 h 2436046"/>
              <a:gd name="connsiteX19-8623" fmla="*/ 776710 w 5168654"/>
              <a:gd name="connsiteY19-8624" fmla="*/ 455434 h 2436046"/>
              <a:gd name="connsiteX20-8625" fmla="*/ 794363 w 5168654"/>
              <a:gd name="connsiteY20-8626" fmla="*/ 455434 h 2436046"/>
              <a:gd name="connsiteX21-8627" fmla="*/ 794363 w 5168654"/>
              <a:gd name="connsiteY21-8628" fmla="*/ 497801 h 2436046"/>
              <a:gd name="connsiteX22-8629" fmla="*/ 808485 w 5168654"/>
              <a:gd name="connsiteY22-8630" fmla="*/ 497801 h 2436046"/>
              <a:gd name="connsiteX23-8631" fmla="*/ 808485 w 5168654"/>
              <a:gd name="connsiteY23-8632" fmla="*/ 621368 h 2436046"/>
              <a:gd name="connsiteX24-8633" fmla="*/ 822607 w 5168654"/>
              <a:gd name="connsiteY24-8634" fmla="*/ 621368 h 2436046"/>
              <a:gd name="connsiteX25-8635" fmla="*/ 822607 w 5168654"/>
              <a:gd name="connsiteY25-8636" fmla="*/ 639021 h 2436046"/>
              <a:gd name="connsiteX26-8637" fmla="*/ 1045028 w 5168654"/>
              <a:gd name="connsiteY26-8638" fmla="*/ 639021 h 2436046"/>
              <a:gd name="connsiteX27-8639" fmla="*/ 1045028 w 5168654"/>
              <a:gd name="connsiteY27-8640" fmla="*/ 790832 h 2436046"/>
              <a:gd name="connsiteX28-8641" fmla="*/ 1059150 w 5168654"/>
              <a:gd name="connsiteY28-8642" fmla="*/ 790832 h 2436046"/>
              <a:gd name="connsiteX29-8643" fmla="*/ 1059150 w 5168654"/>
              <a:gd name="connsiteY29-8644" fmla="*/ 889686 h 2436046"/>
              <a:gd name="connsiteX30-8645" fmla="*/ 1083864 w 5168654"/>
              <a:gd name="connsiteY30-8646" fmla="*/ 889686 h 2436046"/>
              <a:gd name="connsiteX31-8647" fmla="*/ 1101516 w 5168654"/>
              <a:gd name="connsiteY31-8648" fmla="*/ 889686 h 2436046"/>
              <a:gd name="connsiteX32-8649" fmla="*/ 1158004 w 5168654"/>
              <a:gd name="connsiteY32-8650" fmla="*/ 889686 h 2436046"/>
              <a:gd name="connsiteX33-8651" fmla="*/ 1158004 w 5168654"/>
              <a:gd name="connsiteY33-8652" fmla="*/ 917930 h 2436046"/>
              <a:gd name="connsiteX34-8653" fmla="*/ 1302755 w 5168654"/>
              <a:gd name="connsiteY34-8654" fmla="*/ 917930 h 2436046"/>
              <a:gd name="connsiteX35-8655" fmla="*/ 1302755 w 5168654"/>
              <a:gd name="connsiteY35-8656" fmla="*/ 942644 h 2436046"/>
              <a:gd name="connsiteX36-8657" fmla="*/ 1313346 w 5168654"/>
              <a:gd name="connsiteY36-8658" fmla="*/ 942644 h 2436046"/>
              <a:gd name="connsiteX37-8659" fmla="*/ 1313346 w 5168654"/>
              <a:gd name="connsiteY37-8660" fmla="*/ 1034437 h 2436046"/>
              <a:gd name="connsiteX38-8661" fmla="*/ 1316877 w 5168654"/>
              <a:gd name="connsiteY38-8662" fmla="*/ 1034437 h 2436046"/>
              <a:gd name="connsiteX39-8663" fmla="*/ 1316877 w 5168654"/>
              <a:gd name="connsiteY39-8664" fmla="*/ 1080333 h 2436046"/>
              <a:gd name="connsiteX40-8665" fmla="*/ 1489871 w 5168654"/>
              <a:gd name="connsiteY40-8666" fmla="*/ 1080333 h 2436046"/>
              <a:gd name="connsiteX41-8667" fmla="*/ 1489871 w 5168654"/>
              <a:gd name="connsiteY41-8668" fmla="*/ 1097986 h 2436046"/>
              <a:gd name="connsiteX42-8669" fmla="*/ 1518115 w 5168654"/>
              <a:gd name="connsiteY42-8670" fmla="*/ 1097986 h 2436046"/>
              <a:gd name="connsiteX43-8671" fmla="*/ 1518115 w 5168654"/>
              <a:gd name="connsiteY43-8672" fmla="*/ 1122699 h 2436046"/>
              <a:gd name="connsiteX44-8673" fmla="*/ 1532237 w 5168654"/>
              <a:gd name="connsiteY44-8674" fmla="*/ 1122699 h 2436046"/>
              <a:gd name="connsiteX45-8675" fmla="*/ 1539298 w 5168654"/>
              <a:gd name="connsiteY45-8676" fmla="*/ 1129760 h 2436046"/>
              <a:gd name="connsiteX46-8677" fmla="*/ 1553420 w 5168654"/>
              <a:gd name="connsiteY46-8678" fmla="*/ 1143882 h 2436046"/>
              <a:gd name="connsiteX47-8679" fmla="*/ 1553420 w 5168654"/>
              <a:gd name="connsiteY47-8680" fmla="*/ 1189779 h 2436046"/>
              <a:gd name="connsiteX48-8681" fmla="*/ 1564012 w 5168654"/>
              <a:gd name="connsiteY48-8682" fmla="*/ 1189779 h 2436046"/>
              <a:gd name="connsiteX49-8683" fmla="*/ 1564012 w 5168654"/>
              <a:gd name="connsiteY49-8684" fmla="*/ 1253328 h 2436046"/>
              <a:gd name="connsiteX50-8685" fmla="*/ 1578134 w 5168654"/>
              <a:gd name="connsiteY50-8686" fmla="*/ 1253328 h 2436046"/>
              <a:gd name="connsiteX51-8687" fmla="*/ 1578134 w 5168654"/>
              <a:gd name="connsiteY51-8688" fmla="*/ 1345121 h 2436046"/>
              <a:gd name="connsiteX52-8689" fmla="*/ 1588726 w 5168654"/>
              <a:gd name="connsiteY52-8690" fmla="*/ 1345121 h 2436046"/>
              <a:gd name="connsiteX53-8691" fmla="*/ 1588726 w 5168654"/>
              <a:gd name="connsiteY53-8692" fmla="*/ 1380426 h 2436046"/>
              <a:gd name="connsiteX54-8693" fmla="*/ 1588726 w 5168654"/>
              <a:gd name="connsiteY54-8694" fmla="*/ 1393678 h 2436046"/>
              <a:gd name="connsiteX55-8695" fmla="*/ 1797025 w 5168654"/>
              <a:gd name="connsiteY55-8696" fmla="*/ 1391027 h 2436046"/>
              <a:gd name="connsiteX56-8697" fmla="*/ 1797025 w 5168654"/>
              <a:gd name="connsiteY56-8698" fmla="*/ 1472219 h 2436046"/>
              <a:gd name="connsiteX57-8699" fmla="*/ 1828800 w 5168654"/>
              <a:gd name="connsiteY57-8700" fmla="*/ 1472219 h 2436046"/>
              <a:gd name="connsiteX58-8701" fmla="*/ 1828800 w 5168654"/>
              <a:gd name="connsiteY58-8702" fmla="*/ 1489872 h 2436046"/>
              <a:gd name="connsiteX59-8703" fmla="*/ 1828800 w 5168654"/>
              <a:gd name="connsiteY59-8704" fmla="*/ 1503994 h 2436046"/>
              <a:gd name="connsiteX60-8705" fmla="*/ 1846452 w 5168654"/>
              <a:gd name="connsiteY60-8706" fmla="*/ 1503994 h 2436046"/>
              <a:gd name="connsiteX61-8707" fmla="*/ 1846452 w 5168654"/>
              <a:gd name="connsiteY61-8708" fmla="*/ 1564012 h 2436046"/>
              <a:gd name="connsiteX62-8709" fmla="*/ 1878227 w 5168654"/>
              <a:gd name="connsiteY62-8710" fmla="*/ 1564012 h 2436046"/>
              <a:gd name="connsiteX63-8711" fmla="*/ 1878227 w 5168654"/>
              <a:gd name="connsiteY63-8712" fmla="*/ 1595787 h 2436046"/>
              <a:gd name="connsiteX64-8713" fmla="*/ 2072404 w 5168654"/>
              <a:gd name="connsiteY64-8714" fmla="*/ 1595787 h 2436046"/>
              <a:gd name="connsiteX65-8715" fmla="*/ 2072404 w 5168654"/>
              <a:gd name="connsiteY65-8716" fmla="*/ 1673458 h 2436046"/>
              <a:gd name="connsiteX66-8717" fmla="*/ 2093587 w 5168654"/>
              <a:gd name="connsiteY66-8718" fmla="*/ 1673458 h 2436046"/>
              <a:gd name="connsiteX67-8719" fmla="*/ 2093587 w 5168654"/>
              <a:gd name="connsiteY67-8720" fmla="*/ 1684049 h 2436046"/>
              <a:gd name="connsiteX68-8721" fmla="*/ 2097118 w 5168654"/>
              <a:gd name="connsiteY68-8722" fmla="*/ 1684049 h 2436046"/>
              <a:gd name="connsiteX69-8723" fmla="*/ 2097118 w 5168654"/>
              <a:gd name="connsiteY69-8724" fmla="*/ 1701702 h 2436046"/>
              <a:gd name="connsiteX70-8725" fmla="*/ 2111240 w 5168654"/>
              <a:gd name="connsiteY70-8726" fmla="*/ 1701702 h 2436046"/>
              <a:gd name="connsiteX71-8727" fmla="*/ 2114770 w 5168654"/>
              <a:gd name="connsiteY71-8728" fmla="*/ 1715824 h 2436046"/>
              <a:gd name="connsiteX72-8729" fmla="*/ 2418392 w 5168654"/>
              <a:gd name="connsiteY72-8730" fmla="*/ 1715824 h 2436046"/>
              <a:gd name="connsiteX73-8731" fmla="*/ 2418393 w 5168654"/>
              <a:gd name="connsiteY73-8732" fmla="*/ 1744068 h 2436046"/>
              <a:gd name="connsiteX74-8733" fmla="*/ 2418393 w 5168654"/>
              <a:gd name="connsiteY74-8734" fmla="*/ 1744068 h 2436046"/>
              <a:gd name="connsiteX75-8735" fmla="*/ 2446637 w 5168654"/>
              <a:gd name="connsiteY75-8736" fmla="*/ 1772312 h 2436046"/>
              <a:gd name="connsiteX76-8737" fmla="*/ 2460759 w 5168654"/>
              <a:gd name="connsiteY76-8738" fmla="*/ 1772312 h 2436046"/>
              <a:gd name="connsiteX77-8739" fmla="*/ 2460759 w 5168654"/>
              <a:gd name="connsiteY77-8740" fmla="*/ 1821739 h 2436046"/>
              <a:gd name="connsiteX78-8741" fmla="*/ 2478412 w 5168654"/>
              <a:gd name="connsiteY78-8742" fmla="*/ 1821739 h 2436046"/>
              <a:gd name="connsiteX79-8743" fmla="*/ 2478412 w 5168654"/>
              <a:gd name="connsiteY79-8744" fmla="*/ 1920593 h 2436046"/>
              <a:gd name="connsiteX80-8745" fmla="*/ 2633754 w 5168654"/>
              <a:gd name="connsiteY80-8746" fmla="*/ 1920593 h 2436046"/>
              <a:gd name="connsiteX81-8747" fmla="*/ 2633754 w 5168654"/>
              <a:gd name="connsiteY81-8748" fmla="*/ 1941776 h 2436046"/>
              <a:gd name="connsiteX82-8749" fmla="*/ 2732608 w 5168654"/>
              <a:gd name="connsiteY82-8750" fmla="*/ 1941776 h 2436046"/>
              <a:gd name="connsiteX83-8751" fmla="*/ 2729036 w 5168654"/>
              <a:gd name="connsiteY83-8752" fmla="*/ 1959407 h 2436046"/>
              <a:gd name="connsiteX84-8753" fmla="*/ 2777020 w 5168654"/>
              <a:gd name="connsiteY84-8754" fmla="*/ 1963502 h 2436046"/>
              <a:gd name="connsiteX85-8755" fmla="*/ 2782035 w 5168654"/>
              <a:gd name="connsiteY85-8756" fmla="*/ 1991203 h 2436046"/>
              <a:gd name="connsiteX86-8757" fmla="*/ 2838523 w 5168654"/>
              <a:gd name="connsiteY86-8758" fmla="*/ 1991203 h 2436046"/>
              <a:gd name="connsiteX87-8759" fmla="*/ 2838523 w 5168654"/>
              <a:gd name="connsiteY87-8760" fmla="*/ 2019447 h 2436046"/>
              <a:gd name="connsiteX88-8761" fmla="*/ 2852645 w 5168654"/>
              <a:gd name="connsiteY88-8762" fmla="*/ 2019447 h 2436046"/>
              <a:gd name="connsiteX89-8763" fmla="*/ 2852645 w 5168654"/>
              <a:gd name="connsiteY89-8764" fmla="*/ 2075935 h 2436046"/>
              <a:gd name="connsiteX90-8765" fmla="*/ 3219817 w 5168654"/>
              <a:gd name="connsiteY90-8766" fmla="*/ 2075934 h 2436046"/>
              <a:gd name="connsiteX91-8767" fmla="*/ 3205695 w 5168654"/>
              <a:gd name="connsiteY91-8768" fmla="*/ 2107709 h 2436046"/>
              <a:gd name="connsiteX92-8769" fmla="*/ 3237470 w 5168654"/>
              <a:gd name="connsiteY92-8770" fmla="*/ 2118300 h 2436046"/>
              <a:gd name="connsiteX93-8771" fmla="*/ 3230409 w 5168654"/>
              <a:gd name="connsiteY93-8772" fmla="*/ 2181850 h 2436046"/>
              <a:gd name="connsiteX94-8773" fmla="*/ 3438709 w 5168654"/>
              <a:gd name="connsiteY94-8774" fmla="*/ 2181850 h 2436046"/>
              <a:gd name="connsiteX95-8775" fmla="*/ 3438709 w 5168654"/>
              <a:gd name="connsiteY95-8776" fmla="*/ 2199502 h 2436046"/>
              <a:gd name="connsiteX96-8777" fmla="*/ 3565807 w 5168654"/>
              <a:gd name="connsiteY96-8778" fmla="*/ 2199502 h 2436046"/>
              <a:gd name="connsiteX97-8779" fmla="*/ 3565807 w 5168654"/>
              <a:gd name="connsiteY97-8780" fmla="*/ 2227746 h 2436046"/>
              <a:gd name="connsiteX98-8781" fmla="*/ 3618764 w 5168654"/>
              <a:gd name="connsiteY98-8782" fmla="*/ 2227746 h 2436046"/>
              <a:gd name="connsiteX99-8783" fmla="*/ 3618764 w 5168654"/>
              <a:gd name="connsiteY99-8784" fmla="*/ 2252460 h 2436046"/>
              <a:gd name="connsiteX100-8785" fmla="*/ 3890613 w 5168654"/>
              <a:gd name="connsiteY100-8786" fmla="*/ 2252460 h 2436046"/>
              <a:gd name="connsiteX101-8787" fmla="*/ 3890613 w 5168654"/>
              <a:gd name="connsiteY101-8788" fmla="*/ 2287765 h 2436046"/>
              <a:gd name="connsiteX102-8789" fmla="*/ 3975345 w 5168654"/>
              <a:gd name="connsiteY102-8790" fmla="*/ 2287765 h 2436046"/>
              <a:gd name="connsiteX103-8791" fmla="*/ 3975345 w 5168654"/>
              <a:gd name="connsiteY103-8792" fmla="*/ 2316009 h 2436046"/>
              <a:gd name="connsiteX104-8793" fmla="*/ 4007119 w 5168654"/>
              <a:gd name="connsiteY104-8794" fmla="*/ 2316009 h 2436046"/>
              <a:gd name="connsiteX105-8795" fmla="*/ 4007119 w 5168654"/>
              <a:gd name="connsiteY105-8796" fmla="*/ 2368967 h 2436046"/>
              <a:gd name="connsiteX106-8797" fmla="*/ 4614366 w 5168654"/>
              <a:gd name="connsiteY106-8798" fmla="*/ 2368967 h 2436046"/>
              <a:gd name="connsiteX107-8799" fmla="*/ 4614366 w 5168654"/>
              <a:gd name="connsiteY107-8800" fmla="*/ 2436046 h 2436046"/>
              <a:gd name="connsiteX108-8801" fmla="*/ 5168654 w 5168654"/>
              <a:gd name="connsiteY108-8802" fmla="*/ 2436046 h 2436046"/>
              <a:gd name="connsiteX0-8803" fmla="*/ 0 w 5168654"/>
              <a:gd name="connsiteY0-8804" fmla="*/ 0 h 2436046"/>
              <a:gd name="connsiteX1-8805" fmla="*/ 44423 w 5168654"/>
              <a:gd name="connsiteY1-8806" fmla="*/ 2179 h 2436046"/>
              <a:gd name="connsiteX2-8807" fmla="*/ 150051 w 5168654"/>
              <a:gd name="connsiteY2-8808" fmla="*/ 18553 h 2436046"/>
              <a:gd name="connsiteX3-8809" fmla="*/ 144750 w 5168654"/>
              <a:gd name="connsiteY3-8810" fmla="*/ 42366 h 2436046"/>
              <a:gd name="connsiteX4-8811" fmla="*/ 158872 w 5168654"/>
              <a:gd name="connsiteY4-8812" fmla="*/ 42366 h 2436046"/>
              <a:gd name="connsiteX5-8813" fmla="*/ 158872 w 5168654"/>
              <a:gd name="connsiteY5-8814" fmla="*/ 81201 h 2436046"/>
              <a:gd name="connsiteX6-8815" fmla="*/ 162403 w 5168654"/>
              <a:gd name="connsiteY6-8816" fmla="*/ 84732 h 2436046"/>
              <a:gd name="connsiteX7-8817" fmla="*/ 162403 w 5168654"/>
              <a:gd name="connsiteY7-8818" fmla="*/ 155342 h 2436046"/>
              <a:gd name="connsiteX8-8819" fmla="*/ 257726 w 5168654"/>
              <a:gd name="connsiteY8-8820" fmla="*/ 155342 h 2436046"/>
              <a:gd name="connsiteX9-8821" fmla="*/ 257726 w 5168654"/>
              <a:gd name="connsiteY9-8822" fmla="*/ 190647 h 2436046"/>
              <a:gd name="connsiteX10-8823" fmla="*/ 268318 w 5168654"/>
              <a:gd name="connsiteY10-8824" fmla="*/ 190647 h 2436046"/>
              <a:gd name="connsiteX11-8825" fmla="*/ 268318 w 5168654"/>
              <a:gd name="connsiteY11-8826" fmla="*/ 222432 h 2436046"/>
              <a:gd name="connsiteX12-8827" fmla="*/ 505742 w 5168654"/>
              <a:gd name="connsiteY12-8828" fmla="*/ 219781 h 2436046"/>
              <a:gd name="connsiteX13-8829" fmla="*/ 508392 w 5168654"/>
              <a:gd name="connsiteY13-8830" fmla="*/ 243604 h 2436046"/>
              <a:gd name="connsiteX14-8831" fmla="*/ 536636 w 5168654"/>
              <a:gd name="connsiteY14-8832" fmla="*/ 243604 h 2436046"/>
              <a:gd name="connsiteX15-8833" fmla="*/ 536636 w 5168654"/>
              <a:gd name="connsiteY15-8834" fmla="*/ 363641 h 2436046"/>
              <a:gd name="connsiteX16-8835" fmla="*/ 554288 w 5168654"/>
              <a:gd name="connsiteY16-8836" fmla="*/ 363641 h 2436046"/>
              <a:gd name="connsiteX17-8837" fmla="*/ 559589 w 5168654"/>
              <a:gd name="connsiteY17-8838" fmla="*/ 418359 h 2436046"/>
              <a:gd name="connsiteX18-8839" fmla="*/ 772299 w 5168654"/>
              <a:gd name="connsiteY18-8840" fmla="*/ 413058 h 2436046"/>
              <a:gd name="connsiteX19-8841" fmla="*/ 776710 w 5168654"/>
              <a:gd name="connsiteY19-8842" fmla="*/ 455434 h 2436046"/>
              <a:gd name="connsiteX20-8843" fmla="*/ 794363 w 5168654"/>
              <a:gd name="connsiteY20-8844" fmla="*/ 455434 h 2436046"/>
              <a:gd name="connsiteX21-8845" fmla="*/ 794363 w 5168654"/>
              <a:gd name="connsiteY21-8846" fmla="*/ 497801 h 2436046"/>
              <a:gd name="connsiteX22-8847" fmla="*/ 808485 w 5168654"/>
              <a:gd name="connsiteY22-8848" fmla="*/ 497801 h 2436046"/>
              <a:gd name="connsiteX23-8849" fmla="*/ 808485 w 5168654"/>
              <a:gd name="connsiteY23-8850" fmla="*/ 621368 h 2436046"/>
              <a:gd name="connsiteX24-8851" fmla="*/ 822607 w 5168654"/>
              <a:gd name="connsiteY24-8852" fmla="*/ 621368 h 2436046"/>
              <a:gd name="connsiteX25-8853" fmla="*/ 822607 w 5168654"/>
              <a:gd name="connsiteY25-8854" fmla="*/ 639021 h 2436046"/>
              <a:gd name="connsiteX26-8855" fmla="*/ 1045028 w 5168654"/>
              <a:gd name="connsiteY26-8856" fmla="*/ 639021 h 2436046"/>
              <a:gd name="connsiteX27-8857" fmla="*/ 1045028 w 5168654"/>
              <a:gd name="connsiteY27-8858" fmla="*/ 790832 h 2436046"/>
              <a:gd name="connsiteX28-8859" fmla="*/ 1059150 w 5168654"/>
              <a:gd name="connsiteY28-8860" fmla="*/ 790832 h 2436046"/>
              <a:gd name="connsiteX29-8861" fmla="*/ 1059150 w 5168654"/>
              <a:gd name="connsiteY29-8862" fmla="*/ 889686 h 2436046"/>
              <a:gd name="connsiteX30-8863" fmla="*/ 1083864 w 5168654"/>
              <a:gd name="connsiteY30-8864" fmla="*/ 889686 h 2436046"/>
              <a:gd name="connsiteX31-8865" fmla="*/ 1101516 w 5168654"/>
              <a:gd name="connsiteY31-8866" fmla="*/ 889686 h 2436046"/>
              <a:gd name="connsiteX32-8867" fmla="*/ 1158004 w 5168654"/>
              <a:gd name="connsiteY32-8868" fmla="*/ 889686 h 2436046"/>
              <a:gd name="connsiteX33-8869" fmla="*/ 1158004 w 5168654"/>
              <a:gd name="connsiteY33-8870" fmla="*/ 917930 h 2436046"/>
              <a:gd name="connsiteX34-8871" fmla="*/ 1302755 w 5168654"/>
              <a:gd name="connsiteY34-8872" fmla="*/ 917930 h 2436046"/>
              <a:gd name="connsiteX35-8873" fmla="*/ 1302755 w 5168654"/>
              <a:gd name="connsiteY35-8874" fmla="*/ 942644 h 2436046"/>
              <a:gd name="connsiteX36-8875" fmla="*/ 1313346 w 5168654"/>
              <a:gd name="connsiteY36-8876" fmla="*/ 942644 h 2436046"/>
              <a:gd name="connsiteX37-8877" fmla="*/ 1313346 w 5168654"/>
              <a:gd name="connsiteY37-8878" fmla="*/ 1034437 h 2436046"/>
              <a:gd name="connsiteX38-8879" fmla="*/ 1316877 w 5168654"/>
              <a:gd name="connsiteY38-8880" fmla="*/ 1034437 h 2436046"/>
              <a:gd name="connsiteX39-8881" fmla="*/ 1316877 w 5168654"/>
              <a:gd name="connsiteY39-8882" fmla="*/ 1080333 h 2436046"/>
              <a:gd name="connsiteX40-8883" fmla="*/ 1489871 w 5168654"/>
              <a:gd name="connsiteY40-8884" fmla="*/ 1080333 h 2436046"/>
              <a:gd name="connsiteX41-8885" fmla="*/ 1489871 w 5168654"/>
              <a:gd name="connsiteY41-8886" fmla="*/ 1097986 h 2436046"/>
              <a:gd name="connsiteX42-8887" fmla="*/ 1518115 w 5168654"/>
              <a:gd name="connsiteY42-8888" fmla="*/ 1097986 h 2436046"/>
              <a:gd name="connsiteX43-8889" fmla="*/ 1518115 w 5168654"/>
              <a:gd name="connsiteY43-8890" fmla="*/ 1122699 h 2436046"/>
              <a:gd name="connsiteX44-8891" fmla="*/ 1532237 w 5168654"/>
              <a:gd name="connsiteY44-8892" fmla="*/ 1122699 h 2436046"/>
              <a:gd name="connsiteX45-8893" fmla="*/ 1539298 w 5168654"/>
              <a:gd name="connsiteY45-8894" fmla="*/ 1129760 h 2436046"/>
              <a:gd name="connsiteX46-8895" fmla="*/ 1553420 w 5168654"/>
              <a:gd name="connsiteY46-8896" fmla="*/ 1143882 h 2436046"/>
              <a:gd name="connsiteX47-8897" fmla="*/ 1553420 w 5168654"/>
              <a:gd name="connsiteY47-8898" fmla="*/ 1189779 h 2436046"/>
              <a:gd name="connsiteX48-8899" fmla="*/ 1564012 w 5168654"/>
              <a:gd name="connsiteY48-8900" fmla="*/ 1189779 h 2436046"/>
              <a:gd name="connsiteX49-8901" fmla="*/ 1564012 w 5168654"/>
              <a:gd name="connsiteY49-8902" fmla="*/ 1253328 h 2436046"/>
              <a:gd name="connsiteX50-8903" fmla="*/ 1578134 w 5168654"/>
              <a:gd name="connsiteY50-8904" fmla="*/ 1253328 h 2436046"/>
              <a:gd name="connsiteX51-8905" fmla="*/ 1578134 w 5168654"/>
              <a:gd name="connsiteY51-8906" fmla="*/ 1345121 h 2436046"/>
              <a:gd name="connsiteX52-8907" fmla="*/ 1588726 w 5168654"/>
              <a:gd name="connsiteY52-8908" fmla="*/ 1345121 h 2436046"/>
              <a:gd name="connsiteX53-8909" fmla="*/ 1588726 w 5168654"/>
              <a:gd name="connsiteY53-8910" fmla="*/ 1380426 h 2436046"/>
              <a:gd name="connsiteX54-8911" fmla="*/ 1588726 w 5168654"/>
              <a:gd name="connsiteY54-8912" fmla="*/ 1393678 h 2436046"/>
              <a:gd name="connsiteX55-8913" fmla="*/ 1797025 w 5168654"/>
              <a:gd name="connsiteY55-8914" fmla="*/ 1391027 h 2436046"/>
              <a:gd name="connsiteX56-8915" fmla="*/ 1797025 w 5168654"/>
              <a:gd name="connsiteY56-8916" fmla="*/ 1472219 h 2436046"/>
              <a:gd name="connsiteX57-8917" fmla="*/ 1828800 w 5168654"/>
              <a:gd name="connsiteY57-8918" fmla="*/ 1472219 h 2436046"/>
              <a:gd name="connsiteX58-8919" fmla="*/ 1828800 w 5168654"/>
              <a:gd name="connsiteY58-8920" fmla="*/ 1489872 h 2436046"/>
              <a:gd name="connsiteX59-8921" fmla="*/ 1828800 w 5168654"/>
              <a:gd name="connsiteY59-8922" fmla="*/ 1503994 h 2436046"/>
              <a:gd name="connsiteX60-8923" fmla="*/ 1846452 w 5168654"/>
              <a:gd name="connsiteY60-8924" fmla="*/ 1503994 h 2436046"/>
              <a:gd name="connsiteX61-8925" fmla="*/ 1846452 w 5168654"/>
              <a:gd name="connsiteY61-8926" fmla="*/ 1564012 h 2436046"/>
              <a:gd name="connsiteX62-8927" fmla="*/ 1878227 w 5168654"/>
              <a:gd name="connsiteY62-8928" fmla="*/ 1564012 h 2436046"/>
              <a:gd name="connsiteX63-8929" fmla="*/ 1878227 w 5168654"/>
              <a:gd name="connsiteY63-8930" fmla="*/ 1595787 h 2436046"/>
              <a:gd name="connsiteX64-8931" fmla="*/ 2072404 w 5168654"/>
              <a:gd name="connsiteY64-8932" fmla="*/ 1595787 h 2436046"/>
              <a:gd name="connsiteX65-8933" fmla="*/ 2072404 w 5168654"/>
              <a:gd name="connsiteY65-8934" fmla="*/ 1673458 h 2436046"/>
              <a:gd name="connsiteX66-8935" fmla="*/ 2093587 w 5168654"/>
              <a:gd name="connsiteY66-8936" fmla="*/ 1673458 h 2436046"/>
              <a:gd name="connsiteX67-8937" fmla="*/ 2093587 w 5168654"/>
              <a:gd name="connsiteY67-8938" fmla="*/ 1684049 h 2436046"/>
              <a:gd name="connsiteX68-8939" fmla="*/ 2097118 w 5168654"/>
              <a:gd name="connsiteY68-8940" fmla="*/ 1684049 h 2436046"/>
              <a:gd name="connsiteX69-8941" fmla="*/ 2097118 w 5168654"/>
              <a:gd name="connsiteY69-8942" fmla="*/ 1701702 h 2436046"/>
              <a:gd name="connsiteX70-8943" fmla="*/ 2111240 w 5168654"/>
              <a:gd name="connsiteY70-8944" fmla="*/ 1701702 h 2436046"/>
              <a:gd name="connsiteX71-8945" fmla="*/ 2114770 w 5168654"/>
              <a:gd name="connsiteY71-8946" fmla="*/ 1715824 h 2436046"/>
              <a:gd name="connsiteX72-8947" fmla="*/ 2418392 w 5168654"/>
              <a:gd name="connsiteY72-8948" fmla="*/ 1715824 h 2436046"/>
              <a:gd name="connsiteX73-8949" fmla="*/ 2418393 w 5168654"/>
              <a:gd name="connsiteY73-8950" fmla="*/ 1744068 h 2436046"/>
              <a:gd name="connsiteX74-8951" fmla="*/ 2418393 w 5168654"/>
              <a:gd name="connsiteY74-8952" fmla="*/ 1744068 h 2436046"/>
              <a:gd name="connsiteX75-8953" fmla="*/ 2446637 w 5168654"/>
              <a:gd name="connsiteY75-8954" fmla="*/ 1772312 h 2436046"/>
              <a:gd name="connsiteX76-8955" fmla="*/ 2460759 w 5168654"/>
              <a:gd name="connsiteY76-8956" fmla="*/ 1772312 h 2436046"/>
              <a:gd name="connsiteX77-8957" fmla="*/ 2460759 w 5168654"/>
              <a:gd name="connsiteY77-8958" fmla="*/ 1821739 h 2436046"/>
              <a:gd name="connsiteX78-8959" fmla="*/ 2478412 w 5168654"/>
              <a:gd name="connsiteY78-8960" fmla="*/ 1821739 h 2436046"/>
              <a:gd name="connsiteX79-8961" fmla="*/ 2478412 w 5168654"/>
              <a:gd name="connsiteY79-8962" fmla="*/ 1920593 h 2436046"/>
              <a:gd name="connsiteX80-8963" fmla="*/ 2633754 w 5168654"/>
              <a:gd name="connsiteY80-8964" fmla="*/ 1920593 h 2436046"/>
              <a:gd name="connsiteX81-8965" fmla="*/ 2633754 w 5168654"/>
              <a:gd name="connsiteY81-8966" fmla="*/ 1941776 h 2436046"/>
              <a:gd name="connsiteX82-8967" fmla="*/ 2732608 w 5168654"/>
              <a:gd name="connsiteY82-8968" fmla="*/ 1941776 h 2436046"/>
              <a:gd name="connsiteX83-8969" fmla="*/ 2729036 w 5168654"/>
              <a:gd name="connsiteY83-8970" fmla="*/ 1959407 h 2436046"/>
              <a:gd name="connsiteX84-8971" fmla="*/ 2777020 w 5168654"/>
              <a:gd name="connsiteY84-8972" fmla="*/ 1963502 h 2436046"/>
              <a:gd name="connsiteX85-8973" fmla="*/ 2782035 w 5168654"/>
              <a:gd name="connsiteY85-8974" fmla="*/ 1991203 h 2436046"/>
              <a:gd name="connsiteX86-8975" fmla="*/ 2838523 w 5168654"/>
              <a:gd name="connsiteY86-8976" fmla="*/ 1991203 h 2436046"/>
              <a:gd name="connsiteX87-8977" fmla="*/ 2838523 w 5168654"/>
              <a:gd name="connsiteY87-8978" fmla="*/ 2019447 h 2436046"/>
              <a:gd name="connsiteX88-8979" fmla="*/ 2852645 w 5168654"/>
              <a:gd name="connsiteY88-8980" fmla="*/ 2019447 h 2436046"/>
              <a:gd name="connsiteX89-8981" fmla="*/ 2852645 w 5168654"/>
              <a:gd name="connsiteY89-8982" fmla="*/ 2075935 h 2436046"/>
              <a:gd name="connsiteX90-8983" fmla="*/ 3219817 w 5168654"/>
              <a:gd name="connsiteY90-8984" fmla="*/ 2075934 h 2436046"/>
              <a:gd name="connsiteX91-8985" fmla="*/ 3205695 w 5168654"/>
              <a:gd name="connsiteY91-8986" fmla="*/ 2107709 h 2436046"/>
              <a:gd name="connsiteX92-8987" fmla="*/ 3237470 w 5168654"/>
              <a:gd name="connsiteY92-8988" fmla="*/ 2118300 h 2436046"/>
              <a:gd name="connsiteX93-8989" fmla="*/ 3230409 w 5168654"/>
              <a:gd name="connsiteY93-8990" fmla="*/ 2181850 h 2436046"/>
              <a:gd name="connsiteX94-8991" fmla="*/ 3438709 w 5168654"/>
              <a:gd name="connsiteY94-8992" fmla="*/ 2181850 h 2436046"/>
              <a:gd name="connsiteX95-8993" fmla="*/ 3438709 w 5168654"/>
              <a:gd name="connsiteY95-8994" fmla="*/ 2199502 h 2436046"/>
              <a:gd name="connsiteX96-8995" fmla="*/ 3565807 w 5168654"/>
              <a:gd name="connsiteY96-8996" fmla="*/ 2199502 h 2436046"/>
              <a:gd name="connsiteX97-8997" fmla="*/ 3565807 w 5168654"/>
              <a:gd name="connsiteY97-8998" fmla="*/ 2227746 h 2436046"/>
              <a:gd name="connsiteX98-8999" fmla="*/ 3618764 w 5168654"/>
              <a:gd name="connsiteY98-9000" fmla="*/ 2227746 h 2436046"/>
              <a:gd name="connsiteX99-9001" fmla="*/ 3618764 w 5168654"/>
              <a:gd name="connsiteY99-9002" fmla="*/ 2252460 h 2436046"/>
              <a:gd name="connsiteX100-9003" fmla="*/ 3890613 w 5168654"/>
              <a:gd name="connsiteY100-9004" fmla="*/ 2252460 h 2436046"/>
              <a:gd name="connsiteX101-9005" fmla="*/ 3890613 w 5168654"/>
              <a:gd name="connsiteY101-9006" fmla="*/ 2287765 h 2436046"/>
              <a:gd name="connsiteX102-9007" fmla="*/ 3975345 w 5168654"/>
              <a:gd name="connsiteY102-9008" fmla="*/ 2287765 h 2436046"/>
              <a:gd name="connsiteX103-9009" fmla="*/ 3975345 w 5168654"/>
              <a:gd name="connsiteY103-9010" fmla="*/ 2316009 h 2436046"/>
              <a:gd name="connsiteX104-9011" fmla="*/ 4007119 w 5168654"/>
              <a:gd name="connsiteY104-9012" fmla="*/ 2316009 h 2436046"/>
              <a:gd name="connsiteX105-9013" fmla="*/ 4007119 w 5168654"/>
              <a:gd name="connsiteY105-9014" fmla="*/ 2368967 h 2436046"/>
              <a:gd name="connsiteX106-9015" fmla="*/ 4614366 w 5168654"/>
              <a:gd name="connsiteY106-9016" fmla="*/ 2368967 h 2436046"/>
              <a:gd name="connsiteX107-9017" fmla="*/ 4614366 w 5168654"/>
              <a:gd name="connsiteY107-9018" fmla="*/ 2436046 h 2436046"/>
              <a:gd name="connsiteX108-9019" fmla="*/ 5168654 w 5168654"/>
              <a:gd name="connsiteY108-9020" fmla="*/ 2436046 h 2436046"/>
              <a:gd name="connsiteX0-9021" fmla="*/ 0 w 5168654"/>
              <a:gd name="connsiteY0-9022" fmla="*/ 0 h 2436046"/>
              <a:gd name="connsiteX1-9023" fmla="*/ 47073 w 5168654"/>
              <a:gd name="connsiteY1-9024" fmla="*/ 23383 h 2436046"/>
              <a:gd name="connsiteX2-9025" fmla="*/ 150051 w 5168654"/>
              <a:gd name="connsiteY2-9026" fmla="*/ 18553 h 2436046"/>
              <a:gd name="connsiteX3-9027" fmla="*/ 144750 w 5168654"/>
              <a:gd name="connsiteY3-9028" fmla="*/ 42366 h 2436046"/>
              <a:gd name="connsiteX4-9029" fmla="*/ 158872 w 5168654"/>
              <a:gd name="connsiteY4-9030" fmla="*/ 42366 h 2436046"/>
              <a:gd name="connsiteX5-9031" fmla="*/ 158872 w 5168654"/>
              <a:gd name="connsiteY5-9032" fmla="*/ 81201 h 2436046"/>
              <a:gd name="connsiteX6-9033" fmla="*/ 162403 w 5168654"/>
              <a:gd name="connsiteY6-9034" fmla="*/ 84732 h 2436046"/>
              <a:gd name="connsiteX7-9035" fmla="*/ 162403 w 5168654"/>
              <a:gd name="connsiteY7-9036" fmla="*/ 155342 h 2436046"/>
              <a:gd name="connsiteX8-9037" fmla="*/ 257726 w 5168654"/>
              <a:gd name="connsiteY8-9038" fmla="*/ 155342 h 2436046"/>
              <a:gd name="connsiteX9-9039" fmla="*/ 257726 w 5168654"/>
              <a:gd name="connsiteY9-9040" fmla="*/ 190647 h 2436046"/>
              <a:gd name="connsiteX10-9041" fmla="*/ 268318 w 5168654"/>
              <a:gd name="connsiteY10-9042" fmla="*/ 190647 h 2436046"/>
              <a:gd name="connsiteX11-9043" fmla="*/ 268318 w 5168654"/>
              <a:gd name="connsiteY11-9044" fmla="*/ 222432 h 2436046"/>
              <a:gd name="connsiteX12-9045" fmla="*/ 505742 w 5168654"/>
              <a:gd name="connsiteY12-9046" fmla="*/ 219781 h 2436046"/>
              <a:gd name="connsiteX13-9047" fmla="*/ 508392 w 5168654"/>
              <a:gd name="connsiteY13-9048" fmla="*/ 243604 h 2436046"/>
              <a:gd name="connsiteX14-9049" fmla="*/ 536636 w 5168654"/>
              <a:gd name="connsiteY14-9050" fmla="*/ 243604 h 2436046"/>
              <a:gd name="connsiteX15-9051" fmla="*/ 536636 w 5168654"/>
              <a:gd name="connsiteY15-9052" fmla="*/ 363641 h 2436046"/>
              <a:gd name="connsiteX16-9053" fmla="*/ 554288 w 5168654"/>
              <a:gd name="connsiteY16-9054" fmla="*/ 363641 h 2436046"/>
              <a:gd name="connsiteX17-9055" fmla="*/ 559589 w 5168654"/>
              <a:gd name="connsiteY17-9056" fmla="*/ 418359 h 2436046"/>
              <a:gd name="connsiteX18-9057" fmla="*/ 772299 w 5168654"/>
              <a:gd name="connsiteY18-9058" fmla="*/ 413058 h 2436046"/>
              <a:gd name="connsiteX19-9059" fmla="*/ 776710 w 5168654"/>
              <a:gd name="connsiteY19-9060" fmla="*/ 455434 h 2436046"/>
              <a:gd name="connsiteX20-9061" fmla="*/ 794363 w 5168654"/>
              <a:gd name="connsiteY20-9062" fmla="*/ 455434 h 2436046"/>
              <a:gd name="connsiteX21-9063" fmla="*/ 794363 w 5168654"/>
              <a:gd name="connsiteY21-9064" fmla="*/ 497801 h 2436046"/>
              <a:gd name="connsiteX22-9065" fmla="*/ 808485 w 5168654"/>
              <a:gd name="connsiteY22-9066" fmla="*/ 497801 h 2436046"/>
              <a:gd name="connsiteX23-9067" fmla="*/ 808485 w 5168654"/>
              <a:gd name="connsiteY23-9068" fmla="*/ 621368 h 2436046"/>
              <a:gd name="connsiteX24-9069" fmla="*/ 822607 w 5168654"/>
              <a:gd name="connsiteY24-9070" fmla="*/ 621368 h 2436046"/>
              <a:gd name="connsiteX25-9071" fmla="*/ 822607 w 5168654"/>
              <a:gd name="connsiteY25-9072" fmla="*/ 639021 h 2436046"/>
              <a:gd name="connsiteX26-9073" fmla="*/ 1045028 w 5168654"/>
              <a:gd name="connsiteY26-9074" fmla="*/ 639021 h 2436046"/>
              <a:gd name="connsiteX27-9075" fmla="*/ 1045028 w 5168654"/>
              <a:gd name="connsiteY27-9076" fmla="*/ 790832 h 2436046"/>
              <a:gd name="connsiteX28-9077" fmla="*/ 1059150 w 5168654"/>
              <a:gd name="connsiteY28-9078" fmla="*/ 790832 h 2436046"/>
              <a:gd name="connsiteX29-9079" fmla="*/ 1059150 w 5168654"/>
              <a:gd name="connsiteY29-9080" fmla="*/ 889686 h 2436046"/>
              <a:gd name="connsiteX30-9081" fmla="*/ 1083864 w 5168654"/>
              <a:gd name="connsiteY30-9082" fmla="*/ 889686 h 2436046"/>
              <a:gd name="connsiteX31-9083" fmla="*/ 1101516 w 5168654"/>
              <a:gd name="connsiteY31-9084" fmla="*/ 889686 h 2436046"/>
              <a:gd name="connsiteX32-9085" fmla="*/ 1158004 w 5168654"/>
              <a:gd name="connsiteY32-9086" fmla="*/ 889686 h 2436046"/>
              <a:gd name="connsiteX33-9087" fmla="*/ 1158004 w 5168654"/>
              <a:gd name="connsiteY33-9088" fmla="*/ 917930 h 2436046"/>
              <a:gd name="connsiteX34-9089" fmla="*/ 1302755 w 5168654"/>
              <a:gd name="connsiteY34-9090" fmla="*/ 917930 h 2436046"/>
              <a:gd name="connsiteX35-9091" fmla="*/ 1302755 w 5168654"/>
              <a:gd name="connsiteY35-9092" fmla="*/ 942644 h 2436046"/>
              <a:gd name="connsiteX36-9093" fmla="*/ 1313346 w 5168654"/>
              <a:gd name="connsiteY36-9094" fmla="*/ 942644 h 2436046"/>
              <a:gd name="connsiteX37-9095" fmla="*/ 1313346 w 5168654"/>
              <a:gd name="connsiteY37-9096" fmla="*/ 1034437 h 2436046"/>
              <a:gd name="connsiteX38-9097" fmla="*/ 1316877 w 5168654"/>
              <a:gd name="connsiteY38-9098" fmla="*/ 1034437 h 2436046"/>
              <a:gd name="connsiteX39-9099" fmla="*/ 1316877 w 5168654"/>
              <a:gd name="connsiteY39-9100" fmla="*/ 1080333 h 2436046"/>
              <a:gd name="connsiteX40-9101" fmla="*/ 1489871 w 5168654"/>
              <a:gd name="connsiteY40-9102" fmla="*/ 1080333 h 2436046"/>
              <a:gd name="connsiteX41-9103" fmla="*/ 1489871 w 5168654"/>
              <a:gd name="connsiteY41-9104" fmla="*/ 1097986 h 2436046"/>
              <a:gd name="connsiteX42-9105" fmla="*/ 1518115 w 5168654"/>
              <a:gd name="connsiteY42-9106" fmla="*/ 1097986 h 2436046"/>
              <a:gd name="connsiteX43-9107" fmla="*/ 1518115 w 5168654"/>
              <a:gd name="connsiteY43-9108" fmla="*/ 1122699 h 2436046"/>
              <a:gd name="connsiteX44-9109" fmla="*/ 1532237 w 5168654"/>
              <a:gd name="connsiteY44-9110" fmla="*/ 1122699 h 2436046"/>
              <a:gd name="connsiteX45-9111" fmla="*/ 1539298 w 5168654"/>
              <a:gd name="connsiteY45-9112" fmla="*/ 1129760 h 2436046"/>
              <a:gd name="connsiteX46-9113" fmla="*/ 1553420 w 5168654"/>
              <a:gd name="connsiteY46-9114" fmla="*/ 1143882 h 2436046"/>
              <a:gd name="connsiteX47-9115" fmla="*/ 1553420 w 5168654"/>
              <a:gd name="connsiteY47-9116" fmla="*/ 1189779 h 2436046"/>
              <a:gd name="connsiteX48-9117" fmla="*/ 1564012 w 5168654"/>
              <a:gd name="connsiteY48-9118" fmla="*/ 1189779 h 2436046"/>
              <a:gd name="connsiteX49-9119" fmla="*/ 1564012 w 5168654"/>
              <a:gd name="connsiteY49-9120" fmla="*/ 1253328 h 2436046"/>
              <a:gd name="connsiteX50-9121" fmla="*/ 1578134 w 5168654"/>
              <a:gd name="connsiteY50-9122" fmla="*/ 1253328 h 2436046"/>
              <a:gd name="connsiteX51-9123" fmla="*/ 1578134 w 5168654"/>
              <a:gd name="connsiteY51-9124" fmla="*/ 1345121 h 2436046"/>
              <a:gd name="connsiteX52-9125" fmla="*/ 1588726 w 5168654"/>
              <a:gd name="connsiteY52-9126" fmla="*/ 1345121 h 2436046"/>
              <a:gd name="connsiteX53-9127" fmla="*/ 1588726 w 5168654"/>
              <a:gd name="connsiteY53-9128" fmla="*/ 1380426 h 2436046"/>
              <a:gd name="connsiteX54-9129" fmla="*/ 1588726 w 5168654"/>
              <a:gd name="connsiteY54-9130" fmla="*/ 1393678 h 2436046"/>
              <a:gd name="connsiteX55-9131" fmla="*/ 1797025 w 5168654"/>
              <a:gd name="connsiteY55-9132" fmla="*/ 1391027 h 2436046"/>
              <a:gd name="connsiteX56-9133" fmla="*/ 1797025 w 5168654"/>
              <a:gd name="connsiteY56-9134" fmla="*/ 1472219 h 2436046"/>
              <a:gd name="connsiteX57-9135" fmla="*/ 1828800 w 5168654"/>
              <a:gd name="connsiteY57-9136" fmla="*/ 1472219 h 2436046"/>
              <a:gd name="connsiteX58-9137" fmla="*/ 1828800 w 5168654"/>
              <a:gd name="connsiteY58-9138" fmla="*/ 1489872 h 2436046"/>
              <a:gd name="connsiteX59-9139" fmla="*/ 1828800 w 5168654"/>
              <a:gd name="connsiteY59-9140" fmla="*/ 1503994 h 2436046"/>
              <a:gd name="connsiteX60-9141" fmla="*/ 1846452 w 5168654"/>
              <a:gd name="connsiteY60-9142" fmla="*/ 1503994 h 2436046"/>
              <a:gd name="connsiteX61-9143" fmla="*/ 1846452 w 5168654"/>
              <a:gd name="connsiteY61-9144" fmla="*/ 1564012 h 2436046"/>
              <a:gd name="connsiteX62-9145" fmla="*/ 1878227 w 5168654"/>
              <a:gd name="connsiteY62-9146" fmla="*/ 1564012 h 2436046"/>
              <a:gd name="connsiteX63-9147" fmla="*/ 1878227 w 5168654"/>
              <a:gd name="connsiteY63-9148" fmla="*/ 1595787 h 2436046"/>
              <a:gd name="connsiteX64-9149" fmla="*/ 2072404 w 5168654"/>
              <a:gd name="connsiteY64-9150" fmla="*/ 1595787 h 2436046"/>
              <a:gd name="connsiteX65-9151" fmla="*/ 2072404 w 5168654"/>
              <a:gd name="connsiteY65-9152" fmla="*/ 1673458 h 2436046"/>
              <a:gd name="connsiteX66-9153" fmla="*/ 2093587 w 5168654"/>
              <a:gd name="connsiteY66-9154" fmla="*/ 1673458 h 2436046"/>
              <a:gd name="connsiteX67-9155" fmla="*/ 2093587 w 5168654"/>
              <a:gd name="connsiteY67-9156" fmla="*/ 1684049 h 2436046"/>
              <a:gd name="connsiteX68-9157" fmla="*/ 2097118 w 5168654"/>
              <a:gd name="connsiteY68-9158" fmla="*/ 1684049 h 2436046"/>
              <a:gd name="connsiteX69-9159" fmla="*/ 2097118 w 5168654"/>
              <a:gd name="connsiteY69-9160" fmla="*/ 1701702 h 2436046"/>
              <a:gd name="connsiteX70-9161" fmla="*/ 2111240 w 5168654"/>
              <a:gd name="connsiteY70-9162" fmla="*/ 1701702 h 2436046"/>
              <a:gd name="connsiteX71-9163" fmla="*/ 2114770 w 5168654"/>
              <a:gd name="connsiteY71-9164" fmla="*/ 1715824 h 2436046"/>
              <a:gd name="connsiteX72-9165" fmla="*/ 2418392 w 5168654"/>
              <a:gd name="connsiteY72-9166" fmla="*/ 1715824 h 2436046"/>
              <a:gd name="connsiteX73-9167" fmla="*/ 2418393 w 5168654"/>
              <a:gd name="connsiteY73-9168" fmla="*/ 1744068 h 2436046"/>
              <a:gd name="connsiteX74-9169" fmla="*/ 2418393 w 5168654"/>
              <a:gd name="connsiteY74-9170" fmla="*/ 1744068 h 2436046"/>
              <a:gd name="connsiteX75-9171" fmla="*/ 2446637 w 5168654"/>
              <a:gd name="connsiteY75-9172" fmla="*/ 1772312 h 2436046"/>
              <a:gd name="connsiteX76-9173" fmla="*/ 2460759 w 5168654"/>
              <a:gd name="connsiteY76-9174" fmla="*/ 1772312 h 2436046"/>
              <a:gd name="connsiteX77-9175" fmla="*/ 2460759 w 5168654"/>
              <a:gd name="connsiteY77-9176" fmla="*/ 1821739 h 2436046"/>
              <a:gd name="connsiteX78-9177" fmla="*/ 2478412 w 5168654"/>
              <a:gd name="connsiteY78-9178" fmla="*/ 1821739 h 2436046"/>
              <a:gd name="connsiteX79-9179" fmla="*/ 2478412 w 5168654"/>
              <a:gd name="connsiteY79-9180" fmla="*/ 1920593 h 2436046"/>
              <a:gd name="connsiteX80-9181" fmla="*/ 2633754 w 5168654"/>
              <a:gd name="connsiteY80-9182" fmla="*/ 1920593 h 2436046"/>
              <a:gd name="connsiteX81-9183" fmla="*/ 2633754 w 5168654"/>
              <a:gd name="connsiteY81-9184" fmla="*/ 1941776 h 2436046"/>
              <a:gd name="connsiteX82-9185" fmla="*/ 2732608 w 5168654"/>
              <a:gd name="connsiteY82-9186" fmla="*/ 1941776 h 2436046"/>
              <a:gd name="connsiteX83-9187" fmla="*/ 2729036 w 5168654"/>
              <a:gd name="connsiteY83-9188" fmla="*/ 1959407 h 2436046"/>
              <a:gd name="connsiteX84-9189" fmla="*/ 2777020 w 5168654"/>
              <a:gd name="connsiteY84-9190" fmla="*/ 1963502 h 2436046"/>
              <a:gd name="connsiteX85-9191" fmla="*/ 2782035 w 5168654"/>
              <a:gd name="connsiteY85-9192" fmla="*/ 1991203 h 2436046"/>
              <a:gd name="connsiteX86-9193" fmla="*/ 2838523 w 5168654"/>
              <a:gd name="connsiteY86-9194" fmla="*/ 1991203 h 2436046"/>
              <a:gd name="connsiteX87-9195" fmla="*/ 2838523 w 5168654"/>
              <a:gd name="connsiteY87-9196" fmla="*/ 2019447 h 2436046"/>
              <a:gd name="connsiteX88-9197" fmla="*/ 2852645 w 5168654"/>
              <a:gd name="connsiteY88-9198" fmla="*/ 2019447 h 2436046"/>
              <a:gd name="connsiteX89-9199" fmla="*/ 2852645 w 5168654"/>
              <a:gd name="connsiteY89-9200" fmla="*/ 2075935 h 2436046"/>
              <a:gd name="connsiteX90-9201" fmla="*/ 3219817 w 5168654"/>
              <a:gd name="connsiteY90-9202" fmla="*/ 2075934 h 2436046"/>
              <a:gd name="connsiteX91-9203" fmla="*/ 3205695 w 5168654"/>
              <a:gd name="connsiteY91-9204" fmla="*/ 2107709 h 2436046"/>
              <a:gd name="connsiteX92-9205" fmla="*/ 3237470 w 5168654"/>
              <a:gd name="connsiteY92-9206" fmla="*/ 2118300 h 2436046"/>
              <a:gd name="connsiteX93-9207" fmla="*/ 3230409 w 5168654"/>
              <a:gd name="connsiteY93-9208" fmla="*/ 2181850 h 2436046"/>
              <a:gd name="connsiteX94-9209" fmla="*/ 3438709 w 5168654"/>
              <a:gd name="connsiteY94-9210" fmla="*/ 2181850 h 2436046"/>
              <a:gd name="connsiteX95-9211" fmla="*/ 3438709 w 5168654"/>
              <a:gd name="connsiteY95-9212" fmla="*/ 2199502 h 2436046"/>
              <a:gd name="connsiteX96-9213" fmla="*/ 3565807 w 5168654"/>
              <a:gd name="connsiteY96-9214" fmla="*/ 2199502 h 2436046"/>
              <a:gd name="connsiteX97-9215" fmla="*/ 3565807 w 5168654"/>
              <a:gd name="connsiteY97-9216" fmla="*/ 2227746 h 2436046"/>
              <a:gd name="connsiteX98-9217" fmla="*/ 3618764 w 5168654"/>
              <a:gd name="connsiteY98-9218" fmla="*/ 2227746 h 2436046"/>
              <a:gd name="connsiteX99-9219" fmla="*/ 3618764 w 5168654"/>
              <a:gd name="connsiteY99-9220" fmla="*/ 2252460 h 2436046"/>
              <a:gd name="connsiteX100-9221" fmla="*/ 3890613 w 5168654"/>
              <a:gd name="connsiteY100-9222" fmla="*/ 2252460 h 2436046"/>
              <a:gd name="connsiteX101-9223" fmla="*/ 3890613 w 5168654"/>
              <a:gd name="connsiteY101-9224" fmla="*/ 2287765 h 2436046"/>
              <a:gd name="connsiteX102-9225" fmla="*/ 3975345 w 5168654"/>
              <a:gd name="connsiteY102-9226" fmla="*/ 2287765 h 2436046"/>
              <a:gd name="connsiteX103-9227" fmla="*/ 3975345 w 5168654"/>
              <a:gd name="connsiteY103-9228" fmla="*/ 2316009 h 2436046"/>
              <a:gd name="connsiteX104-9229" fmla="*/ 4007119 w 5168654"/>
              <a:gd name="connsiteY104-9230" fmla="*/ 2316009 h 2436046"/>
              <a:gd name="connsiteX105-9231" fmla="*/ 4007119 w 5168654"/>
              <a:gd name="connsiteY105-9232" fmla="*/ 2368967 h 2436046"/>
              <a:gd name="connsiteX106-9233" fmla="*/ 4614366 w 5168654"/>
              <a:gd name="connsiteY106-9234" fmla="*/ 2368967 h 2436046"/>
              <a:gd name="connsiteX107-9235" fmla="*/ 4614366 w 5168654"/>
              <a:gd name="connsiteY107-9236" fmla="*/ 2436046 h 2436046"/>
              <a:gd name="connsiteX108-9237" fmla="*/ 5168654 w 5168654"/>
              <a:gd name="connsiteY108-9238" fmla="*/ 2436046 h 2436046"/>
              <a:gd name="connsiteX0-9239" fmla="*/ 0 w 5168654"/>
              <a:gd name="connsiteY0-9240" fmla="*/ 0 h 2436046"/>
              <a:gd name="connsiteX1-9241" fmla="*/ 47073 w 5168654"/>
              <a:gd name="connsiteY1-9242" fmla="*/ 23383 h 2436046"/>
              <a:gd name="connsiteX2-9243" fmla="*/ 150051 w 5168654"/>
              <a:gd name="connsiteY2-9244" fmla="*/ 18553 h 2436046"/>
              <a:gd name="connsiteX3-9245" fmla="*/ 144750 w 5168654"/>
              <a:gd name="connsiteY3-9246" fmla="*/ 42366 h 2436046"/>
              <a:gd name="connsiteX4-9247" fmla="*/ 158872 w 5168654"/>
              <a:gd name="connsiteY4-9248" fmla="*/ 42366 h 2436046"/>
              <a:gd name="connsiteX5-9249" fmla="*/ 158872 w 5168654"/>
              <a:gd name="connsiteY5-9250" fmla="*/ 81201 h 2436046"/>
              <a:gd name="connsiteX6-9251" fmla="*/ 162403 w 5168654"/>
              <a:gd name="connsiteY6-9252" fmla="*/ 84732 h 2436046"/>
              <a:gd name="connsiteX7-9253" fmla="*/ 162403 w 5168654"/>
              <a:gd name="connsiteY7-9254" fmla="*/ 155342 h 2436046"/>
              <a:gd name="connsiteX8-9255" fmla="*/ 257726 w 5168654"/>
              <a:gd name="connsiteY8-9256" fmla="*/ 155342 h 2436046"/>
              <a:gd name="connsiteX9-9257" fmla="*/ 257726 w 5168654"/>
              <a:gd name="connsiteY9-9258" fmla="*/ 190647 h 2436046"/>
              <a:gd name="connsiteX10-9259" fmla="*/ 268318 w 5168654"/>
              <a:gd name="connsiteY10-9260" fmla="*/ 190647 h 2436046"/>
              <a:gd name="connsiteX11-9261" fmla="*/ 268318 w 5168654"/>
              <a:gd name="connsiteY11-9262" fmla="*/ 222432 h 2436046"/>
              <a:gd name="connsiteX12-9263" fmla="*/ 505742 w 5168654"/>
              <a:gd name="connsiteY12-9264" fmla="*/ 219781 h 2436046"/>
              <a:gd name="connsiteX13-9265" fmla="*/ 508392 w 5168654"/>
              <a:gd name="connsiteY13-9266" fmla="*/ 243604 h 2436046"/>
              <a:gd name="connsiteX14-9267" fmla="*/ 536636 w 5168654"/>
              <a:gd name="connsiteY14-9268" fmla="*/ 243604 h 2436046"/>
              <a:gd name="connsiteX15-9269" fmla="*/ 536636 w 5168654"/>
              <a:gd name="connsiteY15-9270" fmla="*/ 363641 h 2436046"/>
              <a:gd name="connsiteX16-9271" fmla="*/ 554288 w 5168654"/>
              <a:gd name="connsiteY16-9272" fmla="*/ 363641 h 2436046"/>
              <a:gd name="connsiteX17-9273" fmla="*/ 559589 w 5168654"/>
              <a:gd name="connsiteY17-9274" fmla="*/ 418359 h 2436046"/>
              <a:gd name="connsiteX18-9275" fmla="*/ 772299 w 5168654"/>
              <a:gd name="connsiteY18-9276" fmla="*/ 413058 h 2436046"/>
              <a:gd name="connsiteX19-9277" fmla="*/ 776710 w 5168654"/>
              <a:gd name="connsiteY19-9278" fmla="*/ 455434 h 2436046"/>
              <a:gd name="connsiteX20-9279" fmla="*/ 794363 w 5168654"/>
              <a:gd name="connsiteY20-9280" fmla="*/ 455434 h 2436046"/>
              <a:gd name="connsiteX21-9281" fmla="*/ 794363 w 5168654"/>
              <a:gd name="connsiteY21-9282" fmla="*/ 497801 h 2436046"/>
              <a:gd name="connsiteX22-9283" fmla="*/ 808485 w 5168654"/>
              <a:gd name="connsiteY22-9284" fmla="*/ 497801 h 2436046"/>
              <a:gd name="connsiteX23-9285" fmla="*/ 808485 w 5168654"/>
              <a:gd name="connsiteY23-9286" fmla="*/ 621368 h 2436046"/>
              <a:gd name="connsiteX24-9287" fmla="*/ 822607 w 5168654"/>
              <a:gd name="connsiteY24-9288" fmla="*/ 621368 h 2436046"/>
              <a:gd name="connsiteX25-9289" fmla="*/ 822607 w 5168654"/>
              <a:gd name="connsiteY25-9290" fmla="*/ 639021 h 2436046"/>
              <a:gd name="connsiteX26-9291" fmla="*/ 1045028 w 5168654"/>
              <a:gd name="connsiteY26-9292" fmla="*/ 639021 h 2436046"/>
              <a:gd name="connsiteX27-9293" fmla="*/ 1045028 w 5168654"/>
              <a:gd name="connsiteY27-9294" fmla="*/ 790832 h 2436046"/>
              <a:gd name="connsiteX28-9295" fmla="*/ 1059150 w 5168654"/>
              <a:gd name="connsiteY28-9296" fmla="*/ 790832 h 2436046"/>
              <a:gd name="connsiteX29-9297" fmla="*/ 1059150 w 5168654"/>
              <a:gd name="connsiteY29-9298" fmla="*/ 889686 h 2436046"/>
              <a:gd name="connsiteX30-9299" fmla="*/ 1083864 w 5168654"/>
              <a:gd name="connsiteY30-9300" fmla="*/ 889686 h 2436046"/>
              <a:gd name="connsiteX31-9301" fmla="*/ 1101516 w 5168654"/>
              <a:gd name="connsiteY31-9302" fmla="*/ 889686 h 2436046"/>
              <a:gd name="connsiteX32-9303" fmla="*/ 1158004 w 5168654"/>
              <a:gd name="connsiteY32-9304" fmla="*/ 889686 h 2436046"/>
              <a:gd name="connsiteX33-9305" fmla="*/ 1158004 w 5168654"/>
              <a:gd name="connsiteY33-9306" fmla="*/ 917930 h 2436046"/>
              <a:gd name="connsiteX34-9307" fmla="*/ 1302755 w 5168654"/>
              <a:gd name="connsiteY34-9308" fmla="*/ 917930 h 2436046"/>
              <a:gd name="connsiteX35-9309" fmla="*/ 1302755 w 5168654"/>
              <a:gd name="connsiteY35-9310" fmla="*/ 942644 h 2436046"/>
              <a:gd name="connsiteX36-9311" fmla="*/ 1313346 w 5168654"/>
              <a:gd name="connsiteY36-9312" fmla="*/ 942644 h 2436046"/>
              <a:gd name="connsiteX37-9313" fmla="*/ 1313346 w 5168654"/>
              <a:gd name="connsiteY37-9314" fmla="*/ 1034437 h 2436046"/>
              <a:gd name="connsiteX38-9315" fmla="*/ 1316877 w 5168654"/>
              <a:gd name="connsiteY38-9316" fmla="*/ 1034437 h 2436046"/>
              <a:gd name="connsiteX39-9317" fmla="*/ 1316877 w 5168654"/>
              <a:gd name="connsiteY39-9318" fmla="*/ 1080333 h 2436046"/>
              <a:gd name="connsiteX40-9319" fmla="*/ 1489871 w 5168654"/>
              <a:gd name="connsiteY40-9320" fmla="*/ 1080333 h 2436046"/>
              <a:gd name="connsiteX41-9321" fmla="*/ 1489871 w 5168654"/>
              <a:gd name="connsiteY41-9322" fmla="*/ 1097986 h 2436046"/>
              <a:gd name="connsiteX42-9323" fmla="*/ 1518115 w 5168654"/>
              <a:gd name="connsiteY42-9324" fmla="*/ 1097986 h 2436046"/>
              <a:gd name="connsiteX43-9325" fmla="*/ 1518115 w 5168654"/>
              <a:gd name="connsiteY43-9326" fmla="*/ 1122699 h 2436046"/>
              <a:gd name="connsiteX44-9327" fmla="*/ 1532237 w 5168654"/>
              <a:gd name="connsiteY44-9328" fmla="*/ 1122699 h 2436046"/>
              <a:gd name="connsiteX45-9329" fmla="*/ 1539298 w 5168654"/>
              <a:gd name="connsiteY45-9330" fmla="*/ 1129760 h 2436046"/>
              <a:gd name="connsiteX46-9331" fmla="*/ 1553420 w 5168654"/>
              <a:gd name="connsiteY46-9332" fmla="*/ 1143882 h 2436046"/>
              <a:gd name="connsiteX47-9333" fmla="*/ 1553420 w 5168654"/>
              <a:gd name="connsiteY47-9334" fmla="*/ 1189779 h 2436046"/>
              <a:gd name="connsiteX48-9335" fmla="*/ 1564012 w 5168654"/>
              <a:gd name="connsiteY48-9336" fmla="*/ 1189779 h 2436046"/>
              <a:gd name="connsiteX49-9337" fmla="*/ 1564012 w 5168654"/>
              <a:gd name="connsiteY49-9338" fmla="*/ 1253328 h 2436046"/>
              <a:gd name="connsiteX50-9339" fmla="*/ 1578134 w 5168654"/>
              <a:gd name="connsiteY50-9340" fmla="*/ 1253328 h 2436046"/>
              <a:gd name="connsiteX51-9341" fmla="*/ 1578134 w 5168654"/>
              <a:gd name="connsiteY51-9342" fmla="*/ 1345121 h 2436046"/>
              <a:gd name="connsiteX52-9343" fmla="*/ 1588726 w 5168654"/>
              <a:gd name="connsiteY52-9344" fmla="*/ 1345121 h 2436046"/>
              <a:gd name="connsiteX53-9345" fmla="*/ 1588726 w 5168654"/>
              <a:gd name="connsiteY53-9346" fmla="*/ 1380426 h 2436046"/>
              <a:gd name="connsiteX54-9347" fmla="*/ 1588726 w 5168654"/>
              <a:gd name="connsiteY54-9348" fmla="*/ 1393678 h 2436046"/>
              <a:gd name="connsiteX55-9349" fmla="*/ 1797025 w 5168654"/>
              <a:gd name="connsiteY55-9350" fmla="*/ 1391027 h 2436046"/>
              <a:gd name="connsiteX56-9351" fmla="*/ 1797025 w 5168654"/>
              <a:gd name="connsiteY56-9352" fmla="*/ 1472219 h 2436046"/>
              <a:gd name="connsiteX57-9353" fmla="*/ 1828800 w 5168654"/>
              <a:gd name="connsiteY57-9354" fmla="*/ 1472219 h 2436046"/>
              <a:gd name="connsiteX58-9355" fmla="*/ 1828800 w 5168654"/>
              <a:gd name="connsiteY58-9356" fmla="*/ 1489872 h 2436046"/>
              <a:gd name="connsiteX59-9357" fmla="*/ 1828800 w 5168654"/>
              <a:gd name="connsiteY59-9358" fmla="*/ 1503994 h 2436046"/>
              <a:gd name="connsiteX60-9359" fmla="*/ 1846452 w 5168654"/>
              <a:gd name="connsiteY60-9360" fmla="*/ 1503994 h 2436046"/>
              <a:gd name="connsiteX61-9361" fmla="*/ 1846452 w 5168654"/>
              <a:gd name="connsiteY61-9362" fmla="*/ 1564012 h 2436046"/>
              <a:gd name="connsiteX62-9363" fmla="*/ 1878227 w 5168654"/>
              <a:gd name="connsiteY62-9364" fmla="*/ 1564012 h 2436046"/>
              <a:gd name="connsiteX63-9365" fmla="*/ 1878227 w 5168654"/>
              <a:gd name="connsiteY63-9366" fmla="*/ 1595787 h 2436046"/>
              <a:gd name="connsiteX64-9367" fmla="*/ 2072404 w 5168654"/>
              <a:gd name="connsiteY64-9368" fmla="*/ 1595787 h 2436046"/>
              <a:gd name="connsiteX65-9369" fmla="*/ 2072404 w 5168654"/>
              <a:gd name="connsiteY65-9370" fmla="*/ 1673458 h 2436046"/>
              <a:gd name="connsiteX66-9371" fmla="*/ 2093587 w 5168654"/>
              <a:gd name="connsiteY66-9372" fmla="*/ 1673458 h 2436046"/>
              <a:gd name="connsiteX67-9373" fmla="*/ 2093587 w 5168654"/>
              <a:gd name="connsiteY67-9374" fmla="*/ 1684049 h 2436046"/>
              <a:gd name="connsiteX68-9375" fmla="*/ 2097118 w 5168654"/>
              <a:gd name="connsiteY68-9376" fmla="*/ 1684049 h 2436046"/>
              <a:gd name="connsiteX69-9377" fmla="*/ 2097118 w 5168654"/>
              <a:gd name="connsiteY69-9378" fmla="*/ 1701702 h 2436046"/>
              <a:gd name="connsiteX70-9379" fmla="*/ 2111240 w 5168654"/>
              <a:gd name="connsiteY70-9380" fmla="*/ 1701702 h 2436046"/>
              <a:gd name="connsiteX71-9381" fmla="*/ 2114770 w 5168654"/>
              <a:gd name="connsiteY71-9382" fmla="*/ 1715824 h 2436046"/>
              <a:gd name="connsiteX72-9383" fmla="*/ 2418392 w 5168654"/>
              <a:gd name="connsiteY72-9384" fmla="*/ 1715824 h 2436046"/>
              <a:gd name="connsiteX73-9385" fmla="*/ 2418393 w 5168654"/>
              <a:gd name="connsiteY73-9386" fmla="*/ 1744068 h 2436046"/>
              <a:gd name="connsiteX74-9387" fmla="*/ 2418393 w 5168654"/>
              <a:gd name="connsiteY74-9388" fmla="*/ 1744068 h 2436046"/>
              <a:gd name="connsiteX75-9389" fmla="*/ 2446637 w 5168654"/>
              <a:gd name="connsiteY75-9390" fmla="*/ 1772312 h 2436046"/>
              <a:gd name="connsiteX76-9391" fmla="*/ 2460759 w 5168654"/>
              <a:gd name="connsiteY76-9392" fmla="*/ 1772312 h 2436046"/>
              <a:gd name="connsiteX77-9393" fmla="*/ 2460759 w 5168654"/>
              <a:gd name="connsiteY77-9394" fmla="*/ 1821739 h 2436046"/>
              <a:gd name="connsiteX78-9395" fmla="*/ 2478412 w 5168654"/>
              <a:gd name="connsiteY78-9396" fmla="*/ 1821739 h 2436046"/>
              <a:gd name="connsiteX79-9397" fmla="*/ 2478412 w 5168654"/>
              <a:gd name="connsiteY79-9398" fmla="*/ 1920593 h 2436046"/>
              <a:gd name="connsiteX80-9399" fmla="*/ 2633754 w 5168654"/>
              <a:gd name="connsiteY80-9400" fmla="*/ 1920593 h 2436046"/>
              <a:gd name="connsiteX81-9401" fmla="*/ 2633754 w 5168654"/>
              <a:gd name="connsiteY81-9402" fmla="*/ 1941776 h 2436046"/>
              <a:gd name="connsiteX82-9403" fmla="*/ 2732608 w 5168654"/>
              <a:gd name="connsiteY82-9404" fmla="*/ 1941776 h 2436046"/>
              <a:gd name="connsiteX83-9405" fmla="*/ 2729036 w 5168654"/>
              <a:gd name="connsiteY83-9406" fmla="*/ 1959407 h 2436046"/>
              <a:gd name="connsiteX84-9407" fmla="*/ 2777020 w 5168654"/>
              <a:gd name="connsiteY84-9408" fmla="*/ 1963502 h 2436046"/>
              <a:gd name="connsiteX85-9409" fmla="*/ 2782035 w 5168654"/>
              <a:gd name="connsiteY85-9410" fmla="*/ 1991203 h 2436046"/>
              <a:gd name="connsiteX86-9411" fmla="*/ 2838523 w 5168654"/>
              <a:gd name="connsiteY86-9412" fmla="*/ 1991203 h 2436046"/>
              <a:gd name="connsiteX87-9413" fmla="*/ 2838523 w 5168654"/>
              <a:gd name="connsiteY87-9414" fmla="*/ 2019447 h 2436046"/>
              <a:gd name="connsiteX88-9415" fmla="*/ 2852645 w 5168654"/>
              <a:gd name="connsiteY88-9416" fmla="*/ 2019447 h 2436046"/>
              <a:gd name="connsiteX89-9417" fmla="*/ 2852645 w 5168654"/>
              <a:gd name="connsiteY89-9418" fmla="*/ 2075935 h 2436046"/>
              <a:gd name="connsiteX90-9419" fmla="*/ 3219817 w 5168654"/>
              <a:gd name="connsiteY90-9420" fmla="*/ 2075934 h 2436046"/>
              <a:gd name="connsiteX91-9421" fmla="*/ 3205695 w 5168654"/>
              <a:gd name="connsiteY91-9422" fmla="*/ 2107709 h 2436046"/>
              <a:gd name="connsiteX92-9423" fmla="*/ 3237470 w 5168654"/>
              <a:gd name="connsiteY92-9424" fmla="*/ 2118300 h 2436046"/>
              <a:gd name="connsiteX93-9425" fmla="*/ 3230409 w 5168654"/>
              <a:gd name="connsiteY93-9426" fmla="*/ 2181850 h 2436046"/>
              <a:gd name="connsiteX94-9427" fmla="*/ 3438709 w 5168654"/>
              <a:gd name="connsiteY94-9428" fmla="*/ 2181850 h 2436046"/>
              <a:gd name="connsiteX95-9429" fmla="*/ 3438709 w 5168654"/>
              <a:gd name="connsiteY95-9430" fmla="*/ 2199502 h 2436046"/>
              <a:gd name="connsiteX96-9431" fmla="*/ 3565807 w 5168654"/>
              <a:gd name="connsiteY96-9432" fmla="*/ 2199502 h 2436046"/>
              <a:gd name="connsiteX97-9433" fmla="*/ 3565807 w 5168654"/>
              <a:gd name="connsiteY97-9434" fmla="*/ 2227746 h 2436046"/>
              <a:gd name="connsiteX98-9435" fmla="*/ 3618764 w 5168654"/>
              <a:gd name="connsiteY98-9436" fmla="*/ 2227746 h 2436046"/>
              <a:gd name="connsiteX99-9437" fmla="*/ 3618764 w 5168654"/>
              <a:gd name="connsiteY99-9438" fmla="*/ 2252460 h 2436046"/>
              <a:gd name="connsiteX100-9439" fmla="*/ 3890613 w 5168654"/>
              <a:gd name="connsiteY100-9440" fmla="*/ 2252460 h 2436046"/>
              <a:gd name="connsiteX101-9441" fmla="*/ 3890613 w 5168654"/>
              <a:gd name="connsiteY101-9442" fmla="*/ 2287765 h 2436046"/>
              <a:gd name="connsiteX102-9443" fmla="*/ 3975345 w 5168654"/>
              <a:gd name="connsiteY102-9444" fmla="*/ 2287765 h 2436046"/>
              <a:gd name="connsiteX103-9445" fmla="*/ 3975345 w 5168654"/>
              <a:gd name="connsiteY103-9446" fmla="*/ 2316009 h 2436046"/>
              <a:gd name="connsiteX104-9447" fmla="*/ 4007119 w 5168654"/>
              <a:gd name="connsiteY104-9448" fmla="*/ 2316009 h 2436046"/>
              <a:gd name="connsiteX105-9449" fmla="*/ 4007119 w 5168654"/>
              <a:gd name="connsiteY105-9450" fmla="*/ 2368967 h 2436046"/>
              <a:gd name="connsiteX106-9451" fmla="*/ 4614366 w 5168654"/>
              <a:gd name="connsiteY106-9452" fmla="*/ 2368967 h 2436046"/>
              <a:gd name="connsiteX107-9453" fmla="*/ 4614366 w 5168654"/>
              <a:gd name="connsiteY107-9454" fmla="*/ 2436046 h 2436046"/>
              <a:gd name="connsiteX108-9455" fmla="*/ 5168654 w 5168654"/>
              <a:gd name="connsiteY108-9456" fmla="*/ 2436046 h 2436046"/>
            </a:gdLst>
            <a:ahLst/>
            <a:cxnLst>
              <a:cxn ang="0">
                <a:pos x="connsiteX0-9239" y="connsiteY0-9240"/>
              </a:cxn>
              <a:cxn ang="0">
                <a:pos x="connsiteX1-9241" y="connsiteY1-9242"/>
              </a:cxn>
              <a:cxn ang="0">
                <a:pos x="connsiteX2-9243" y="connsiteY2-9244"/>
              </a:cxn>
              <a:cxn ang="0">
                <a:pos x="connsiteX3-9245" y="connsiteY3-9246"/>
              </a:cxn>
              <a:cxn ang="0">
                <a:pos x="connsiteX4-9247" y="connsiteY4-9248"/>
              </a:cxn>
              <a:cxn ang="0">
                <a:pos x="connsiteX5-9249" y="connsiteY5-9250"/>
              </a:cxn>
              <a:cxn ang="0">
                <a:pos x="connsiteX6-9251" y="connsiteY6-9252"/>
              </a:cxn>
              <a:cxn ang="0">
                <a:pos x="connsiteX7-9253" y="connsiteY7-9254"/>
              </a:cxn>
              <a:cxn ang="0">
                <a:pos x="connsiteX8-9255" y="connsiteY8-9256"/>
              </a:cxn>
              <a:cxn ang="0">
                <a:pos x="connsiteX9-9257" y="connsiteY9-9258"/>
              </a:cxn>
              <a:cxn ang="0">
                <a:pos x="connsiteX10-9259" y="connsiteY10-9260"/>
              </a:cxn>
              <a:cxn ang="0">
                <a:pos x="connsiteX11-9261" y="connsiteY11-9262"/>
              </a:cxn>
              <a:cxn ang="0">
                <a:pos x="connsiteX12-9263" y="connsiteY12-9264"/>
              </a:cxn>
              <a:cxn ang="0">
                <a:pos x="connsiteX13-9265" y="connsiteY13-9266"/>
              </a:cxn>
              <a:cxn ang="0">
                <a:pos x="connsiteX14-9267" y="connsiteY14-9268"/>
              </a:cxn>
              <a:cxn ang="0">
                <a:pos x="connsiteX15-9269" y="connsiteY15-9270"/>
              </a:cxn>
              <a:cxn ang="0">
                <a:pos x="connsiteX16-9271" y="connsiteY16-9272"/>
              </a:cxn>
              <a:cxn ang="0">
                <a:pos x="connsiteX17-9273" y="connsiteY17-9274"/>
              </a:cxn>
              <a:cxn ang="0">
                <a:pos x="connsiteX18-9275" y="connsiteY18-9276"/>
              </a:cxn>
              <a:cxn ang="0">
                <a:pos x="connsiteX19-9277" y="connsiteY19-9278"/>
              </a:cxn>
              <a:cxn ang="0">
                <a:pos x="connsiteX20-9279" y="connsiteY20-9280"/>
              </a:cxn>
              <a:cxn ang="0">
                <a:pos x="connsiteX21-9281" y="connsiteY21-9282"/>
              </a:cxn>
              <a:cxn ang="0">
                <a:pos x="connsiteX22-9283" y="connsiteY22-9284"/>
              </a:cxn>
              <a:cxn ang="0">
                <a:pos x="connsiteX23-9285" y="connsiteY23-9286"/>
              </a:cxn>
              <a:cxn ang="0">
                <a:pos x="connsiteX24-9287" y="connsiteY24-9288"/>
              </a:cxn>
              <a:cxn ang="0">
                <a:pos x="connsiteX25-9289" y="connsiteY25-9290"/>
              </a:cxn>
              <a:cxn ang="0">
                <a:pos x="connsiteX26-9291" y="connsiteY26-9292"/>
              </a:cxn>
              <a:cxn ang="0">
                <a:pos x="connsiteX27-9293" y="connsiteY27-9294"/>
              </a:cxn>
              <a:cxn ang="0">
                <a:pos x="connsiteX28-9295" y="connsiteY28-9296"/>
              </a:cxn>
              <a:cxn ang="0">
                <a:pos x="connsiteX29-9297" y="connsiteY29-9298"/>
              </a:cxn>
              <a:cxn ang="0">
                <a:pos x="connsiteX30-9299" y="connsiteY30-9300"/>
              </a:cxn>
              <a:cxn ang="0">
                <a:pos x="connsiteX31-9301" y="connsiteY31-9302"/>
              </a:cxn>
              <a:cxn ang="0">
                <a:pos x="connsiteX32-9303" y="connsiteY32-9304"/>
              </a:cxn>
              <a:cxn ang="0">
                <a:pos x="connsiteX33-9305" y="connsiteY33-9306"/>
              </a:cxn>
              <a:cxn ang="0">
                <a:pos x="connsiteX34-9307" y="connsiteY34-9308"/>
              </a:cxn>
              <a:cxn ang="0">
                <a:pos x="connsiteX35-9309" y="connsiteY35-9310"/>
              </a:cxn>
              <a:cxn ang="0">
                <a:pos x="connsiteX36-9311" y="connsiteY36-9312"/>
              </a:cxn>
              <a:cxn ang="0">
                <a:pos x="connsiteX37-9313" y="connsiteY37-9314"/>
              </a:cxn>
              <a:cxn ang="0">
                <a:pos x="connsiteX38-9315" y="connsiteY38-9316"/>
              </a:cxn>
              <a:cxn ang="0">
                <a:pos x="connsiteX39-9317" y="connsiteY39-9318"/>
              </a:cxn>
              <a:cxn ang="0">
                <a:pos x="connsiteX40-9319" y="connsiteY40-9320"/>
              </a:cxn>
              <a:cxn ang="0">
                <a:pos x="connsiteX41-9321" y="connsiteY41-9322"/>
              </a:cxn>
              <a:cxn ang="0">
                <a:pos x="connsiteX42-9323" y="connsiteY42-9324"/>
              </a:cxn>
              <a:cxn ang="0">
                <a:pos x="connsiteX43-9325" y="connsiteY43-9326"/>
              </a:cxn>
              <a:cxn ang="0">
                <a:pos x="connsiteX44-9327" y="connsiteY44-9328"/>
              </a:cxn>
              <a:cxn ang="0">
                <a:pos x="connsiteX45-9329" y="connsiteY45-9330"/>
              </a:cxn>
              <a:cxn ang="0">
                <a:pos x="connsiteX46-9331" y="connsiteY46-9332"/>
              </a:cxn>
              <a:cxn ang="0">
                <a:pos x="connsiteX47-9333" y="connsiteY47-9334"/>
              </a:cxn>
              <a:cxn ang="0">
                <a:pos x="connsiteX48-9335" y="connsiteY48-9336"/>
              </a:cxn>
              <a:cxn ang="0">
                <a:pos x="connsiteX49-9337" y="connsiteY49-9338"/>
              </a:cxn>
              <a:cxn ang="0">
                <a:pos x="connsiteX50-9339" y="connsiteY50-9340"/>
              </a:cxn>
              <a:cxn ang="0">
                <a:pos x="connsiteX51-9341" y="connsiteY51-9342"/>
              </a:cxn>
              <a:cxn ang="0">
                <a:pos x="connsiteX52-9343" y="connsiteY52-9344"/>
              </a:cxn>
              <a:cxn ang="0">
                <a:pos x="connsiteX53-9345" y="connsiteY53-9346"/>
              </a:cxn>
              <a:cxn ang="0">
                <a:pos x="connsiteX54-9347" y="connsiteY54-9348"/>
              </a:cxn>
              <a:cxn ang="0">
                <a:pos x="connsiteX55-9349" y="connsiteY55-9350"/>
              </a:cxn>
              <a:cxn ang="0">
                <a:pos x="connsiteX56-9351" y="connsiteY56-9352"/>
              </a:cxn>
              <a:cxn ang="0">
                <a:pos x="connsiteX57-9353" y="connsiteY57-9354"/>
              </a:cxn>
              <a:cxn ang="0">
                <a:pos x="connsiteX58-9355" y="connsiteY58-9356"/>
              </a:cxn>
              <a:cxn ang="0">
                <a:pos x="connsiteX59-9357" y="connsiteY59-9358"/>
              </a:cxn>
              <a:cxn ang="0">
                <a:pos x="connsiteX60-9359" y="connsiteY60-9360"/>
              </a:cxn>
              <a:cxn ang="0">
                <a:pos x="connsiteX61-9361" y="connsiteY61-9362"/>
              </a:cxn>
              <a:cxn ang="0">
                <a:pos x="connsiteX62-9363" y="connsiteY62-9364"/>
              </a:cxn>
              <a:cxn ang="0">
                <a:pos x="connsiteX63-9365" y="connsiteY63-9366"/>
              </a:cxn>
              <a:cxn ang="0">
                <a:pos x="connsiteX64-9367" y="connsiteY64-9368"/>
              </a:cxn>
              <a:cxn ang="0">
                <a:pos x="connsiteX65-9369" y="connsiteY65-9370"/>
              </a:cxn>
              <a:cxn ang="0">
                <a:pos x="connsiteX66-9371" y="connsiteY66-9372"/>
              </a:cxn>
              <a:cxn ang="0">
                <a:pos x="connsiteX67-9373" y="connsiteY67-9374"/>
              </a:cxn>
              <a:cxn ang="0">
                <a:pos x="connsiteX68-9375" y="connsiteY68-9376"/>
              </a:cxn>
              <a:cxn ang="0">
                <a:pos x="connsiteX69-9377" y="connsiteY69-9378"/>
              </a:cxn>
              <a:cxn ang="0">
                <a:pos x="connsiteX70-9379" y="connsiteY70-9380"/>
              </a:cxn>
              <a:cxn ang="0">
                <a:pos x="connsiteX71-9381" y="connsiteY71-9382"/>
              </a:cxn>
              <a:cxn ang="0">
                <a:pos x="connsiteX72-9383" y="connsiteY72-9384"/>
              </a:cxn>
              <a:cxn ang="0">
                <a:pos x="connsiteX73-9385" y="connsiteY73-9386"/>
              </a:cxn>
              <a:cxn ang="0">
                <a:pos x="connsiteX74-9387" y="connsiteY74-9388"/>
              </a:cxn>
              <a:cxn ang="0">
                <a:pos x="connsiteX75-9389" y="connsiteY75-9390"/>
              </a:cxn>
              <a:cxn ang="0">
                <a:pos x="connsiteX76-9391" y="connsiteY76-9392"/>
              </a:cxn>
              <a:cxn ang="0">
                <a:pos x="connsiteX77-9393" y="connsiteY77-9394"/>
              </a:cxn>
              <a:cxn ang="0">
                <a:pos x="connsiteX78-9395" y="connsiteY78-9396"/>
              </a:cxn>
              <a:cxn ang="0">
                <a:pos x="connsiteX79-9397" y="connsiteY79-9398"/>
              </a:cxn>
              <a:cxn ang="0">
                <a:pos x="connsiteX80-9399" y="connsiteY80-9400"/>
              </a:cxn>
              <a:cxn ang="0">
                <a:pos x="connsiteX81-9401" y="connsiteY81-9402"/>
              </a:cxn>
              <a:cxn ang="0">
                <a:pos x="connsiteX82-9403" y="connsiteY82-9404"/>
              </a:cxn>
              <a:cxn ang="0">
                <a:pos x="connsiteX83-9405" y="connsiteY83-9406"/>
              </a:cxn>
              <a:cxn ang="0">
                <a:pos x="connsiteX84-9407" y="connsiteY84-9408"/>
              </a:cxn>
              <a:cxn ang="0">
                <a:pos x="connsiteX85-9409" y="connsiteY85-9410"/>
              </a:cxn>
              <a:cxn ang="0">
                <a:pos x="connsiteX86-9411" y="connsiteY86-9412"/>
              </a:cxn>
              <a:cxn ang="0">
                <a:pos x="connsiteX87-9413" y="connsiteY87-9414"/>
              </a:cxn>
              <a:cxn ang="0">
                <a:pos x="connsiteX88-9415" y="connsiteY88-9416"/>
              </a:cxn>
              <a:cxn ang="0">
                <a:pos x="connsiteX89-9417" y="connsiteY89-9418"/>
              </a:cxn>
              <a:cxn ang="0">
                <a:pos x="connsiteX90-9419" y="connsiteY90-9420"/>
              </a:cxn>
              <a:cxn ang="0">
                <a:pos x="connsiteX91-9421" y="connsiteY91-9422"/>
              </a:cxn>
              <a:cxn ang="0">
                <a:pos x="connsiteX92-9423" y="connsiteY92-9424"/>
              </a:cxn>
              <a:cxn ang="0">
                <a:pos x="connsiteX93-9425" y="connsiteY93-9426"/>
              </a:cxn>
              <a:cxn ang="0">
                <a:pos x="connsiteX94-9427" y="connsiteY94-9428"/>
              </a:cxn>
              <a:cxn ang="0">
                <a:pos x="connsiteX95-9429" y="connsiteY95-9430"/>
              </a:cxn>
              <a:cxn ang="0">
                <a:pos x="connsiteX96-9431" y="connsiteY96-9432"/>
              </a:cxn>
              <a:cxn ang="0">
                <a:pos x="connsiteX97-9433" y="connsiteY97-9434"/>
              </a:cxn>
              <a:cxn ang="0">
                <a:pos x="connsiteX98-9435" y="connsiteY98-9436"/>
              </a:cxn>
              <a:cxn ang="0">
                <a:pos x="connsiteX99-9437" y="connsiteY99-9438"/>
              </a:cxn>
              <a:cxn ang="0">
                <a:pos x="connsiteX100-9439" y="connsiteY100-9440"/>
              </a:cxn>
              <a:cxn ang="0">
                <a:pos x="connsiteX101-9441" y="connsiteY101-9442"/>
              </a:cxn>
              <a:cxn ang="0">
                <a:pos x="connsiteX102-9443" y="connsiteY102-9444"/>
              </a:cxn>
              <a:cxn ang="0">
                <a:pos x="connsiteX103-9445" y="connsiteY103-9446"/>
              </a:cxn>
              <a:cxn ang="0">
                <a:pos x="connsiteX104-9447" y="connsiteY104-9448"/>
              </a:cxn>
              <a:cxn ang="0">
                <a:pos x="connsiteX105-9449" y="connsiteY105-9450"/>
              </a:cxn>
              <a:cxn ang="0">
                <a:pos x="connsiteX106-9451" y="connsiteY106-9452"/>
              </a:cxn>
              <a:cxn ang="0">
                <a:pos x="connsiteX107-9453" y="connsiteY107-9454"/>
              </a:cxn>
              <a:cxn ang="0">
                <a:pos x="connsiteX108-9455" y="connsiteY108-9456"/>
              </a:cxn>
            </a:cxnLst>
            <a:rect l="l" t="t" r="r" b="b"/>
            <a:pathLst>
              <a:path w="5168654" h="2436046">
                <a:moveTo>
                  <a:pt x="0" y="0"/>
                </a:moveTo>
                <a:cubicBezTo>
                  <a:pt x="15691" y="7794"/>
                  <a:pt x="44634" y="12939"/>
                  <a:pt x="47073" y="23383"/>
                </a:cubicBezTo>
                <a:lnTo>
                  <a:pt x="150051" y="18553"/>
                </a:lnTo>
                <a:lnTo>
                  <a:pt x="144750" y="42366"/>
                </a:lnTo>
                <a:lnTo>
                  <a:pt x="158872" y="42366"/>
                </a:lnTo>
                <a:lnTo>
                  <a:pt x="158872" y="81201"/>
                </a:lnTo>
                <a:lnTo>
                  <a:pt x="162403" y="84732"/>
                </a:lnTo>
                <a:lnTo>
                  <a:pt x="162403" y="155342"/>
                </a:lnTo>
                <a:lnTo>
                  <a:pt x="257726" y="155342"/>
                </a:lnTo>
                <a:lnTo>
                  <a:pt x="257726" y="190647"/>
                </a:lnTo>
                <a:lnTo>
                  <a:pt x="268318" y="190647"/>
                </a:lnTo>
                <a:lnTo>
                  <a:pt x="268318" y="222432"/>
                </a:lnTo>
                <a:lnTo>
                  <a:pt x="505742" y="219781"/>
                </a:lnTo>
                <a:lnTo>
                  <a:pt x="508392" y="243604"/>
                </a:lnTo>
                <a:lnTo>
                  <a:pt x="536636" y="243604"/>
                </a:lnTo>
                <a:lnTo>
                  <a:pt x="536636" y="363641"/>
                </a:lnTo>
                <a:lnTo>
                  <a:pt x="554288" y="363641"/>
                </a:lnTo>
                <a:lnTo>
                  <a:pt x="559589" y="418359"/>
                </a:lnTo>
                <a:lnTo>
                  <a:pt x="772299" y="413058"/>
                </a:lnTo>
                <a:lnTo>
                  <a:pt x="776710" y="455434"/>
                </a:lnTo>
                <a:lnTo>
                  <a:pt x="794363" y="455434"/>
                </a:lnTo>
                <a:lnTo>
                  <a:pt x="794363" y="497801"/>
                </a:lnTo>
                <a:lnTo>
                  <a:pt x="808485" y="497801"/>
                </a:lnTo>
                <a:lnTo>
                  <a:pt x="808485" y="621368"/>
                </a:lnTo>
                <a:lnTo>
                  <a:pt x="822607" y="621368"/>
                </a:lnTo>
                <a:lnTo>
                  <a:pt x="822607" y="639021"/>
                </a:lnTo>
                <a:lnTo>
                  <a:pt x="1045028" y="639021"/>
                </a:lnTo>
                <a:lnTo>
                  <a:pt x="1045028" y="790832"/>
                </a:lnTo>
                <a:lnTo>
                  <a:pt x="1059150" y="790832"/>
                </a:lnTo>
                <a:lnTo>
                  <a:pt x="1059150" y="889686"/>
                </a:lnTo>
                <a:lnTo>
                  <a:pt x="1083864" y="889686"/>
                </a:lnTo>
                <a:lnTo>
                  <a:pt x="1101516" y="889686"/>
                </a:lnTo>
                <a:lnTo>
                  <a:pt x="1158004" y="889686"/>
                </a:lnTo>
                <a:lnTo>
                  <a:pt x="1158004" y="917930"/>
                </a:lnTo>
                <a:lnTo>
                  <a:pt x="1302755" y="917930"/>
                </a:lnTo>
                <a:lnTo>
                  <a:pt x="1302755" y="942644"/>
                </a:lnTo>
                <a:lnTo>
                  <a:pt x="1313346" y="942644"/>
                </a:lnTo>
                <a:lnTo>
                  <a:pt x="1313346" y="1034437"/>
                </a:lnTo>
                <a:lnTo>
                  <a:pt x="1316877" y="1034437"/>
                </a:lnTo>
                <a:lnTo>
                  <a:pt x="1316877" y="1080333"/>
                </a:lnTo>
                <a:lnTo>
                  <a:pt x="1489871" y="1080333"/>
                </a:lnTo>
                <a:lnTo>
                  <a:pt x="1489871" y="1097986"/>
                </a:lnTo>
                <a:lnTo>
                  <a:pt x="1518115" y="1097986"/>
                </a:lnTo>
                <a:lnTo>
                  <a:pt x="1518115" y="1122699"/>
                </a:lnTo>
                <a:lnTo>
                  <a:pt x="1532237" y="1122699"/>
                </a:lnTo>
                <a:lnTo>
                  <a:pt x="1539298" y="1129760"/>
                </a:lnTo>
                <a:lnTo>
                  <a:pt x="1553420" y="1143882"/>
                </a:lnTo>
                <a:lnTo>
                  <a:pt x="1553420" y="1189779"/>
                </a:lnTo>
                <a:lnTo>
                  <a:pt x="1564012" y="1189779"/>
                </a:lnTo>
                <a:lnTo>
                  <a:pt x="1564012" y="1253328"/>
                </a:lnTo>
                <a:lnTo>
                  <a:pt x="1578134" y="1253328"/>
                </a:lnTo>
                <a:lnTo>
                  <a:pt x="1578134" y="1345121"/>
                </a:lnTo>
                <a:lnTo>
                  <a:pt x="1588726" y="1345121"/>
                </a:lnTo>
                <a:lnTo>
                  <a:pt x="1588726" y="1380426"/>
                </a:lnTo>
                <a:cubicBezTo>
                  <a:pt x="1588726" y="1384843"/>
                  <a:pt x="1554010" y="1391911"/>
                  <a:pt x="1588726" y="1393678"/>
                </a:cubicBezTo>
                <a:cubicBezTo>
                  <a:pt x="1623442" y="1395445"/>
                  <a:pt x="1762309" y="1391189"/>
                  <a:pt x="1797025" y="1391027"/>
                </a:cubicBezTo>
                <a:lnTo>
                  <a:pt x="1797025" y="1472219"/>
                </a:lnTo>
                <a:lnTo>
                  <a:pt x="1828800" y="1472219"/>
                </a:lnTo>
                <a:lnTo>
                  <a:pt x="1828800" y="1489872"/>
                </a:lnTo>
                <a:lnTo>
                  <a:pt x="1828800" y="1503994"/>
                </a:lnTo>
                <a:lnTo>
                  <a:pt x="1846452" y="1503994"/>
                </a:lnTo>
                <a:lnTo>
                  <a:pt x="1846452" y="1564012"/>
                </a:lnTo>
                <a:lnTo>
                  <a:pt x="1878227" y="1564012"/>
                </a:lnTo>
                <a:lnTo>
                  <a:pt x="1878227" y="1595787"/>
                </a:lnTo>
                <a:lnTo>
                  <a:pt x="2072404" y="1595787"/>
                </a:lnTo>
                <a:lnTo>
                  <a:pt x="2072404" y="1673458"/>
                </a:lnTo>
                <a:lnTo>
                  <a:pt x="2093587" y="1673458"/>
                </a:lnTo>
                <a:lnTo>
                  <a:pt x="2093587" y="1684049"/>
                </a:lnTo>
                <a:lnTo>
                  <a:pt x="2097118" y="1684049"/>
                </a:lnTo>
                <a:lnTo>
                  <a:pt x="2097118" y="1701702"/>
                </a:lnTo>
                <a:cubicBezTo>
                  <a:pt x="2101825" y="1701702"/>
                  <a:pt x="2108298" y="1699348"/>
                  <a:pt x="2111240" y="1701702"/>
                </a:cubicBezTo>
                <a:cubicBezTo>
                  <a:pt x="2114182" y="1704056"/>
                  <a:pt x="2098295" y="1708764"/>
                  <a:pt x="2114770" y="1715824"/>
                </a:cubicBezTo>
                <a:cubicBezTo>
                  <a:pt x="2166551" y="1719355"/>
                  <a:pt x="2316008" y="1715824"/>
                  <a:pt x="2418392" y="1715824"/>
                </a:cubicBezTo>
                <a:cubicBezTo>
                  <a:pt x="2418392" y="1725239"/>
                  <a:pt x="2418393" y="1739361"/>
                  <a:pt x="2418393" y="1744068"/>
                </a:cubicBezTo>
                <a:lnTo>
                  <a:pt x="2418393" y="1744068"/>
                </a:lnTo>
                <a:lnTo>
                  <a:pt x="2446637" y="1772312"/>
                </a:lnTo>
                <a:lnTo>
                  <a:pt x="2460759" y="1772312"/>
                </a:lnTo>
                <a:lnTo>
                  <a:pt x="2460759" y="1821739"/>
                </a:lnTo>
                <a:lnTo>
                  <a:pt x="2478412" y="1821739"/>
                </a:lnTo>
                <a:lnTo>
                  <a:pt x="2478412" y="1920593"/>
                </a:lnTo>
                <a:lnTo>
                  <a:pt x="2633754" y="1920593"/>
                </a:lnTo>
                <a:lnTo>
                  <a:pt x="2633754" y="1941776"/>
                </a:lnTo>
                <a:lnTo>
                  <a:pt x="2732608" y="1941776"/>
                </a:lnTo>
                <a:cubicBezTo>
                  <a:pt x="2733184" y="1952954"/>
                  <a:pt x="2728460" y="1948229"/>
                  <a:pt x="2729036" y="1959407"/>
                </a:cubicBezTo>
                <a:cubicBezTo>
                  <a:pt x="2733788" y="1965678"/>
                  <a:pt x="2768187" y="1958203"/>
                  <a:pt x="2777020" y="1963502"/>
                </a:cubicBezTo>
                <a:cubicBezTo>
                  <a:pt x="2785853" y="1968801"/>
                  <a:pt x="2769134" y="1989237"/>
                  <a:pt x="2782035" y="1991203"/>
                </a:cubicBezTo>
                <a:lnTo>
                  <a:pt x="2838523" y="1991203"/>
                </a:lnTo>
                <a:lnTo>
                  <a:pt x="2838523" y="2019447"/>
                </a:lnTo>
                <a:lnTo>
                  <a:pt x="2852645" y="2019447"/>
                </a:lnTo>
                <a:lnTo>
                  <a:pt x="2852645" y="2075935"/>
                </a:lnTo>
                <a:lnTo>
                  <a:pt x="3219817" y="2075934"/>
                </a:lnTo>
                <a:lnTo>
                  <a:pt x="3205695" y="2107709"/>
                </a:lnTo>
                <a:lnTo>
                  <a:pt x="3237470" y="2118300"/>
                </a:lnTo>
                <a:lnTo>
                  <a:pt x="3230409" y="2181850"/>
                </a:lnTo>
                <a:lnTo>
                  <a:pt x="3438709" y="2181850"/>
                </a:lnTo>
                <a:lnTo>
                  <a:pt x="3438709" y="2199502"/>
                </a:lnTo>
                <a:lnTo>
                  <a:pt x="3565807" y="2199502"/>
                </a:lnTo>
                <a:lnTo>
                  <a:pt x="3565807" y="2227746"/>
                </a:lnTo>
                <a:lnTo>
                  <a:pt x="3618764" y="2227746"/>
                </a:lnTo>
                <a:lnTo>
                  <a:pt x="3618764" y="2252460"/>
                </a:lnTo>
                <a:lnTo>
                  <a:pt x="3890613" y="2252460"/>
                </a:lnTo>
                <a:lnTo>
                  <a:pt x="3890613" y="2287765"/>
                </a:lnTo>
                <a:lnTo>
                  <a:pt x="3975345" y="2287765"/>
                </a:lnTo>
                <a:lnTo>
                  <a:pt x="3975345" y="2316009"/>
                </a:lnTo>
                <a:lnTo>
                  <a:pt x="4007119" y="2316009"/>
                </a:lnTo>
                <a:lnTo>
                  <a:pt x="4007119" y="2368967"/>
                </a:lnTo>
                <a:lnTo>
                  <a:pt x="4614366" y="2368967"/>
                </a:lnTo>
                <a:lnTo>
                  <a:pt x="4614366" y="2436046"/>
                </a:lnTo>
                <a:lnTo>
                  <a:pt x="5168654" y="2436046"/>
                </a:lnTo>
              </a:path>
            </a:pathLst>
          </a:custGeom>
          <a:noFill/>
          <a:ln w="28575"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53" name="Freeform 252"/>
          <p:cNvSpPr/>
          <p:nvPr/>
        </p:nvSpPr>
        <p:spPr>
          <a:xfrm>
            <a:off x="2088107" y="1408374"/>
            <a:ext cx="5517108" cy="3744714"/>
          </a:xfrm>
          <a:custGeom>
            <a:avLst/>
            <a:gdLst>
              <a:gd name="connsiteX0" fmla="*/ 0 w 5517108"/>
              <a:gd name="connsiteY0" fmla="*/ 0 h 2521423"/>
              <a:gd name="connsiteX1" fmla="*/ 150126 w 5517108"/>
              <a:gd name="connsiteY1" fmla="*/ 0 h 2521423"/>
              <a:gd name="connsiteX2" fmla="*/ 150126 w 5517108"/>
              <a:gd name="connsiteY2" fmla="*/ 44355 h 2521423"/>
              <a:gd name="connsiteX3" fmla="*/ 156950 w 5517108"/>
              <a:gd name="connsiteY3" fmla="*/ 44355 h 2521423"/>
              <a:gd name="connsiteX4" fmla="*/ 156950 w 5517108"/>
              <a:gd name="connsiteY4" fmla="*/ 75062 h 2521423"/>
              <a:gd name="connsiteX5" fmla="*/ 167186 w 5517108"/>
              <a:gd name="connsiteY5" fmla="*/ 75062 h 2521423"/>
              <a:gd name="connsiteX6" fmla="*/ 167186 w 5517108"/>
              <a:gd name="connsiteY6" fmla="*/ 150125 h 2521423"/>
              <a:gd name="connsiteX7" fmla="*/ 187657 w 5517108"/>
              <a:gd name="connsiteY7" fmla="*/ 150125 h 2521423"/>
              <a:gd name="connsiteX8" fmla="*/ 187657 w 5517108"/>
              <a:gd name="connsiteY8" fmla="*/ 170597 h 2521423"/>
              <a:gd name="connsiteX9" fmla="*/ 269544 w 5517108"/>
              <a:gd name="connsiteY9" fmla="*/ 170597 h 2521423"/>
              <a:gd name="connsiteX10" fmla="*/ 269544 w 5517108"/>
              <a:gd name="connsiteY10" fmla="*/ 208128 h 2521423"/>
              <a:gd name="connsiteX11" fmla="*/ 283192 w 5517108"/>
              <a:gd name="connsiteY11" fmla="*/ 208128 h 2521423"/>
              <a:gd name="connsiteX12" fmla="*/ 283192 w 5517108"/>
              <a:gd name="connsiteY12" fmla="*/ 245659 h 2521423"/>
              <a:gd name="connsiteX13" fmla="*/ 293427 w 5517108"/>
              <a:gd name="connsiteY13" fmla="*/ 235424 h 2521423"/>
              <a:gd name="connsiteX14" fmla="*/ 293427 w 5517108"/>
              <a:gd name="connsiteY14" fmla="*/ 293426 h 2521423"/>
              <a:gd name="connsiteX15" fmla="*/ 303663 w 5517108"/>
              <a:gd name="connsiteY15" fmla="*/ 293426 h 2521423"/>
              <a:gd name="connsiteX16" fmla="*/ 303663 w 5517108"/>
              <a:gd name="connsiteY16" fmla="*/ 313898 h 2521423"/>
              <a:gd name="connsiteX17" fmla="*/ 375314 w 5517108"/>
              <a:gd name="connsiteY17" fmla="*/ 313898 h 2521423"/>
              <a:gd name="connsiteX18" fmla="*/ 375314 w 5517108"/>
              <a:gd name="connsiteY18" fmla="*/ 330958 h 2521423"/>
              <a:gd name="connsiteX19" fmla="*/ 388962 w 5517108"/>
              <a:gd name="connsiteY19" fmla="*/ 330958 h 2521423"/>
              <a:gd name="connsiteX20" fmla="*/ 388962 w 5517108"/>
              <a:gd name="connsiteY20" fmla="*/ 351429 h 2521423"/>
              <a:gd name="connsiteX21" fmla="*/ 460612 w 5517108"/>
              <a:gd name="connsiteY21" fmla="*/ 351429 h 2521423"/>
              <a:gd name="connsiteX22" fmla="*/ 460612 w 5517108"/>
              <a:gd name="connsiteY22" fmla="*/ 368489 h 2521423"/>
              <a:gd name="connsiteX23" fmla="*/ 522027 w 5517108"/>
              <a:gd name="connsiteY23" fmla="*/ 368489 h 2521423"/>
              <a:gd name="connsiteX24" fmla="*/ 522027 w 5517108"/>
              <a:gd name="connsiteY24" fmla="*/ 388961 h 2521423"/>
              <a:gd name="connsiteX25" fmla="*/ 522027 w 5517108"/>
              <a:gd name="connsiteY25" fmla="*/ 388961 h 2521423"/>
              <a:gd name="connsiteX26" fmla="*/ 522027 w 5517108"/>
              <a:gd name="connsiteY26" fmla="*/ 416256 h 2521423"/>
              <a:gd name="connsiteX27" fmla="*/ 535675 w 5517108"/>
              <a:gd name="connsiteY27" fmla="*/ 416256 h 2521423"/>
              <a:gd name="connsiteX28" fmla="*/ 535675 w 5517108"/>
              <a:gd name="connsiteY28" fmla="*/ 477671 h 2521423"/>
              <a:gd name="connsiteX29" fmla="*/ 556147 w 5517108"/>
              <a:gd name="connsiteY29" fmla="*/ 477671 h 2521423"/>
              <a:gd name="connsiteX30" fmla="*/ 556147 w 5517108"/>
              <a:gd name="connsiteY30" fmla="*/ 504967 h 2521423"/>
              <a:gd name="connsiteX31" fmla="*/ 556147 w 5517108"/>
              <a:gd name="connsiteY31" fmla="*/ 522026 h 2521423"/>
              <a:gd name="connsiteX32" fmla="*/ 583442 w 5517108"/>
              <a:gd name="connsiteY32" fmla="*/ 522026 h 2521423"/>
              <a:gd name="connsiteX33" fmla="*/ 583442 w 5517108"/>
              <a:gd name="connsiteY33" fmla="*/ 522026 h 2521423"/>
              <a:gd name="connsiteX34" fmla="*/ 668741 w 5517108"/>
              <a:gd name="connsiteY34" fmla="*/ 522026 h 2521423"/>
              <a:gd name="connsiteX35" fmla="*/ 668741 w 5517108"/>
              <a:gd name="connsiteY35" fmla="*/ 556146 h 2521423"/>
              <a:gd name="connsiteX36" fmla="*/ 791571 w 5517108"/>
              <a:gd name="connsiteY36" fmla="*/ 556146 h 2521423"/>
              <a:gd name="connsiteX37" fmla="*/ 791571 w 5517108"/>
              <a:gd name="connsiteY37" fmla="*/ 644856 h 2521423"/>
              <a:gd name="connsiteX38" fmla="*/ 801806 w 5517108"/>
              <a:gd name="connsiteY38" fmla="*/ 644856 h 2521423"/>
              <a:gd name="connsiteX39" fmla="*/ 801806 w 5517108"/>
              <a:gd name="connsiteY39" fmla="*/ 689212 h 2521423"/>
              <a:gd name="connsiteX40" fmla="*/ 931460 w 5517108"/>
              <a:gd name="connsiteY40" fmla="*/ 689212 h 2521423"/>
              <a:gd name="connsiteX41" fmla="*/ 931460 w 5517108"/>
              <a:gd name="connsiteY41" fmla="*/ 702859 h 2521423"/>
              <a:gd name="connsiteX42" fmla="*/ 1037230 w 5517108"/>
              <a:gd name="connsiteY42" fmla="*/ 702859 h 2521423"/>
              <a:gd name="connsiteX43" fmla="*/ 1037230 w 5517108"/>
              <a:gd name="connsiteY43" fmla="*/ 736979 h 2521423"/>
              <a:gd name="connsiteX44" fmla="*/ 1050878 w 5517108"/>
              <a:gd name="connsiteY44" fmla="*/ 736979 h 2521423"/>
              <a:gd name="connsiteX45" fmla="*/ 1050878 w 5517108"/>
              <a:gd name="connsiteY45" fmla="*/ 794982 h 2521423"/>
              <a:gd name="connsiteX46" fmla="*/ 1064526 w 5517108"/>
              <a:gd name="connsiteY46" fmla="*/ 794982 h 2521423"/>
              <a:gd name="connsiteX47" fmla="*/ 1064526 w 5517108"/>
              <a:gd name="connsiteY47" fmla="*/ 870044 h 2521423"/>
              <a:gd name="connsiteX48" fmla="*/ 1057702 w 5517108"/>
              <a:gd name="connsiteY48" fmla="*/ 876868 h 2521423"/>
              <a:gd name="connsiteX49" fmla="*/ 1057702 w 5517108"/>
              <a:gd name="connsiteY49" fmla="*/ 938283 h 2521423"/>
              <a:gd name="connsiteX50" fmla="*/ 1071350 w 5517108"/>
              <a:gd name="connsiteY50" fmla="*/ 938283 h 2521423"/>
              <a:gd name="connsiteX51" fmla="*/ 1071350 w 5517108"/>
              <a:gd name="connsiteY51" fmla="*/ 972403 h 2521423"/>
              <a:gd name="connsiteX52" fmla="*/ 1119117 w 5517108"/>
              <a:gd name="connsiteY52" fmla="*/ 972403 h 2521423"/>
              <a:gd name="connsiteX53" fmla="*/ 1119117 w 5517108"/>
              <a:gd name="connsiteY53" fmla="*/ 992874 h 2521423"/>
              <a:gd name="connsiteX54" fmla="*/ 1149824 w 5517108"/>
              <a:gd name="connsiteY54" fmla="*/ 992874 h 2521423"/>
              <a:gd name="connsiteX55" fmla="*/ 1149824 w 5517108"/>
              <a:gd name="connsiteY55" fmla="*/ 1003110 h 2521423"/>
              <a:gd name="connsiteX56" fmla="*/ 1173708 w 5517108"/>
              <a:gd name="connsiteY56" fmla="*/ 1003110 h 2521423"/>
              <a:gd name="connsiteX57" fmla="*/ 1190768 w 5517108"/>
              <a:gd name="connsiteY57" fmla="*/ 1020170 h 2521423"/>
              <a:gd name="connsiteX58" fmla="*/ 1293126 w 5517108"/>
              <a:gd name="connsiteY58" fmla="*/ 1020170 h 2521423"/>
              <a:gd name="connsiteX59" fmla="*/ 1306774 w 5517108"/>
              <a:gd name="connsiteY59" fmla="*/ 1033818 h 2521423"/>
              <a:gd name="connsiteX60" fmla="*/ 1306774 w 5517108"/>
              <a:gd name="connsiteY60" fmla="*/ 1095232 h 2521423"/>
              <a:gd name="connsiteX61" fmla="*/ 1306774 w 5517108"/>
              <a:gd name="connsiteY61" fmla="*/ 1108880 h 2521423"/>
              <a:gd name="connsiteX62" fmla="*/ 1306774 w 5517108"/>
              <a:gd name="connsiteY62" fmla="*/ 1146412 h 2521423"/>
              <a:gd name="connsiteX63" fmla="*/ 1323833 w 5517108"/>
              <a:gd name="connsiteY63" fmla="*/ 1146412 h 2521423"/>
              <a:gd name="connsiteX64" fmla="*/ 1323833 w 5517108"/>
              <a:gd name="connsiteY64" fmla="*/ 1201003 h 2521423"/>
              <a:gd name="connsiteX65" fmla="*/ 1491018 w 5517108"/>
              <a:gd name="connsiteY65" fmla="*/ 1201003 h 2521423"/>
              <a:gd name="connsiteX66" fmla="*/ 1491018 w 5517108"/>
              <a:gd name="connsiteY66" fmla="*/ 1218062 h 2521423"/>
              <a:gd name="connsiteX67" fmla="*/ 1508078 w 5517108"/>
              <a:gd name="connsiteY67" fmla="*/ 1218062 h 2521423"/>
              <a:gd name="connsiteX68" fmla="*/ 1508078 w 5517108"/>
              <a:gd name="connsiteY68" fmla="*/ 1235122 h 2521423"/>
              <a:gd name="connsiteX69" fmla="*/ 1531962 w 5517108"/>
              <a:gd name="connsiteY69" fmla="*/ 1259006 h 2521423"/>
              <a:gd name="connsiteX70" fmla="*/ 1531962 w 5517108"/>
              <a:gd name="connsiteY70" fmla="*/ 1296537 h 2521423"/>
              <a:gd name="connsiteX71" fmla="*/ 1549022 w 5517108"/>
              <a:gd name="connsiteY71" fmla="*/ 1313597 h 2521423"/>
              <a:gd name="connsiteX72" fmla="*/ 1559257 w 5517108"/>
              <a:gd name="connsiteY72" fmla="*/ 1323832 h 2521423"/>
              <a:gd name="connsiteX73" fmla="*/ 1566081 w 5517108"/>
              <a:gd name="connsiteY73" fmla="*/ 1323832 h 2521423"/>
              <a:gd name="connsiteX74" fmla="*/ 1566081 w 5517108"/>
              <a:gd name="connsiteY74" fmla="*/ 1473958 h 2521423"/>
              <a:gd name="connsiteX75" fmla="*/ 1572905 w 5517108"/>
              <a:gd name="connsiteY75" fmla="*/ 1473958 h 2521423"/>
              <a:gd name="connsiteX76" fmla="*/ 1572905 w 5517108"/>
              <a:gd name="connsiteY76" fmla="*/ 1508077 h 2521423"/>
              <a:gd name="connsiteX77" fmla="*/ 1624084 w 5517108"/>
              <a:gd name="connsiteY77" fmla="*/ 1508077 h 2521423"/>
              <a:gd name="connsiteX78" fmla="*/ 1624084 w 5517108"/>
              <a:gd name="connsiteY78" fmla="*/ 1538785 h 2521423"/>
              <a:gd name="connsiteX79" fmla="*/ 1634320 w 5517108"/>
              <a:gd name="connsiteY79" fmla="*/ 1538785 h 2521423"/>
              <a:gd name="connsiteX80" fmla="*/ 1634320 w 5517108"/>
              <a:gd name="connsiteY80" fmla="*/ 1559256 h 2521423"/>
              <a:gd name="connsiteX81" fmla="*/ 1733266 w 5517108"/>
              <a:gd name="connsiteY81" fmla="*/ 1559256 h 2521423"/>
              <a:gd name="connsiteX82" fmla="*/ 1733266 w 5517108"/>
              <a:gd name="connsiteY82" fmla="*/ 1579728 h 2521423"/>
              <a:gd name="connsiteX83" fmla="*/ 1801505 w 5517108"/>
              <a:gd name="connsiteY83" fmla="*/ 1579728 h 2521423"/>
              <a:gd name="connsiteX84" fmla="*/ 1801505 w 5517108"/>
              <a:gd name="connsiteY84" fmla="*/ 1600200 h 2521423"/>
              <a:gd name="connsiteX85" fmla="*/ 1811741 w 5517108"/>
              <a:gd name="connsiteY85" fmla="*/ 1600200 h 2521423"/>
              <a:gd name="connsiteX86" fmla="*/ 1811741 w 5517108"/>
              <a:gd name="connsiteY86" fmla="*/ 1644555 h 2521423"/>
              <a:gd name="connsiteX87" fmla="*/ 1818565 w 5517108"/>
              <a:gd name="connsiteY87" fmla="*/ 1644555 h 2521423"/>
              <a:gd name="connsiteX88" fmla="*/ 1818565 w 5517108"/>
              <a:gd name="connsiteY88" fmla="*/ 1787856 h 2521423"/>
              <a:gd name="connsiteX89" fmla="*/ 1839036 w 5517108"/>
              <a:gd name="connsiteY89" fmla="*/ 1787856 h 2521423"/>
              <a:gd name="connsiteX90" fmla="*/ 1839036 w 5517108"/>
              <a:gd name="connsiteY90" fmla="*/ 1815152 h 2521423"/>
              <a:gd name="connsiteX91" fmla="*/ 1879980 w 5517108"/>
              <a:gd name="connsiteY91" fmla="*/ 1815152 h 2521423"/>
              <a:gd name="connsiteX92" fmla="*/ 1879980 w 5517108"/>
              <a:gd name="connsiteY92" fmla="*/ 1825388 h 2521423"/>
              <a:gd name="connsiteX93" fmla="*/ 1900451 w 5517108"/>
              <a:gd name="connsiteY93" fmla="*/ 1825388 h 2521423"/>
              <a:gd name="connsiteX94" fmla="*/ 1900451 w 5517108"/>
              <a:gd name="connsiteY94" fmla="*/ 1859507 h 2521423"/>
              <a:gd name="connsiteX95" fmla="*/ 2047165 w 5517108"/>
              <a:gd name="connsiteY95" fmla="*/ 1859507 h 2521423"/>
              <a:gd name="connsiteX96" fmla="*/ 2057400 w 5517108"/>
              <a:gd name="connsiteY96" fmla="*/ 1869742 h 2521423"/>
              <a:gd name="connsiteX97" fmla="*/ 2057400 w 5517108"/>
              <a:gd name="connsiteY97" fmla="*/ 1876567 h 2521423"/>
              <a:gd name="connsiteX98" fmla="*/ 2057400 w 5517108"/>
              <a:gd name="connsiteY98" fmla="*/ 1978925 h 2521423"/>
              <a:gd name="connsiteX99" fmla="*/ 2081284 w 5517108"/>
              <a:gd name="connsiteY99" fmla="*/ 1978925 h 2521423"/>
              <a:gd name="connsiteX100" fmla="*/ 2081284 w 5517108"/>
              <a:gd name="connsiteY100" fmla="*/ 2013044 h 2521423"/>
              <a:gd name="connsiteX101" fmla="*/ 2094932 w 5517108"/>
              <a:gd name="connsiteY101" fmla="*/ 2013044 h 2521423"/>
              <a:gd name="connsiteX102" fmla="*/ 2094932 w 5517108"/>
              <a:gd name="connsiteY102" fmla="*/ 2098343 h 2521423"/>
              <a:gd name="connsiteX103" fmla="*/ 2453186 w 5517108"/>
              <a:gd name="connsiteY103" fmla="*/ 2098343 h 2521423"/>
              <a:gd name="connsiteX104" fmla="*/ 2453186 w 5517108"/>
              <a:gd name="connsiteY104" fmla="*/ 2139286 h 2521423"/>
              <a:gd name="connsiteX105" fmla="*/ 2463421 w 5517108"/>
              <a:gd name="connsiteY105" fmla="*/ 2139286 h 2521423"/>
              <a:gd name="connsiteX106" fmla="*/ 2463421 w 5517108"/>
              <a:gd name="connsiteY106" fmla="*/ 2187053 h 2521423"/>
              <a:gd name="connsiteX107" fmla="*/ 2470245 w 5517108"/>
              <a:gd name="connsiteY107" fmla="*/ 2187053 h 2521423"/>
              <a:gd name="connsiteX108" fmla="*/ 2470245 w 5517108"/>
              <a:gd name="connsiteY108" fmla="*/ 2224585 h 2521423"/>
              <a:gd name="connsiteX109" fmla="*/ 2507777 w 5517108"/>
              <a:gd name="connsiteY109" fmla="*/ 2224585 h 2521423"/>
              <a:gd name="connsiteX110" fmla="*/ 2507777 w 5517108"/>
              <a:gd name="connsiteY110" fmla="*/ 2241644 h 2521423"/>
              <a:gd name="connsiteX111" fmla="*/ 2582839 w 5517108"/>
              <a:gd name="connsiteY111" fmla="*/ 2241644 h 2521423"/>
              <a:gd name="connsiteX112" fmla="*/ 2582839 w 5517108"/>
              <a:gd name="connsiteY112" fmla="*/ 2268940 h 2521423"/>
              <a:gd name="connsiteX113" fmla="*/ 2620371 w 5517108"/>
              <a:gd name="connsiteY113" fmla="*/ 2268940 h 2521423"/>
              <a:gd name="connsiteX114" fmla="*/ 2640842 w 5517108"/>
              <a:gd name="connsiteY114" fmla="*/ 2289411 h 2521423"/>
              <a:gd name="connsiteX115" fmla="*/ 2797792 w 5517108"/>
              <a:gd name="connsiteY115" fmla="*/ 2289411 h 2521423"/>
              <a:gd name="connsiteX116" fmla="*/ 2797792 w 5517108"/>
              <a:gd name="connsiteY116" fmla="*/ 2344003 h 2521423"/>
              <a:gd name="connsiteX117" fmla="*/ 2818263 w 5517108"/>
              <a:gd name="connsiteY117" fmla="*/ 2344003 h 2521423"/>
              <a:gd name="connsiteX118" fmla="*/ 2835323 w 5517108"/>
              <a:gd name="connsiteY118" fmla="*/ 2361063 h 2521423"/>
              <a:gd name="connsiteX119" fmla="*/ 2845559 w 5517108"/>
              <a:gd name="connsiteY119" fmla="*/ 2361063 h 2521423"/>
              <a:gd name="connsiteX120" fmla="*/ 2866030 w 5517108"/>
              <a:gd name="connsiteY120" fmla="*/ 2381534 h 2521423"/>
              <a:gd name="connsiteX121" fmla="*/ 2913797 w 5517108"/>
              <a:gd name="connsiteY121" fmla="*/ 2391770 h 2521423"/>
              <a:gd name="connsiteX122" fmla="*/ 3210636 w 5517108"/>
              <a:gd name="connsiteY122" fmla="*/ 2391770 h 2521423"/>
              <a:gd name="connsiteX123" fmla="*/ 3210636 w 5517108"/>
              <a:gd name="connsiteY123" fmla="*/ 2415653 h 2521423"/>
              <a:gd name="connsiteX124" fmla="*/ 3227696 w 5517108"/>
              <a:gd name="connsiteY124" fmla="*/ 2432713 h 2521423"/>
              <a:gd name="connsiteX125" fmla="*/ 3237932 w 5517108"/>
              <a:gd name="connsiteY125" fmla="*/ 2442949 h 2521423"/>
              <a:gd name="connsiteX126" fmla="*/ 3722427 w 5517108"/>
              <a:gd name="connsiteY126" fmla="*/ 2442949 h 2521423"/>
              <a:gd name="connsiteX127" fmla="*/ 3722427 w 5517108"/>
              <a:gd name="connsiteY127" fmla="*/ 2483892 h 2521423"/>
              <a:gd name="connsiteX128" fmla="*/ 3978323 w 5517108"/>
              <a:gd name="connsiteY128" fmla="*/ 2483892 h 2521423"/>
              <a:gd name="connsiteX129" fmla="*/ 3978323 w 5517108"/>
              <a:gd name="connsiteY129" fmla="*/ 2521423 h 2521423"/>
              <a:gd name="connsiteX130" fmla="*/ 5517108 w 5517108"/>
              <a:gd name="connsiteY130" fmla="*/ 2521423 h 2521423"/>
              <a:gd name="connsiteX131" fmla="*/ 5517108 w 5517108"/>
              <a:gd name="connsiteY131" fmla="*/ 2518012 h 2521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5517108" h="2521423">
                <a:moveTo>
                  <a:pt x="0" y="0"/>
                </a:moveTo>
                <a:lnTo>
                  <a:pt x="150126" y="0"/>
                </a:lnTo>
                <a:lnTo>
                  <a:pt x="150126" y="44355"/>
                </a:lnTo>
                <a:lnTo>
                  <a:pt x="156950" y="44355"/>
                </a:lnTo>
                <a:lnTo>
                  <a:pt x="156950" y="75062"/>
                </a:lnTo>
                <a:lnTo>
                  <a:pt x="167186" y="75062"/>
                </a:lnTo>
                <a:lnTo>
                  <a:pt x="167186" y="150125"/>
                </a:lnTo>
                <a:lnTo>
                  <a:pt x="187657" y="150125"/>
                </a:lnTo>
                <a:lnTo>
                  <a:pt x="187657" y="170597"/>
                </a:lnTo>
                <a:lnTo>
                  <a:pt x="269544" y="170597"/>
                </a:lnTo>
                <a:lnTo>
                  <a:pt x="269544" y="208128"/>
                </a:lnTo>
                <a:lnTo>
                  <a:pt x="283192" y="208128"/>
                </a:lnTo>
                <a:lnTo>
                  <a:pt x="283192" y="245659"/>
                </a:lnTo>
                <a:lnTo>
                  <a:pt x="293427" y="235424"/>
                </a:lnTo>
                <a:lnTo>
                  <a:pt x="293427" y="293426"/>
                </a:lnTo>
                <a:lnTo>
                  <a:pt x="303663" y="293426"/>
                </a:lnTo>
                <a:lnTo>
                  <a:pt x="303663" y="313898"/>
                </a:lnTo>
                <a:lnTo>
                  <a:pt x="375314" y="313898"/>
                </a:lnTo>
                <a:lnTo>
                  <a:pt x="375314" y="330958"/>
                </a:lnTo>
                <a:lnTo>
                  <a:pt x="388962" y="330958"/>
                </a:lnTo>
                <a:lnTo>
                  <a:pt x="388962" y="351429"/>
                </a:lnTo>
                <a:lnTo>
                  <a:pt x="460612" y="351429"/>
                </a:lnTo>
                <a:lnTo>
                  <a:pt x="460612" y="368489"/>
                </a:lnTo>
                <a:lnTo>
                  <a:pt x="522027" y="368489"/>
                </a:lnTo>
                <a:lnTo>
                  <a:pt x="522027" y="388961"/>
                </a:lnTo>
                <a:lnTo>
                  <a:pt x="522027" y="388961"/>
                </a:lnTo>
                <a:lnTo>
                  <a:pt x="522027" y="416256"/>
                </a:lnTo>
                <a:lnTo>
                  <a:pt x="535675" y="416256"/>
                </a:lnTo>
                <a:lnTo>
                  <a:pt x="535675" y="477671"/>
                </a:lnTo>
                <a:lnTo>
                  <a:pt x="556147" y="477671"/>
                </a:lnTo>
                <a:lnTo>
                  <a:pt x="556147" y="504967"/>
                </a:lnTo>
                <a:lnTo>
                  <a:pt x="556147" y="522026"/>
                </a:lnTo>
                <a:lnTo>
                  <a:pt x="583442" y="522026"/>
                </a:lnTo>
                <a:lnTo>
                  <a:pt x="583442" y="522026"/>
                </a:lnTo>
                <a:lnTo>
                  <a:pt x="668741" y="522026"/>
                </a:lnTo>
                <a:lnTo>
                  <a:pt x="668741" y="556146"/>
                </a:lnTo>
                <a:lnTo>
                  <a:pt x="791571" y="556146"/>
                </a:lnTo>
                <a:lnTo>
                  <a:pt x="791571" y="644856"/>
                </a:lnTo>
                <a:lnTo>
                  <a:pt x="801806" y="644856"/>
                </a:lnTo>
                <a:lnTo>
                  <a:pt x="801806" y="689212"/>
                </a:lnTo>
                <a:lnTo>
                  <a:pt x="931460" y="689212"/>
                </a:lnTo>
                <a:lnTo>
                  <a:pt x="931460" y="702859"/>
                </a:lnTo>
                <a:lnTo>
                  <a:pt x="1037230" y="702859"/>
                </a:lnTo>
                <a:lnTo>
                  <a:pt x="1037230" y="736979"/>
                </a:lnTo>
                <a:lnTo>
                  <a:pt x="1050878" y="736979"/>
                </a:lnTo>
                <a:lnTo>
                  <a:pt x="1050878" y="794982"/>
                </a:lnTo>
                <a:lnTo>
                  <a:pt x="1064526" y="794982"/>
                </a:lnTo>
                <a:lnTo>
                  <a:pt x="1064526" y="870044"/>
                </a:lnTo>
                <a:lnTo>
                  <a:pt x="1057702" y="876868"/>
                </a:lnTo>
                <a:lnTo>
                  <a:pt x="1057702" y="938283"/>
                </a:lnTo>
                <a:lnTo>
                  <a:pt x="1071350" y="938283"/>
                </a:lnTo>
                <a:lnTo>
                  <a:pt x="1071350" y="972403"/>
                </a:lnTo>
                <a:lnTo>
                  <a:pt x="1119117" y="972403"/>
                </a:lnTo>
                <a:lnTo>
                  <a:pt x="1119117" y="992874"/>
                </a:lnTo>
                <a:lnTo>
                  <a:pt x="1149824" y="992874"/>
                </a:lnTo>
                <a:lnTo>
                  <a:pt x="1149824" y="1003110"/>
                </a:lnTo>
                <a:lnTo>
                  <a:pt x="1173708" y="1003110"/>
                </a:lnTo>
                <a:lnTo>
                  <a:pt x="1190768" y="1020170"/>
                </a:lnTo>
                <a:lnTo>
                  <a:pt x="1293126" y="1020170"/>
                </a:lnTo>
                <a:lnTo>
                  <a:pt x="1306774" y="1033818"/>
                </a:lnTo>
                <a:lnTo>
                  <a:pt x="1306774" y="1095232"/>
                </a:lnTo>
                <a:lnTo>
                  <a:pt x="1306774" y="1108880"/>
                </a:lnTo>
                <a:lnTo>
                  <a:pt x="1306774" y="1146412"/>
                </a:lnTo>
                <a:lnTo>
                  <a:pt x="1323833" y="1146412"/>
                </a:lnTo>
                <a:lnTo>
                  <a:pt x="1323833" y="1201003"/>
                </a:lnTo>
                <a:lnTo>
                  <a:pt x="1491018" y="1201003"/>
                </a:lnTo>
                <a:lnTo>
                  <a:pt x="1491018" y="1218062"/>
                </a:lnTo>
                <a:lnTo>
                  <a:pt x="1508078" y="1218062"/>
                </a:lnTo>
                <a:lnTo>
                  <a:pt x="1508078" y="1235122"/>
                </a:lnTo>
                <a:lnTo>
                  <a:pt x="1531962" y="1259006"/>
                </a:lnTo>
                <a:lnTo>
                  <a:pt x="1531962" y="1296537"/>
                </a:lnTo>
                <a:lnTo>
                  <a:pt x="1549022" y="1313597"/>
                </a:lnTo>
                <a:lnTo>
                  <a:pt x="1559257" y="1323832"/>
                </a:lnTo>
                <a:lnTo>
                  <a:pt x="1566081" y="1323832"/>
                </a:lnTo>
                <a:lnTo>
                  <a:pt x="1566081" y="1473958"/>
                </a:lnTo>
                <a:lnTo>
                  <a:pt x="1572905" y="1473958"/>
                </a:lnTo>
                <a:lnTo>
                  <a:pt x="1572905" y="1508077"/>
                </a:lnTo>
                <a:lnTo>
                  <a:pt x="1624084" y="1508077"/>
                </a:lnTo>
                <a:lnTo>
                  <a:pt x="1624084" y="1538785"/>
                </a:lnTo>
                <a:lnTo>
                  <a:pt x="1634320" y="1538785"/>
                </a:lnTo>
                <a:lnTo>
                  <a:pt x="1634320" y="1559256"/>
                </a:lnTo>
                <a:lnTo>
                  <a:pt x="1733266" y="1559256"/>
                </a:lnTo>
                <a:lnTo>
                  <a:pt x="1733266" y="1579728"/>
                </a:lnTo>
                <a:lnTo>
                  <a:pt x="1801505" y="1579728"/>
                </a:lnTo>
                <a:lnTo>
                  <a:pt x="1801505" y="1600200"/>
                </a:lnTo>
                <a:lnTo>
                  <a:pt x="1811741" y="1600200"/>
                </a:lnTo>
                <a:lnTo>
                  <a:pt x="1811741" y="1644555"/>
                </a:lnTo>
                <a:lnTo>
                  <a:pt x="1818565" y="1644555"/>
                </a:lnTo>
                <a:lnTo>
                  <a:pt x="1818565" y="1787856"/>
                </a:lnTo>
                <a:lnTo>
                  <a:pt x="1839036" y="1787856"/>
                </a:lnTo>
                <a:lnTo>
                  <a:pt x="1839036" y="1815152"/>
                </a:lnTo>
                <a:lnTo>
                  <a:pt x="1879980" y="1815152"/>
                </a:lnTo>
                <a:lnTo>
                  <a:pt x="1879980" y="1825388"/>
                </a:lnTo>
                <a:lnTo>
                  <a:pt x="1900451" y="1825388"/>
                </a:lnTo>
                <a:lnTo>
                  <a:pt x="1900451" y="1859507"/>
                </a:lnTo>
                <a:lnTo>
                  <a:pt x="2047165" y="1859507"/>
                </a:lnTo>
                <a:lnTo>
                  <a:pt x="2057400" y="1869742"/>
                </a:lnTo>
                <a:lnTo>
                  <a:pt x="2057400" y="1876567"/>
                </a:lnTo>
                <a:lnTo>
                  <a:pt x="2057400" y="1978925"/>
                </a:lnTo>
                <a:lnTo>
                  <a:pt x="2081284" y="1978925"/>
                </a:lnTo>
                <a:lnTo>
                  <a:pt x="2081284" y="2013044"/>
                </a:lnTo>
                <a:lnTo>
                  <a:pt x="2094932" y="2013044"/>
                </a:lnTo>
                <a:lnTo>
                  <a:pt x="2094932" y="2098343"/>
                </a:lnTo>
                <a:lnTo>
                  <a:pt x="2453186" y="2098343"/>
                </a:lnTo>
                <a:lnTo>
                  <a:pt x="2453186" y="2139286"/>
                </a:lnTo>
                <a:lnTo>
                  <a:pt x="2463421" y="2139286"/>
                </a:lnTo>
                <a:lnTo>
                  <a:pt x="2463421" y="2187053"/>
                </a:lnTo>
                <a:lnTo>
                  <a:pt x="2470245" y="2187053"/>
                </a:lnTo>
                <a:lnTo>
                  <a:pt x="2470245" y="2224585"/>
                </a:lnTo>
                <a:lnTo>
                  <a:pt x="2507777" y="2224585"/>
                </a:lnTo>
                <a:lnTo>
                  <a:pt x="2507777" y="2241644"/>
                </a:lnTo>
                <a:lnTo>
                  <a:pt x="2582839" y="2241644"/>
                </a:lnTo>
                <a:lnTo>
                  <a:pt x="2582839" y="2268940"/>
                </a:lnTo>
                <a:lnTo>
                  <a:pt x="2620371" y="2268940"/>
                </a:lnTo>
                <a:lnTo>
                  <a:pt x="2640842" y="2289411"/>
                </a:lnTo>
                <a:lnTo>
                  <a:pt x="2797792" y="2289411"/>
                </a:lnTo>
                <a:lnTo>
                  <a:pt x="2797792" y="2344003"/>
                </a:lnTo>
                <a:lnTo>
                  <a:pt x="2818263" y="2344003"/>
                </a:lnTo>
                <a:lnTo>
                  <a:pt x="2835323" y="2361063"/>
                </a:lnTo>
                <a:lnTo>
                  <a:pt x="2845559" y="2361063"/>
                </a:lnTo>
                <a:lnTo>
                  <a:pt x="2866030" y="2381534"/>
                </a:lnTo>
                <a:cubicBezTo>
                  <a:pt x="2902133" y="2393568"/>
                  <a:pt x="2885948" y="2391770"/>
                  <a:pt x="2913797" y="2391770"/>
                </a:cubicBezTo>
                <a:lnTo>
                  <a:pt x="3210636" y="2391770"/>
                </a:lnTo>
                <a:lnTo>
                  <a:pt x="3210636" y="2415653"/>
                </a:lnTo>
                <a:lnTo>
                  <a:pt x="3227696" y="2432713"/>
                </a:lnTo>
                <a:lnTo>
                  <a:pt x="3237932" y="2442949"/>
                </a:lnTo>
                <a:lnTo>
                  <a:pt x="3722427" y="2442949"/>
                </a:lnTo>
                <a:lnTo>
                  <a:pt x="3722427" y="2483892"/>
                </a:lnTo>
                <a:lnTo>
                  <a:pt x="3978323" y="2483892"/>
                </a:lnTo>
                <a:lnTo>
                  <a:pt x="3978323" y="2521423"/>
                </a:lnTo>
                <a:lnTo>
                  <a:pt x="5517108" y="2521423"/>
                </a:lnTo>
                <a:lnTo>
                  <a:pt x="5517108" y="2518012"/>
                </a:lnTo>
              </a:path>
            </a:pathLst>
          </a:custGeom>
          <a:noFill/>
          <a:ln w="285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 name="Title 1"/>
          <p:cNvSpPr>
            <a:spLocks noGrp="1"/>
          </p:cNvSpPr>
          <p:nvPr>
            <p:ph type="title"/>
          </p:nvPr>
        </p:nvSpPr>
        <p:spPr>
          <a:xfrm>
            <a:off x="397565" y="219275"/>
            <a:ext cx="8245633" cy="720197"/>
          </a:xfrm>
        </p:spPr>
        <p:txBody>
          <a:bodyPr/>
          <a:lstStyle/>
          <a:p>
            <a:r>
              <a:rPr lang="en-US" altLang="zh-CN" sz="2400" b="1" dirty="0">
                <a:latin typeface="微软雅黑" panose="020B0503020204020204" pitchFamily="34" charset="-122"/>
                <a:ea typeface="微软雅黑" panose="020B0503020204020204" pitchFamily="34" charset="-122"/>
              </a:rPr>
              <a:t>LUX-Lung 7</a:t>
            </a:r>
            <a:r>
              <a:rPr lang="zh-CN" altLang="en-US" sz="2400" b="1" dirty="0">
                <a:latin typeface="微软雅黑" panose="020B0503020204020204" pitchFamily="34" charset="-122"/>
                <a:ea typeface="微软雅黑" panose="020B0503020204020204" pitchFamily="34" charset="-122"/>
              </a:rPr>
              <a:t>：与吉非替尼相比</a:t>
            </a:r>
            <a:br>
              <a:rPr lang="en-US" altLang="zh-CN" sz="2400" b="1" dirty="0">
                <a:latin typeface="微软雅黑" panose="020B0503020204020204" pitchFamily="34" charset="-122"/>
                <a:ea typeface="微软雅黑" panose="020B0503020204020204" pitchFamily="34" charset="-122"/>
              </a:rPr>
            </a:br>
            <a:r>
              <a:rPr lang="zh-CN" altLang="en-US" sz="2400" b="1" dirty="0">
                <a:latin typeface="微软雅黑" panose="020B0503020204020204" pitchFamily="34" charset="-122"/>
                <a:ea typeface="微软雅黑" panose="020B0503020204020204" pitchFamily="34" charset="-122"/>
              </a:rPr>
              <a:t>吉泰瑞</a:t>
            </a:r>
            <a:r>
              <a:rPr lang="en-US" altLang="zh-CN" sz="2400" b="1" baseline="30000" dirty="0">
                <a:latin typeface="微软雅黑" panose="020B0503020204020204" pitchFamily="34" charset="-122"/>
                <a:ea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rPr>
              <a:t>治疗组</a:t>
            </a:r>
            <a:r>
              <a:rPr lang="en-US" altLang="zh-CN" sz="2400" b="1" dirty="0">
                <a:latin typeface="微软雅黑" panose="020B0503020204020204" pitchFamily="34" charset="-122"/>
                <a:ea typeface="微软雅黑" panose="020B0503020204020204" pitchFamily="34" charset="-122"/>
              </a:rPr>
              <a:t>PFS</a:t>
            </a:r>
            <a:r>
              <a:rPr lang="zh-CN" altLang="en-US" sz="2400" b="1" dirty="0">
                <a:solidFill>
                  <a:schemeClr val="accent2">
                    <a:lumMod val="60000"/>
                    <a:lumOff val="40000"/>
                  </a:schemeClr>
                </a:solidFill>
                <a:latin typeface="微软雅黑" panose="020B0503020204020204" pitchFamily="34" charset="-122"/>
                <a:ea typeface="微软雅黑" panose="020B0503020204020204" pitchFamily="34" charset="-122"/>
              </a:rPr>
              <a:t>风险比下降</a:t>
            </a:r>
            <a:r>
              <a:rPr lang="en-US" altLang="zh-CN" sz="2400" b="1" dirty="0">
                <a:solidFill>
                  <a:schemeClr val="accent2">
                    <a:lumMod val="60000"/>
                    <a:lumOff val="40000"/>
                  </a:schemeClr>
                </a:solidFill>
                <a:latin typeface="微软雅黑" panose="020B0503020204020204" pitchFamily="34" charset="-122"/>
                <a:ea typeface="微软雅黑" panose="020B0503020204020204" pitchFamily="34" charset="-122"/>
              </a:rPr>
              <a:t>27%</a:t>
            </a:r>
            <a:r>
              <a:rPr lang="zh-CN" altLang="en-US" sz="2400" b="1" dirty="0">
                <a:latin typeface="微软雅黑" panose="020B0503020204020204" pitchFamily="34" charset="-122"/>
                <a:ea typeface="微软雅黑" panose="020B0503020204020204" pitchFamily="34" charset="-122"/>
              </a:rPr>
              <a:t>，</a:t>
            </a:r>
            <a:r>
              <a:rPr lang="en-US" altLang="zh-CN" sz="2400" b="1" dirty="0">
                <a:latin typeface="微软雅黑" panose="020B0503020204020204" pitchFamily="34" charset="-122"/>
                <a:ea typeface="微软雅黑" panose="020B0503020204020204" pitchFamily="34" charset="-122"/>
              </a:rPr>
              <a:t>2</a:t>
            </a:r>
            <a:r>
              <a:rPr lang="zh-CN" altLang="en-US" sz="2400" b="1" dirty="0">
                <a:latin typeface="微软雅黑" panose="020B0503020204020204" pitchFamily="34" charset="-122"/>
                <a:ea typeface="微软雅黑" panose="020B0503020204020204" pitchFamily="34" charset="-122"/>
              </a:rPr>
              <a:t>年</a:t>
            </a:r>
            <a:r>
              <a:rPr lang="en-US" altLang="zh-CN" sz="2400" b="1" dirty="0">
                <a:latin typeface="微软雅黑" panose="020B0503020204020204" pitchFamily="34" charset="-122"/>
                <a:ea typeface="微软雅黑" panose="020B0503020204020204" pitchFamily="34" charset="-122"/>
              </a:rPr>
              <a:t>PFS</a:t>
            </a:r>
            <a:r>
              <a:rPr lang="zh-CN" altLang="en-US" sz="2400" b="1" dirty="0">
                <a:latin typeface="微软雅黑" panose="020B0503020204020204" pitchFamily="34" charset="-122"/>
                <a:ea typeface="微软雅黑" panose="020B0503020204020204" pitchFamily="34" charset="-122"/>
              </a:rPr>
              <a:t>率</a:t>
            </a:r>
            <a:r>
              <a:rPr lang="zh-CN" altLang="en-US" sz="2400" b="1" dirty="0">
                <a:solidFill>
                  <a:schemeClr val="accent2">
                    <a:lumMod val="60000"/>
                    <a:lumOff val="40000"/>
                  </a:schemeClr>
                </a:solidFill>
                <a:latin typeface="微软雅黑" panose="020B0503020204020204" pitchFamily="34" charset="-122"/>
                <a:ea typeface="微软雅黑" panose="020B0503020204020204" pitchFamily="34" charset="-122"/>
              </a:rPr>
              <a:t>提高一倍</a:t>
            </a:r>
            <a:endParaRPr lang="de-DE" sz="2400" b="1" dirty="0">
              <a:solidFill>
                <a:schemeClr val="accent2">
                  <a:lumMod val="60000"/>
                  <a:lumOff val="40000"/>
                </a:schemeClr>
              </a:solidFill>
              <a:latin typeface="微软雅黑" panose="020B0503020204020204" pitchFamily="34" charset="-122"/>
              <a:ea typeface="微软雅黑" panose="020B0503020204020204" pitchFamily="34" charset="-122"/>
            </a:endParaRPr>
          </a:p>
        </p:txBody>
      </p:sp>
      <p:sp>
        <p:nvSpPr>
          <p:cNvPr id="7" name="Freeform 6"/>
          <p:cNvSpPr/>
          <p:nvPr/>
        </p:nvSpPr>
        <p:spPr>
          <a:xfrm>
            <a:off x="2089150" y="1423443"/>
            <a:ext cx="5876593" cy="3970350"/>
          </a:xfrm>
          <a:custGeom>
            <a:avLst/>
            <a:gdLst>
              <a:gd name="connsiteX0" fmla="*/ 0 w 5892800"/>
              <a:gd name="connsiteY0" fmla="*/ 0 h 2673350"/>
              <a:gd name="connsiteX1" fmla="*/ 0 w 5892800"/>
              <a:gd name="connsiteY1" fmla="*/ 2673350 h 2673350"/>
              <a:gd name="connsiteX2" fmla="*/ 5892800 w 5892800"/>
              <a:gd name="connsiteY2" fmla="*/ 2673350 h 2673350"/>
            </a:gdLst>
            <a:ahLst/>
            <a:cxnLst>
              <a:cxn ang="0">
                <a:pos x="connsiteX0" y="connsiteY0"/>
              </a:cxn>
              <a:cxn ang="0">
                <a:pos x="connsiteX1" y="connsiteY1"/>
              </a:cxn>
              <a:cxn ang="0">
                <a:pos x="connsiteX2" y="connsiteY2"/>
              </a:cxn>
            </a:cxnLst>
            <a:rect l="l" t="t" r="r" b="b"/>
            <a:pathLst>
              <a:path w="5892800" h="2673350">
                <a:moveTo>
                  <a:pt x="0" y="0"/>
                </a:moveTo>
                <a:lnTo>
                  <a:pt x="0" y="2673350"/>
                </a:lnTo>
                <a:lnTo>
                  <a:pt x="5892800" y="2673350"/>
                </a:lnTo>
              </a:path>
            </a:pathLst>
          </a:custGeom>
          <a:noFill/>
          <a:ln w="19050" cap="rnd">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17" name="TextBox 16"/>
          <p:cNvSpPr txBox="1"/>
          <p:nvPr/>
        </p:nvSpPr>
        <p:spPr>
          <a:xfrm>
            <a:off x="683360" y="5666699"/>
            <a:ext cx="7705818" cy="53347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100"/>
              </a:spcBef>
              <a:spcAft>
                <a:spcPts val="0"/>
              </a:spcAft>
              <a:buClrTx/>
              <a:buSzTx/>
              <a:buFontTx/>
              <a:buNone/>
              <a:tabLst/>
              <a:defRPr/>
            </a:pPr>
            <a:r>
              <a:rPr kumimoji="0" lang="zh-CN" altLang="en-US" sz="9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危险人数</a:t>
            </a:r>
            <a:endParaRPr kumimoji="0" lang="en-US" sz="9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endParaRPr>
          </a:p>
          <a:p>
            <a:pPr marL="0" marR="0" lvl="0" indent="0" algn="l" defTabSz="-635" rtl="0" eaLnBrk="1" fontAlgn="auto" latinLnBrk="0" hangingPunct="1">
              <a:lnSpc>
                <a:spcPct val="100000"/>
              </a:lnSpc>
              <a:spcBef>
                <a:spcPts val="100"/>
              </a:spcBef>
              <a:spcAft>
                <a:spcPts val="0"/>
              </a:spcAft>
              <a:buClrTx/>
              <a:buSzTx/>
              <a:buFontTx/>
              <a:buNone/>
              <a:tabLst>
                <a:tab pos="1314450" algn="ctr"/>
                <a:tab pos="1774825" algn="ctr"/>
                <a:tab pos="2228850" algn="ctr"/>
                <a:tab pos="2574925" algn="ctr"/>
                <a:tab pos="3027045" algn="ctr"/>
                <a:tab pos="3427095" algn="ctr"/>
                <a:tab pos="3825875" algn="ctr"/>
                <a:tab pos="4287520" algn="ctr"/>
                <a:tab pos="4687570" algn="ctr"/>
                <a:tab pos="5086350" algn="ctr"/>
                <a:tab pos="5540375" algn="ctr"/>
                <a:tab pos="5948045" algn="ctr"/>
                <a:tab pos="6346825" algn="ctr"/>
                <a:tab pos="6746875" algn="ctr"/>
                <a:tab pos="7198995" algn="ctr"/>
              </a:tabLst>
              <a:defRPr/>
            </a:pPr>
            <a:r>
              <a:rPr kumimoji="0" lang="zh-CN" altLang="en-US" sz="900" b="0" i="0" u="none" strike="noStrike" kern="1200" cap="none" spc="0" normalizeH="0" baseline="0" noProof="0" dirty="0">
                <a:ln>
                  <a:noFill/>
                </a:ln>
                <a:solidFill>
                  <a:srgbClr val="1CBECA"/>
                </a:solidFill>
                <a:effectLst/>
                <a:uLnTx/>
                <a:uFillTx/>
                <a:latin typeface="微软雅黑" panose="020B0503020204020204" pitchFamily="34" charset="-122"/>
                <a:ea typeface="微软雅黑" panose="020B0503020204020204" pitchFamily="34" charset="-122"/>
                <a:cs typeface="+mn-cs"/>
              </a:rPr>
              <a:t>吉泰瑞</a:t>
            </a:r>
            <a:r>
              <a:rPr kumimoji="0" lang="en-US" altLang="zh-CN" sz="900" b="0" i="0" u="none" strike="noStrike" kern="1200" cap="none" spc="0" normalizeH="0" baseline="30000" noProof="0" dirty="0">
                <a:ln>
                  <a:noFill/>
                </a:ln>
                <a:solidFill>
                  <a:srgbClr val="1CBECA"/>
                </a:solidFill>
                <a:effectLst/>
                <a:uLnTx/>
                <a:uFillTx/>
                <a:latin typeface="微软雅黑" panose="020B0503020204020204" pitchFamily="34" charset="-122"/>
                <a:ea typeface="微软雅黑" panose="020B0503020204020204" pitchFamily="34" charset="-122"/>
                <a:cs typeface="+mn-cs"/>
              </a:rPr>
              <a:t>®</a:t>
            </a:r>
            <a:r>
              <a:rPr kumimoji="0" lang="en-US" sz="900" b="0" i="0" u="none" strike="noStrike" kern="1200" cap="none" spc="0" normalizeH="0" baseline="0" noProof="0" dirty="0">
                <a:ln>
                  <a:noFill/>
                </a:ln>
                <a:solidFill>
                  <a:srgbClr val="1CBECA"/>
                </a:solidFill>
                <a:effectLst/>
                <a:uLnTx/>
                <a:uFillTx/>
                <a:latin typeface="微软雅黑" panose="020B0503020204020204" pitchFamily="34" charset="-122"/>
                <a:ea typeface="微软雅黑" panose="020B0503020204020204" pitchFamily="34" charset="-122"/>
                <a:cs typeface="+mn-cs"/>
              </a:rPr>
              <a:t>	160	142	112	94	67	47	34	27	21	13	6	3	1	0	0</a:t>
            </a:r>
          </a:p>
          <a:p>
            <a:pPr marL="0" marR="0" lvl="0" indent="0" algn="l" defTabSz="-635" rtl="0" eaLnBrk="1" fontAlgn="auto" latinLnBrk="0" hangingPunct="1">
              <a:lnSpc>
                <a:spcPct val="100000"/>
              </a:lnSpc>
              <a:spcBef>
                <a:spcPts val="100"/>
              </a:spcBef>
              <a:spcAft>
                <a:spcPts val="0"/>
              </a:spcAft>
              <a:buClrTx/>
              <a:buSzTx/>
              <a:buFontTx/>
              <a:buNone/>
              <a:tabLst>
                <a:tab pos="1314450" algn="ctr"/>
                <a:tab pos="1774825" algn="ctr"/>
                <a:tab pos="2228850" algn="ctr"/>
                <a:tab pos="2574925" algn="ctr"/>
                <a:tab pos="3027045" algn="ctr"/>
                <a:tab pos="3427095" algn="ctr"/>
                <a:tab pos="3825875" algn="ctr"/>
                <a:tab pos="4287520" algn="ctr"/>
                <a:tab pos="4687570" algn="ctr"/>
                <a:tab pos="5086350" algn="ctr"/>
                <a:tab pos="5540375" algn="ctr"/>
                <a:tab pos="5948045" algn="ctr"/>
                <a:tab pos="6346825" algn="ctr"/>
                <a:tab pos="6746875" algn="ctr"/>
                <a:tab pos="7198995" algn="ctr"/>
              </a:tabLst>
              <a:defRPr/>
            </a:pPr>
            <a:r>
              <a:rPr kumimoji="0" lang="zh-CN" altLang="en-US" sz="9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吉非替尼</a:t>
            </a:r>
            <a:r>
              <a:rPr kumimoji="0" lang="en-US" sz="9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	159	132	106	83	52	22	14	9	7	5	3	3	1	1	0	</a:t>
            </a:r>
          </a:p>
        </p:txBody>
      </p:sp>
      <p:cxnSp>
        <p:nvCxnSpPr>
          <p:cNvPr id="9" name="Straight Connector 8"/>
          <p:cNvCxnSpPr/>
          <p:nvPr/>
        </p:nvCxnSpPr>
        <p:spPr>
          <a:xfrm>
            <a:off x="2026142" y="1417472"/>
            <a:ext cx="54591"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2026142" y="2187117"/>
            <a:ext cx="54591"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2019871" y="2986382"/>
            <a:ext cx="54591"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2019871" y="3808609"/>
            <a:ext cx="54591"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2040893" y="4584716"/>
            <a:ext cx="54591"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2026142" y="5366246"/>
            <a:ext cx="54591" cy="0"/>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2129047" y="5407190"/>
            <a:ext cx="0" cy="45852"/>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2547578" y="5407191"/>
            <a:ext cx="0" cy="45852"/>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2961560" y="5407192"/>
            <a:ext cx="0" cy="45852"/>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3375542" y="5407193"/>
            <a:ext cx="0" cy="45852"/>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3798623" y="5407194"/>
            <a:ext cx="0" cy="45852"/>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4212607" y="5407195"/>
            <a:ext cx="0" cy="45852"/>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4631138" y="5407196"/>
            <a:ext cx="0" cy="45852"/>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5045120" y="5407197"/>
            <a:ext cx="0" cy="45852"/>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5468200" y="5407198"/>
            <a:ext cx="0" cy="45852"/>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5877633" y="5407199"/>
            <a:ext cx="0" cy="45852"/>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6300714" y="5407200"/>
            <a:ext cx="0" cy="45852"/>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6714696" y="5407201"/>
            <a:ext cx="0" cy="45852"/>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7142326" y="5407202"/>
            <a:ext cx="0" cy="45852"/>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7551759" y="5407203"/>
            <a:ext cx="0" cy="45852"/>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7970290" y="5407204"/>
            <a:ext cx="0" cy="45852"/>
          </a:xfrm>
          <a:prstGeom prst="line">
            <a:avLst/>
          </a:prstGeom>
          <a:ln w="19050" cap="rnd">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1751461" y="1340416"/>
            <a:ext cx="245660" cy="153888"/>
          </a:xfrm>
          <a:prstGeom prst="rect">
            <a:avLst/>
          </a:prstGeom>
          <a:noFill/>
        </p:spPr>
        <p:txBody>
          <a:bodyPr wrap="square" lIns="0" tIns="0" rIns="0" bIns="0"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1.0</a:t>
            </a:r>
          </a:p>
        </p:txBody>
      </p:sp>
      <p:sp>
        <p:nvSpPr>
          <p:cNvPr id="45" name="TextBox 44"/>
          <p:cNvSpPr txBox="1"/>
          <p:nvPr/>
        </p:nvSpPr>
        <p:spPr>
          <a:xfrm>
            <a:off x="1751461" y="2110060"/>
            <a:ext cx="245660" cy="153888"/>
          </a:xfrm>
          <a:prstGeom prst="rect">
            <a:avLst/>
          </a:prstGeom>
          <a:noFill/>
        </p:spPr>
        <p:txBody>
          <a:bodyPr wrap="square" lIns="0" tIns="0" rIns="0" bIns="0"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0.8</a:t>
            </a:r>
          </a:p>
        </p:txBody>
      </p:sp>
      <p:sp>
        <p:nvSpPr>
          <p:cNvPr id="46" name="TextBox 45"/>
          <p:cNvSpPr txBox="1"/>
          <p:nvPr/>
        </p:nvSpPr>
        <p:spPr>
          <a:xfrm>
            <a:off x="1745190" y="2904776"/>
            <a:ext cx="245660" cy="153888"/>
          </a:xfrm>
          <a:prstGeom prst="rect">
            <a:avLst/>
          </a:prstGeom>
          <a:noFill/>
        </p:spPr>
        <p:txBody>
          <a:bodyPr wrap="square" lIns="0" tIns="0" rIns="0" bIns="0"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0.6</a:t>
            </a:r>
          </a:p>
        </p:txBody>
      </p:sp>
      <p:sp>
        <p:nvSpPr>
          <p:cNvPr id="47" name="TextBox 46"/>
          <p:cNvSpPr txBox="1"/>
          <p:nvPr/>
        </p:nvSpPr>
        <p:spPr>
          <a:xfrm>
            <a:off x="1745190" y="3722454"/>
            <a:ext cx="245660" cy="153888"/>
          </a:xfrm>
          <a:prstGeom prst="rect">
            <a:avLst/>
          </a:prstGeom>
          <a:noFill/>
        </p:spPr>
        <p:txBody>
          <a:bodyPr wrap="square" lIns="0" tIns="0" rIns="0" bIns="0"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0.4</a:t>
            </a:r>
          </a:p>
        </p:txBody>
      </p:sp>
      <p:sp>
        <p:nvSpPr>
          <p:cNvPr id="48" name="TextBox 47"/>
          <p:cNvSpPr txBox="1"/>
          <p:nvPr/>
        </p:nvSpPr>
        <p:spPr>
          <a:xfrm>
            <a:off x="1766212" y="4507659"/>
            <a:ext cx="245660" cy="153888"/>
          </a:xfrm>
          <a:prstGeom prst="rect">
            <a:avLst/>
          </a:prstGeom>
          <a:noFill/>
        </p:spPr>
        <p:txBody>
          <a:bodyPr wrap="square" lIns="0" tIns="0" rIns="0" bIns="0"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0.2</a:t>
            </a:r>
          </a:p>
        </p:txBody>
      </p:sp>
      <p:sp>
        <p:nvSpPr>
          <p:cNvPr id="49" name="TextBox 48"/>
          <p:cNvSpPr txBox="1"/>
          <p:nvPr/>
        </p:nvSpPr>
        <p:spPr>
          <a:xfrm>
            <a:off x="1766212" y="5299154"/>
            <a:ext cx="245660" cy="153888"/>
          </a:xfrm>
          <a:prstGeom prst="rect">
            <a:avLst/>
          </a:prstGeom>
          <a:noFill/>
        </p:spPr>
        <p:txBody>
          <a:bodyPr wrap="square" lIns="0" tIns="0" rIns="0" bIns="0"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0</a:t>
            </a:r>
          </a:p>
        </p:txBody>
      </p:sp>
      <p:sp>
        <p:nvSpPr>
          <p:cNvPr id="50" name="TextBox 49"/>
          <p:cNvSpPr txBox="1"/>
          <p:nvPr/>
        </p:nvSpPr>
        <p:spPr>
          <a:xfrm>
            <a:off x="2011872" y="5484807"/>
            <a:ext cx="245660" cy="153888"/>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0</a:t>
            </a:r>
          </a:p>
        </p:txBody>
      </p:sp>
      <p:sp>
        <p:nvSpPr>
          <p:cNvPr id="51" name="TextBox 50"/>
          <p:cNvSpPr txBox="1"/>
          <p:nvPr/>
        </p:nvSpPr>
        <p:spPr>
          <a:xfrm>
            <a:off x="3287862" y="5659580"/>
            <a:ext cx="3562065" cy="161583"/>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无进展生存期</a:t>
            </a:r>
            <a:r>
              <a:rPr kumimoji="0" lang="en-US" altLang="zh-CN" sz="105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a:t>
            </a:r>
            <a:r>
              <a:rPr kumimoji="0" lang="zh-CN" altLang="en-US" sz="105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月</a:t>
            </a:r>
            <a:r>
              <a:rPr kumimoji="0" lang="en-US" altLang="zh-CN" sz="105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a:t>
            </a:r>
            <a:endParaRPr kumimoji="0" lang="en-US" sz="105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endParaRPr>
          </a:p>
        </p:txBody>
      </p:sp>
      <p:sp>
        <p:nvSpPr>
          <p:cNvPr id="54" name="TextBox 53"/>
          <p:cNvSpPr txBox="1"/>
          <p:nvPr/>
        </p:nvSpPr>
        <p:spPr>
          <a:xfrm rot="16200000">
            <a:off x="709356" y="3309291"/>
            <a:ext cx="1947080" cy="161583"/>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估算的</a:t>
            </a:r>
            <a:r>
              <a:rPr kumimoji="0" lang="en-US" sz="105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PFS</a:t>
            </a:r>
            <a:r>
              <a:rPr kumimoji="0" lang="zh-CN" altLang="en-US" sz="105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概率</a:t>
            </a:r>
            <a:endParaRPr kumimoji="0" lang="en-US" sz="105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endParaRPr>
          </a:p>
        </p:txBody>
      </p:sp>
      <p:grpSp>
        <p:nvGrpSpPr>
          <p:cNvPr id="3" name="Group 19"/>
          <p:cNvGrpSpPr/>
          <p:nvPr/>
        </p:nvGrpSpPr>
        <p:grpSpPr>
          <a:xfrm>
            <a:off x="2213908" y="1569199"/>
            <a:ext cx="5413615" cy="3634928"/>
            <a:chOff x="2220035" y="1437567"/>
            <a:chExt cx="5413615" cy="2447501"/>
          </a:xfrm>
        </p:grpSpPr>
        <p:grpSp>
          <p:nvGrpSpPr>
            <p:cNvPr id="4" name="Group 12"/>
            <p:cNvGrpSpPr/>
            <p:nvPr/>
          </p:nvGrpSpPr>
          <p:grpSpPr>
            <a:xfrm>
              <a:off x="2652214" y="1728718"/>
              <a:ext cx="54591" cy="54591"/>
              <a:chOff x="2447498" y="1988025"/>
              <a:chExt cx="54591" cy="54591"/>
            </a:xfrm>
          </p:grpSpPr>
          <p:cxnSp>
            <p:nvCxnSpPr>
              <p:cNvPr id="55" name="Straight Connector 54"/>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 name="Group 59"/>
            <p:cNvGrpSpPr/>
            <p:nvPr/>
          </p:nvGrpSpPr>
          <p:grpSpPr>
            <a:xfrm>
              <a:off x="2220035" y="1437567"/>
              <a:ext cx="54591" cy="54591"/>
              <a:chOff x="2447498" y="1988025"/>
              <a:chExt cx="54591" cy="54591"/>
            </a:xfrm>
          </p:grpSpPr>
          <p:cxnSp>
            <p:nvCxnSpPr>
              <p:cNvPr id="61" name="Straight Connector 60"/>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 name="Group 62"/>
            <p:cNvGrpSpPr/>
            <p:nvPr/>
          </p:nvGrpSpPr>
          <p:grpSpPr>
            <a:xfrm>
              <a:off x="2320119" y="1473961"/>
              <a:ext cx="54591" cy="54591"/>
              <a:chOff x="2447498" y="1988025"/>
              <a:chExt cx="54591" cy="54591"/>
            </a:xfrm>
          </p:grpSpPr>
          <p:cxnSp>
            <p:nvCxnSpPr>
              <p:cNvPr id="64" name="Straight Connector 63"/>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oup 65"/>
            <p:cNvGrpSpPr/>
            <p:nvPr/>
          </p:nvGrpSpPr>
          <p:grpSpPr>
            <a:xfrm>
              <a:off x="2333767" y="1501256"/>
              <a:ext cx="54591" cy="54591"/>
              <a:chOff x="2447498" y="1988025"/>
              <a:chExt cx="54591" cy="54591"/>
            </a:xfrm>
          </p:grpSpPr>
          <p:cxnSp>
            <p:nvCxnSpPr>
              <p:cNvPr id="67" name="Straight Connector 66"/>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 name="Group 68"/>
            <p:cNvGrpSpPr/>
            <p:nvPr/>
          </p:nvGrpSpPr>
          <p:grpSpPr>
            <a:xfrm>
              <a:off x="2324668" y="1514904"/>
              <a:ext cx="54591" cy="54591"/>
              <a:chOff x="2447498" y="1988025"/>
              <a:chExt cx="54591" cy="54591"/>
            </a:xfrm>
          </p:grpSpPr>
          <p:cxnSp>
            <p:nvCxnSpPr>
              <p:cNvPr id="70" name="Straight Connector 69"/>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3" name="Group 71"/>
            <p:cNvGrpSpPr/>
            <p:nvPr/>
          </p:nvGrpSpPr>
          <p:grpSpPr>
            <a:xfrm>
              <a:off x="2361062" y="1551298"/>
              <a:ext cx="54591" cy="54591"/>
              <a:chOff x="2447498" y="1988025"/>
              <a:chExt cx="54591" cy="54591"/>
            </a:xfrm>
          </p:grpSpPr>
          <p:cxnSp>
            <p:nvCxnSpPr>
              <p:cNvPr id="73" name="Straight Connector 72"/>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 name="Group 74"/>
            <p:cNvGrpSpPr/>
            <p:nvPr/>
          </p:nvGrpSpPr>
          <p:grpSpPr>
            <a:xfrm>
              <a:off x="2361062" y="1619537"/>
              <a:ext cx="54591" cy="54591"/>
              <a:chOff x="2447498" y="1988025"/>
              <a:chExt cx="54591" cy="54591"/>
            </a:xfrm>
          </p:grpSpPr>
          <p:cxnSp>
            <p:nvCxnSpPr>
              <p:cNvPr id="76" name="Straight Connector 75"/>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6" name="Group 77"/>
            <p:cNvGrpSpPr/>
            <p:nvPr/>
          </p:nvGrpSpPr>
          <p:grpSpPr>
            <a:xfrm>
              <a:off x="2602172" y="1587692"/>
              <a:ext cx="54591" cy="54591"/>
              <a:chOff x="2447498" y="1988025"/>
              <a:chExt cx="54591" cy="54591"/>
            </a:xfrm>
          </p:grpSpPr>
          <p:cxnSp>
            <p:nvCxnSpPr>
              <p:cNvPr id="79" name="Straight Connector 78"/>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9" name="Group 80"/>
            <p:cNvGrpSpPr/>
            <p:nvPr/>
          </p:nvGrpSpPr>
          <p:grpSpPr>
            <a:xfrm>
              <a:off x="2615820" y="1833352"/>
              <a:ext cx="54591" cy="54591"/>
              <a:chOff x="2447498" y="1988025"/>
              <a:chExt cx="54591" cy="54591"/>
            </a:xfrm>
          </p:grpSpPr>
          <p:cxnSp>
            <p:nvCxnSpPr>
              <p:cNvPr id="82" name="Straight Connector 81"/>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0" name="Group 83"/>
            <p:cNvGrpSpPr/>
            <p:nvPr/>
          </p:nvGrpSpPr>
          <p:grpSpPr>
            <a:xfrm>
              <a:off x="2611271" y="1815155"/>
              <a:ext cx="54591" cy="54591"/>
              <a:chOff x="2447498" y="1988025"/>
              <a:chExt cx="54591" cy="54591"/>
            </a:xfrm>
          </p:grpSpPr>
          <p:cxnSp>
            <p:nvCxnSpPr>
              <p:cNvPr id="85" name="Straight Connector 84"/>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1" name="Group 86"/>
            <p:cNvGrpSpPr/>
            <p:nvPr/>
          </p:nvGrpSpPr>
          <p:grpSpPr>
            <a:xfrm>
              <a:off x="2866029" y="1833352"/>
              <a:ext cx="54591" cy="54591"/>
              <a:chOff x="2447498" y="1988025"/>
              <a:chExt cx="54591" cy="54591"/>
            </a:xfrm>
          </p:grpSpPr>
          <p:cxnSp>
            <p:nvCxnSpPr>
              <p:cNvPr id="88" name="Straight Connector 87"/>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 name="Group 89"/>
            <p:cNvGrpSpPr/>
            <p:nvPr/>
          </p:nvGrpSpPr>
          <p:grpSpPr>
            <a:xfrm>
              <a:off x="2838734" y="1869746"/>
              <a:ext cx="54591" cy="54591"/>
              <a:chOff x="2447498" y="1988025"/>
              <a:chExt cx="54591" cy="54591"/>
            </a:xfrm>
          </p:grpSpPr>
          <p:cxnSp>
            <p:nvCxnSpPr>
              <p:cNvPr id="91" name="Straight Connector 90"/>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4" name="Group 92"/>
            <p:cNvGrpSpPr/>
            <p:nvPr/>
          </p:nvGrpSpPr>
          <p:grpSpPr>
            <a:xfrm>
              <a:off x="2861480" y="1997125"/>
              <a:ext cx="54591" cy="54591"/>
              <a:chOff x="2447498" y="1988025"/>
              <a:chExt cx="54591" cy="54591"/>
            </a:xfrm>
          </p:grpSpPr>
          <p:cxnSp>
            <p:nvCxnSpPr>
              <p:cNvPr id="94" name="Straight Connector 93"/>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2" name="Group 95"/>
            <p:cNvGrpSpPr/>
            <p:nvPr/>
          </p:nvGrpSpPr>
          <p:grpSpPr>
            <a:xfrm>
              <a:off x="2870579" y="1887943"/>
              <a:ext cx="54591" cy="54591"/>
              <a:chOff x="2447498" y="1988025"/>
              <a:chExt cx="54591" cy="54591"/>
            </a:xfrm>
          </p:grpSpPr>
          <p:cxnSp>
            <p:nvCxnSpPr>
              <p:cNvPr id="97" name="Straight Connector 96"/>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3" name="Group 98"/>
            <p:cNvGrpSpPr/>
            <p:nvPr/>
          </p:nvGrpSpPr>
          <p:grpSpPr>
            <a:xfrm>
              <a:off x="2879678" y="1942534"/>
              <a:ext cx="54591" cy="54591"/>
              <a:chOff x="2447498" y="1988025"/>
              <a:chExt cx="54591" cy="54591"/>
            </a:xfrm>
          </p:grpSpPr>
          <p:cxnSp>
            <p:nvCxnSpPr>
              <p:cNvPr id="100" name="Straight Connector 99"/>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7" name="Group 101"/>
            <p:cNvGrpSpPr/>
            <p:nvPr/>
          </p:nvGrpSpPr>
          <p:grpSpPr>
            <a:xfrm>
              <a:off x="2970662" y="1956181"/>
              <a:ext cx="54591" cy="54591"/>
              <a:chOff x="2447498" y="1988025"/>
              <a:chExt cx="54591" cy="54591"/>
            </a:xfrm>
          </p:grpSpPr>
          <p:cxnSp>
            <p:nvCxnSpPr>
              <p:cNvPr id="103" name="Straight Connector 102"/>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0" name="Group 104"/>
            <p:cNvGrpSpPr/>
            <p:nvPr/>
          </p:nvGrpSpPr>
          <p:grpSpPr>
            <a:xfrm>
              <a:off x="3098041" y="1974378"/>
              <a:ext cx="54591" cy="54591"/>
              <a:chOff x="2447498" y="1988025"/>
              <a:chExt cx="54591" cy="54591"/>
            </a:xfrm>
          </p:grpSpPr>
          <p:cxnSp>
            <p:nvCxnSpPr>
              <p:cNvPr id="106" name="Straight Connector 105"/>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3" name="Group 107"/>
            <p:cNvGrpSpPr/>
            <p:nvPr/>
          </p:nvGrpSpPr>
          <p:grpSpPr>
            <a:xfrm>
              <a:off x="3098041" y="2051716"/>
              <a:ext cx="54591" cy="54591"/>
              <a:chOff x="2447498" y="1988025"/>
              <a:chExt cx="54591" cy="54591"/>
            </a:xfrm>
          </p:grpSpPr>
          <p:cxnSp>
            <p:nvCxnSpPr>
              <p:cNvPr id="109" name="Straight Connector 108"/>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6" name="Group 110"/>
            <p:cNvGrpSpPr/>
            <p:nvPr/>
          </p:nvGrpSpPr>
          <p:grpSpPr>
            <a:xfrm>
              <a:off x="3107139" y="2106307"/>
              <a:ext cx="54591" cy="54591"/>
              <a:chOff x="2447498" y="1988025"/>
              <a:chExt cx="54591" cy="54591"/>
            </a:xfrm>
          </p:grpSpPr>
          <p:cxnSp>
            <p:nvCxnSpPr>
              <p:cNvPr id="112" name="Straight Connector 111"/>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9" name="Group 113"/>
            <p:cNvGrpSpPr/>
            <p:nvPr/>
          </p:nvGrpSpPr>
          <p:grpSpPr>
            <a:xfrm>
              <a:off x="3125336" y="2174545"/>
              <a:ext cx="54591" cy="54591"/>
              <a:chOff x="2447498" y="1988025"/>
              <a:chExt cx="54591" cy="54591"/>
            </a:xfrm>
          </p:grpSpPr>
          <p:cxnSp>
            <p:nvCxnSpPr>
              <p:cNvPr id="115" name="Straight Connector 114"/>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2" name="Group 116"/>
            <p:cNvGrpSpPr/>
            <p:nvPr/>
          </p:nvGrpSpPr>
          <p:grpSpPr>
            <a:xfrm>
              <a:off x="3129885" y="2201841"/>
              <a:ext cx="54591" cy="54591"/>
              <a:chOff x="2447498" y="1988025"/>
              <a:chExt cx="54591" cy="54591"/>
            </a:xfrm>
          </p:grpSpPr>
          <p:cxnSp>
            <p:nvCxnSpPr>
              <p:cNvPr id="118" name="Straight Connector 117"/>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5" name="Group 119"/>
            <p:cNvGrpSpPr/>
            <p:nvPr/>
          </p:nvGrpSpPr>
          <p:grpSpPr>
            <a:xfrm>
              <a:off x="3129885" y="2247333"/>
              <a:ext cx="54591" cy="54591"/>
              <a:chOff x="2447498" y="1988025"/>
              <a:chExt cx="54591" cy="54591"/>
            </a:xfrm>
          </p:grpSpPr>
          <p:cxnSp>
            <p:nvCxnSpPr>
              <p:cNvPr id="121" name="Straight Connector 120"/>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8" name="Group 122"/>
            <p:cNvGrpSpPr/>
            <p:nvPr/>
          </p:nvGrpSpPr>
          <p:grpSpPr>
            <a:xfrm>
              <a:off x="3148082" y="2279178"/>
              <a:ext cx="54591" cy="54591"/>
              <a:chOff x="2447498" y="1988025"/>
              <a:chExt cx="54591" cy="54591"/>
            </a:xfrm>
          </p:grpSpPr>
          <p:cxnSp>
            <p:nvCxnSpPr>
              <p:cNvPr id="124" name="Straight Connector 123"/>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1" name="Group 125"/>
            <p:cNvGrpSpPr/>
            <p:nvPr/>
          </p:nvGrpSpPr>
          <p:grpSpPr>
            <a:xfrm>
              <a:off x="3375546" y="2497542"/>
              <a:ext cx="54591" cy="54591"/>
              <a:chOff x="2447498" y="1988025"/>
              <a:chExt cx="54591" cy="54591"/>
            </a:xfrm>
          </p:grpSpPr>
          <p:cxnSp>
            <p:nvCxnSpPr>
              <p:cNvPr id="127" name="Straight Connector 126"/>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4" name="Group 128"/>
            <p:cNvGrpSpPr/>
            <p:nvPr/>
          </p:nvGrpSpPr>
          <p:grpSpPr>
            <a:xfrm>
              <a:off x="3389194" y="2515739"/>
              <a:ext cx="54591" cy="54591"/>
              <a:chOff x="2447498" y="1988025"/>
              <a:chExt cx="54591" cy="54591"/>
            </a:xfrm>
          </p:grpSpPr>
          <p:cxnSp>
            <p:nvCxnSpPr>
              <p:cNvPr id="130" name="Straight Connector 129"/>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7" name="Group 131"/>
            <p:cNvGrpSpPr/>
            <p:nvPr/>
          </p:nvGrpSpPr>
          <p:grpSpPr>
            <a:xfrm>
              <a:off x="3625756" y="2652218"/>
              <a:ext cx="54591" cy="54591"/>
              <a:chOff x="2447498" y="1988025"/>
              <a:chExt cx="54591" cy="54591"/>
            </a:xfrm>
          </p:grpSpPr>
          <p:cxnSp>
            <p:nvCxnSpPr>
              <p:cNvPr id="133" name="Straight Connector 132"/>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0" name="Group 134"/>
            <p:cNvGrpSpPr/>
            <p:nvPr/>
          </p:nvGrpSpPr>
          <p:grpSpPr>
            <a:xfrm>
              <a:off x="3766782" y="2702260"/>
              <a:ext cx="54591" cy="54591"/>
              <a:chOff x="2447498" y="1988025"/>
              <a:chExt cx="54591" cy="54591"/>
            </a:xfrm>
          </p:grpSpPr>
          <p:cxnSp>
            <p:nvCxnSpPr>
              <p:cNvPr id="136" name="Straight Connector 135"/>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3" name="Group 137"/>
            <p:cNvGrpSpPr/>
            <p:nvPr/>
          </p:nvGrpSpPr>
          <p:grpSpPr>
            <a:xfrm>
              <a:off x="3862316" y="2756852"/>
              <a:ext cx="54591" cy="54591"/>
              <a:chOff x="2447498" y="1988025"/>
              <a:chExt cx="54591" cy="54591"/>
            </a:xfrm>
          </p:grpSpPr>
          <p:cxnSp>
            <p:nvCxnSpPr>
              <p:cNvPr id="139" name="Straight Connector 138"/>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6" name="Group 140"/>
            <p:cNvGrpSpPr/>
            <p:nvPr/>
          </p:nvGrpSpPr>
          <p:grpSpPr>
            <a:xfrm>
              <a:off x="3885063" y="2802344"/>
              <a:ext cx="54591" cy="54591"/>
              <a:chOff x="2447498" y="1988025"/>
              <a:chExt cx="54591" cy="54591"/>
            </a:xfrm>
          </p:grpSpPr>
          <p:cxnSp>
            <p:nvCxnSpPr>
              <p:cNvPr id="142" name="Straight Connector 141"/>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9" name="Group 143"/>
            <p:cNvGrpSpPr/>
            <p:nvPr/>
          </p:nvGrpSpPr>
          <p:grpSpPr>
            <a:xfrm>
              <a:off x="4139821" y="2952470"/>
              <a:ext cx="54591" cy="54591"/>
              <a:chOff x="2447498" y="1988025"/>
              <a:chExt cx="54591" cy="54591"/>
            </a:xfrm>
          </p:grpSpPr>
          <p:cxnSp>
            <p:nvCxnSpPr>
              <p:cNvPr id="145" name="Straight Connector 144"/>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2" name="Group 146"/>
            <p:cNvGrpSpPr/>
            <p:nvPr/>
          </p:nvGrpSpPr>
          <p:grpSpPr>
            <a:xfrm>
              <a:off x="4117075" y="3234524"/>
              <a:ext cx="54591" cy="54591"/>
              <a:chOff x="2447498" y="1988025"/>
              <a:chExt cx="54591" cy="54591"/>
            </a:xfrm>
          </p:grpSpPr>
          <p:cxnSp>
            <p:nvCxnSpPr>
              <p:cNvPr id="148" name="Straight Connector 147"/>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5" name="Group 149"/>
            <p:cNvGrpSpPr/>
            <p:nvPr/>
          </p:nvGrpSpPr>
          <p:grpSpPr>
            <a:xfrm>
              <a:off x="3880514" y="3052554"/>
              <a:ext cx="54591" cy="54591"/>
              <a:chOff x="2447498" y="1988025"/>
              <a:chExt cx="54591" cy="54591"/>
            </a:xfrm>
          </p:grpSpPr>
          <p:cxnSp>
            <p:nvCxnSpPr>
              <p:cNvPr id="151" name="Straight Connector 150"/>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8" name="Group 152"/>
            <p:cNvGrpSpPr/>
            <p:nvPr/>
          </p:nvGrpSpPr>
          <p:grpSpPr>
            <a:xfrm>
              <a:off x="3880514" y="3070752"/>
              <a:ext cx="54591" cy="54591"/>
              <a:chOff x="2447498" y="1988025"/>
              <a:chExt cx="54591" cy="54591"/>
            </a:xfrm>
          </p:grpSpPr>
          <p:cxnSp>
            <p:nvCxnSpPr>
              <p:cNvPr id="154" name="Straight Connector 153"/>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1" name="Group 155"/>
            <p:cNvGrpSpPr/>
            <p:nvPr/>
          </p:nvGrpSpPr>
          <p:grpSpPr>
            <a:xfrm>
              <a:off x="4535607" y="3229975"/>
              <a:ext cx="54591" cy="54591"/>
              <a:chOff x="2447498" y="1988025"/>
              <a:chExt cx="54591" cy="54591"/>
            </a:xfrm>
          </p:grpSpPr>
          <p:cxnSp>
            <p:nvCxnSpPr>
              <p:cNvPr id="157" name="Straight Connector 156"/>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4" name="Group 158"/>
            <p:cNvGrpSpPr/>
            <p:nvPr/>
          </p:nvGrpSpPr>
          <p:grpSpPr>
            <a:xfrm>
              <a:off x="4508312" y="3075301"/>
              <a:ext cx="54591" cy="54591"/>
              <a:chOff x="2447498" y="1988025"/>
              <a:chExt cx="54591" cy="54591"/>
            </a:xfrm>
          </p:grpSpPr>
          <p:cxnSp>
            <p:nvCxnSpPr>
              <p:cNvPr id="160" name="Straight Connector 159"/>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7" name="Group 161"/>
            <p:cNvGrpSpPr/>
            <p:nvPr/>
          </p:nvGrpSpPr>
          <p:grpSpPr>
            <a:xfrm>
              <a:off x="4449171" y="3411945"/>
              <a:ext cx="54591" cy="54591"/>
              <a:chOff x="2447498" y="1988025"/>
              <a:chExt cx="54591" cy="54591"/>
            </a:xfrm>
          </p:grpSpPr>
          <p:cxnSp>
            <p:nvCxnSpPr>
              <p:cNvPr id="163" name="Straight Connector 162"/>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0" name="Group 170"/>
            <p:cNvGrpSpPr/>
            <p:nvPr/>
          </p:nvGrpSpPr>
          <p:grpSpPr>
            <a:xfrm>
              <a:off x="4471918" y="3048005"/>
              <a:ext cx="54591" cy="54591"/>
              <a:chOff x="2447498" y="1988025"/>
              <a:chExt cx="54591" cy="54591"/>
            </a:xfrm>
          </p:grpSpPr>
          <p:cxnSp>
            <p:nvCxnSpPr>
              <p:cNvPr id="172" name="Straight Connector 171"/>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3" name="Group 173"/>
            <p:cNvGrpSpPr/>
            <p:nvPr/>
          </p:nvGrpSpPr>
          <p:grpSpPr>
            <a:xfrm>
              <a:off x="4148921" y="3411946"/>
              <a:ext cx="54591" cy="54591"/>
              <a:chOff x="2447498" y="1988025"/>
              <a:chExt cx="54591" cy="54591"/>
            </a:xfrm>
          </p:grpSpPr>
          <p:cxnSp>
            <p:nvCxnSpPr>
              <p:cNvPr id="175" name="Straight Connector 174"/>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6" name="Group 176"/>
            <p:cNvGrpSpPr/>
            <p:nvPr/>
          </p:nvGrpSpPr>
          <p:grpSpPr>
            <a:xfrm>
              <a:off x="4194413" y="3411946"/>
              <a:ext cx="54591" cy="54591"/>
              <a:chOff x="2447498" y="1988025"/>
              <a:chExt cx="54591" cy="54591"/>
            </a:xfrm>
          </p:grpSpPr>
          <p:cxnSp>
            <p:nvCxnSpPr>
              <p:cNvPr id="178" name="Straight Connector 177"/>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9" name="Group 179"/>
            <p:cNvGrpSpPr/>
            <p:nvPr/>
          </p:nvGrpSpPr>
          <p:grpSpPr>
            <a:xfrm>
              <a:off x="4226258" y="3411946"/>
              <a:ext cx="54591" cy="54591"/>
              <a:chOff x="2447498" y="1988025"/>
              <a:chExt cx="54591" cy="54591"/>
            </a:xfrm>
          </p:grpSpPr>
          <p:cxnSp>
            <p:nvCxnSpPr>
              <p:cNvPr id="181" name="Straight Connector 180"/>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32" name="Group 182"/>
            <p:cNvGrpSpPr/>
            <p:nvPr/>
          </p:nvGrpSpPr>
          <p:grpSpPr>
            <a:xfrm>
              <a:off x="5686568" y="3757689"/>
              <a:ext cx="54591" cy="54591"/>
              <a:chOff x="2447498" y="1988025"/>
              <a:chExt cx="54591" cy="54591"/>
            </a:xfrm>
          </p:grpSpPr>
          <p:cxnSp>
            <p:nvCxnSpPr>
              <p:cNvPr id="184" name="Straight Connector 183"/>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35" name="Group 185"/>
            <p:cNvGrpSpPr/>
            <p:nvPr/>
          </p:nvGrpSpPr>
          <p:grpSpPr>
            <a:xfrm>
              <a:off x="5895834" y="3789534"/>
              <a:ext cx="54591" cy="54591"/>
              <a:chOff x="2447498" y="1988025"/>
              <a:chExt cx="54591" cy="54591"/>
            </a:xfrm>
          </p:grpSpPr>
          <p:cxnSp>
            <p:nvCxnSpPr>
              <p:cNvPr id="187" name="Straight Connector 186"/>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38" name="Group 194"/>
            <p:cNvGrpSpPr/>
            <p:nvPr/>
          </p:nvGrpSpPr>
          <p:grpSpPr>
            <a:xfrm>
              <a:off x="7579059" y="3830477"/>
              <a:ext cx="54591" cy="54591"/>
              <a:chOff x="2447498" y="1988025"/>
              <a:chExt cx="54591" cy="54591"/>
            </a:xfrm>
          </p:grpSpPr>
          <p:cxnSp>
            <p:nvCxnSpPr>
              <p:cNvPr id="196" name="Straight Connector 195"/>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p:nvPr/>
            </p:nvCxnSpPr>
            <p:spPr>
              <a:xfrm rot="5400000">
                <a:off x="2447499"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oup 197"/>
            <p:cNvGrpSpPr/>
            <p:nvPr/>
          </p:nvGrpSpPr>
          <p:grpSpPr>
            <a:xfrm>
              <a:off x="7206020" y="3744042"/>
              <a:ext cx="54591" cy="54591"/>
              <a:chOff x="2447498" y="1988025"/>
              <a:chExt cx="54591" cy="54591"/>
            </a:xfrm>
          </p:grpSpPr>
          <p:cxnSp>
            <p:nvCxnSpPr>
              <p:cNvPr id="199" name="Straight Connector 198"/>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4" name="Group 200"/>
            <p:cNvGrpSpPr/>
            <p:nvPr/>
          </p:nvGrpSpPr>
          <p:grpSpPr>
            <a:xfrm>
              <a:off x="6837530" y="3744042"/>
              <a:ext cx="54591" cy="54591"/>
              <a:chOff x="2447498" y="1988025"/>
              <a:chExt cx="54591" cy="54591"/>
            </a:xfrm>
          </p:grpSpPr>
          <p:cxnSp>
            <p:nvCxnSpPr>
              <p:cNvPr id="202" name="Straight Connector 201"/>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7" name="Group 203"/>
            <p:cNvGrpSpPr/>
            <p:nvPr/>
          </p:nvGrpSpPr>
          <p:grpSpPr>
            <a:xfrm>
              <a:off x="6810234" y="3744042"/>
              <a:ext cx="54591" cy="54591"/>
              <a:chOff x="2447498" y="1988025"/>
              <a:chExt cx="54591" cy="54591"/>
            </a:xfrm>
          </p:grpSpPr>
          <p:cxnSp>
            <p:nvCxnSpPr>
              <p:cNvPr id="205" name="Straight Connector 204"/>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0" name="Group 206"/>
            <p:cNvGrpSpPr/>
            <p:nvPr/>
          </p:nvGrpSpPr>
          <p:grpSpPr>
            <a:xfrm>
              <a:off x="6628264" y="3675803"/>
              <a:ext cx="54591" cy="54591"/>
              <a:chOff x="2447498" y="1988025"/>
              <a:chExt cx="54591" cy="54591"/>
            </a:xfrm>
          </p:grpSpPr>
          <p:cxnSp>
            <p:nvCxnSpPr>
              <p:cNvPr id="208" name="Straight Connector 207"/>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3" name="Group 209"/>
            <p:cNvGrpSpPr/>
            <p:nvPr/>
          </p:nvGrpSpPr>
          <p:grpSpPr>
            <a:xfrm>
              <a:off x="6428097" y="3675803"/>
              <a:ext cx="54591" cy="54591"/>
              <a:chOff x="2447498" y="1988025"/>
              <a:chExt cx="54591" cy="54591"/>
            </a:xfrm>
          </p:grpSpPr>
          <p:cxnSp>
            <p:nvCxnSpPr>
              <p:cNvPr id="211" name="Straight Connector 210"/>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6" name="Group 216"/>
            <p:cNvGrpSpPr/>
            <p:nvPr/>
          </p:nvGrpSpPr>
          <p:grpSpPr>
            <a:xfrm>
              <a:off x="6100551" y="3675803"/>
              <a:ext cx="54591" cy="54591"/>
              <a:chOff x="2447498" y="1988025"/>
              <a:chExt cx="54591" cy="54591"/>
            </a:xfrm>
          </p:grpSpPr>
          <p:cxnSp>
            <p:nvCxnSpPr>
              <p:cNvPr id="218" name="Straight Connector 217"/>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9" name="Group 223"/>
            <p:cNvGrpSpPr/>
            <p:nvPr/>
          </p:nvGrpSpPr>
          <p:grpSpPr>
            <a:xfrm>
              <a:off x="6068706" y="3634860"/>
              <a:ext cx="54591" cy="54591"/>
              <a:chOff x="2447498" y="1988025"/>
              <a:chExt cx="54591" cy="54591"/>
            </a:xfrm>
          </p:grpSpPr>
          <p:cxnSp>
            <p:nvCxnSpPr>
              <p:cNvPr id="225" name="Straight Connector 224"/>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62" name="Group 226"/>
            <p:cNvGrpSpPr/>
            <p:nvPr/>
          </p:nvGrpSpPr>
          <p:grpSpPr>
            <a:xfrm>
              <a:off x="5918581" y="3566621"/>
              <a:ext cx="54591" cy="54591"/>
              <a:chOff x="2447498" y="1988025"/>
              <a:chExt cx="54591" cy="54591"/>
            </a:xfrm>
          </p:grpSpPr>
          <p:cxnSp>
            <p:nvCxnSpPr>
              <p:cNvPr id="228" name="Straight Connector 227"/>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65" name="Group 229"/>
            <p:cNvGrpSpPr/>
            <p:nvPr/>
          </p:nvGrpSpPr>
          <p:grpSpPr>
            <a:xfrm>
              <a:off x="5682020" y="3566621"/>
              <a:ext cx="54591" cy="54591"/>
              <a:chOff x="2447498" y="1988025"/>
              <a:chExt cx="54591" cy="54591"/>
            </a:xfrm>
          </p:grpSpPr>
          <p:cxnSp>
            <p:nvCxnSpPr>
              <p:cNvPr id="231" name="Straight Connector 230"/>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66" name="Group 232"/>
            <p:cNvGrpSpPr/>
            <p:nvPr/>
          </p:nvGrpSpPr>
          <p:grpSpPr>
            <a:xfrm>
              <a:off x="5668371" y="3512030"/>
              <a:ext cx="54591" cy="54591"/>
              <a:chOff x="2447498" y="1988025"/>
              <a:chExt cx="54591" cy="54591"/>
            </a:xfrm>
          </p:grpSpPr>
          <p:cxnSp>
            <p:nvCxnSpPr>
              <p:cNvPr id="234" name="Straight Connector 233"/>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67" name="Group 235"/>
            <p:cNvGrpSpPr/>
            <p:nvPr/>
          </p:nvGrpSpPr>
          <p:grpSpPr>
            <a:xfrm>
              <a:off x="5627427" y="3512030"/>
              <a:ext cx="54591" cy="54591"/>
              <a:chOff x="2447498" y="1988025"/>
              <a:chExt cx="54591" cy="54591"/>
            </a:xfrm>
          </p:grpSpPr>
          <p:cxnSp>
            <p:nvCxnSpPr>
              <p:cNvPr id="237" name="Straight Connector 236"/>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68" name="Group 238"/>
            <p:cNvGrpSpPr/>
            <p:nvPr/>
          </p:nvGrpSpPr>
          <p:grpSpPr>
            <a:xfrm>
              <a:off x="5559188" y="3512030"/>
              <a:ext cx="54591" cy="54591"/>
              <a:chOff x="2447498" y="1988025"/>
              <a:chExt cx="54591" cy="54591"/>
            </a:xfrm>
          </p:grpSpPr>
          <p:cxnSp>
            <p:nvCxnSpPr>
              <p:cNvPr id="240" name="Straight Connector 239"/>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1" name="Straight Connector 240"/>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69" name="Group 241"/>
            <p:cNvGrpSpPr/>
            <p:nvPr/>
          </p:nvGrpSpPr>
          <p:grpSpPr>
            <a:xfrm>
              <a:off x="5286234" y="3466537"/>
              <a:ext cx="54591" cy="54591"/>
              <a:chOff x="2447498" y="1988025"/>
              <a:chExt cx="54591" cy="54591"/>
            </a:xfrm>
          </p:grpSpPr>
          <p:cxnSp>
            <p:nvCxnSpPr>
              <p:cNvPr id="243" name="Straight Connector 242"/>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4" name="Straight Connector 243"/>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70" name="Group 56"/>
          <p:cNvGrpSpPr/>
          <p:nvPr/>
        </p:nvGrpSpPr>
        <p:grpSpPr>
          <a:xfrm>
            <a:off x="2097206" y="1385629"/>
            <a:ext cx="54591" cy="81077"/>
            <a:chOff x="2447498" y="1988025"/>
            <a:chExt cx="54591" cy="54591"/>
          </a:xfrm>
        </p:grpSpPr>
        <p:cxnSp>
          <p:nvCxnSpPr>
            <p:cNvPr id="58" name="Straight Connector 57"/>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1" name="Group 188"/>
          <p:cNvGrpSpPr/>
          <p:nvPr/>
        </p:nvGrpSpPr>
        <p:grpSpPr>
          <a:xfrm>
            <a:off x="6814784" y="4979562"/>
            <a:ext cx="54591" cy="81077"/>
            <a:chOff x="2447498" y="1988025"/>
            <a:chExt cx="54591" cy="54591"/>
          </a:xfrm>
        </p:grpSpPr>
        <p:cxnSp>
          <p:nvCxnSpPr>
            <p:cNvPr id="190" name="Straight Connector 189"/>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4" name="Group 191"/>
          <p:cNvGrpSpPr/>
          <p:nvPr/>
        </p:nvGrpSpPr>
        <p:grpSpPr>
          <a:xfrm>
            <a:off x="6837530" y="4965914"/>
            <a:ext cx="54591" cy="81077"/>
            <a:chOff x="2447498" y="1988025"/>
            <a:chExt cx="54591" cy="54591"/>
          </a:xfrm>
        </p:grpSpPr>
        <p:cxnSp>
          <p:nvCxnSpPr>
            <p:cNvPr id="193" name="Straight Connector 192"/>
            <p:cNvCxnSpPr/>
            <p:nvPr/>
          </p:nvCxnSpPr>
          <p:spPr>
            <a:xfrm>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nvCxnSpPr>
          <p:spPr>
            <a:xfrm rot="5400000">
              <a:off x="2447498" y="2015321"/>
              <a:ext cx="54591"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5" name="TextBox 254"/>
          <p:cNvSpPr txBox="1"/>
          <p:nvPr/>
        </p:nvSpPr>
        <p:spPr>
          <a:xfrm>
            <a:off x="2432201" y="5484807"/>
            <a:ext cx="245660" cy="153888"/>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3</a:t>
            </a:r>
          </a:p>
        </p:txBody>
      </p:sp>
      <p:sp>
        <p:nvSpPr>
          <p:cNvPr id="256" name="TextBox 255"/>
          <p:cNvSpPr txBox="1"/>
          <p:nvPr/>
        </p:nvSpPr>
        <p:spPr>
          <a:xfrm>
            <a:off x="2845155" y="5484807"/>
            <a:ext cx="245660" cy="153888"/>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6</a:t>
            </a:r>
          </a:p>
        </p:txBody>
      </p:sp>
      <p:sp>
        <p:nvSpPr>
          <p:cNvPr id="257" name="TextBox 256"/>
          <p:cNvSpPr txBox="1"/>
          <p:nvPr/>
        </p:nvSpPr>
        <p:spPr>
          <a:xfrm>
            <a:off x="3265484" y="5484807"/>
            <a:ext cx="245660" cy="153888"/>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9</a:t>
            </a:r>
          </a:p>
        </p:txBody>
      </p:sp>
      <p:sp>
        <p:nvSpPr>
          <p:cNvPr id="258" name="TextBox 257"/>
          <p:cNvSpPr txBox="1"/>
          <p:nvPr/>
        </p:nvSpPr>
        <p:spPr>
          <a:xfrm>
            <a:off x="3671065" y="5484807"/>
            <a:ext cx="245660" cy="153888"/>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12</a:t>
            </a:r>
          </a:p>
        </p:txBody>
      </p:sp>
      <p:sp>
        <p:nvSpPr>
          <p:cNvPr id="259" name="TextBox 258"/>
          <p:cNvSpPr txBox="1"/>
          <p:nvPr/>
        </p:nvSpPr>
        <p:spPr>
          <a:xfrm>
            <a:off x="4084020" y="5484807"/>
            <a:ext cx="245660" cy="153888"/>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15</a:t>
            </a:r>
          </a:p>
        </p:txBody>
      </p:sp>
      <p:sp>
        <p:nvSpPr>
          <p:cNvPr id="260" name="TextBox 259"/>
          <p:cNvSpPr txBox="1"/>
          <p:nvPr/>
        </p:nvSpPr>
        <p:spPr>
          <a:xfrm>
            <a:off x="4511723" y="5484807"/>
            <a:ext cx="245660" cy="153888"/>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18</a:t>
            </a:r>
          </a:p>
        </p:txBody>
      </p:sp>
      <p:sp>
        <p:nvSpPr>
          <p:cNvPr id="261" name="TextBox 260"/>
          <p:cNvSpPr txBox="1"/>
          <p:nvPr/>
        </p:nvSpPr>
        <p:spPr>
          <a:xfrm>
            <a:off x="4932052" y="5484807"/>
            <a:ext cx="245660" cy="153888"/>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21</a:t>
            </a:r>
          </a:p>
        </p:txBody>
      </p:sp>
      <p:sp>
        <p:nvSpPr>
          <p:cNvPr id="262" name="TextBox 261"/>
          <p:cNvSpPr txBox="1"/>
          <p:nvPr/>
        </p:nvSpPr>
        <p:spPr>
          <a:xfrm>
            <a:off x="5359755" y="5484807"/>
            <a:ext cx="245660" cy="153888"/>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24</a:t>
            </a:r>
          </a:p>
        </p:txBody>
      </p:sp>
      <p:sp>
        <p:nvSpPr>
          <p:cNvPr id="263" name="TextBox 262"/>
          <p:cNvSpPr txBox="1"/>
          <p:nvPr/>
        </p:nvSpPr>
        <p:spPr>
          <a:xfrm>
            <a:off x="5757962" y="5484807"/>
            <a:ext cx="245660" cy="153888"/>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27</a:t>
            </a:r>
          </a:p>
        </p:txBody>
      </p:sp>
      <p:sp>
        <p:nvSpPr>
          <p:cNvPr id="264" name="TextBox 263"/>
          <p:cNvSpPr txBox="1"/>
          <p:nvPr/>
        </p:nvSpPr>
        <p:spPr>
          <a:xfrm>
            <a:off x="6178291" y="5484807"/>
            <a:ext cx="245660" cy="153888"/>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30</a:t>
            </a:r>
          </a:p>
        </p:txBody>
      </p:sp>
      <p:sp>
        <p:nvSpPr>
          <p:cNvPr id="265" name="TextBox 264"/>
          <p:cNvSpPr txBox="1"/>
          <p:nvPr/>
        </p:nvSpPr>
        <p:spPr>
          <a:xfrm>
            <a:off x="6605994" y="5484807"/>
            <a:ext cx="245660" cy="153888"/>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33</a:t>
            </a:r>
          </a:p>
        </p:txBody>
      </p:sp>
      <p:sp>
        <p:nvSpPr>
          <p:cNvPr id="266" name="TextBox 265"/>
          <p:cNvSpPr txBox="1"/>
          <p:nvPr/>
        </p:nvSpPr>
        <p:spPr>
          <a:xfrm>
            <a:off x="7026323" y="5484807"/>
            <a:ext cx="245660" cy="153888"/>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36</a:t>
            </a:r>
          </a:p>
        </p:txBody>
      </p:sp>
      <p:sp>
        <p:nvSpPr>
          <p:cNvPr id="267" name="TextBox 266"/>
          <p:cNvSpPr txBox="1"/>
          <p:nvPr/>
        </p:nvSpPr>
        <p:spPr>
          <a:xfrm>
            <a:off x="7439278" y="5484807"/>
            <a:ext cx="245660" cy="153888"/>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39</a:t>
            </a:r>
          </a:p>
        </p:txBody>
      </p:sp>
      <p:sp>
        <p:nvSpPr>
          <p:cNvPr id="268" name="TextBox 267"/>
          <p:cNvSpPr txBox="1"/>
          <p:nvPr/>
        </p:nvSpPr>
        <p:spPr>
          <a:xfrm>
            <a:off x="7852232" y="5484807"/>
            <a:ext cx="245660" cy="153888"/>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42</a:t>
            </a:r>
          </a:p>
        </p:txBody>
      </p:sp>
      <p:grpSp>
        <p:nvGrpSpPr>
          <p:cNvPr id="177" name="Group 250"/>
          <p:cNvGrpSpPr/>
          <p:nvPr/>
        </p:nvGrpSpPr>
        <p:grpSpPr>
          <a:xfrm>
            <a:off x="7463250" y="2967335"/>
            <a:ext cx="938367" cy="461665"/>
            <a:chOff x="7463250" y="2544024"/>
            <a:chExt cx="938367" cy="461665"/>
          </a:xfrm>
        </p:grpSpPr>
        <p:sp>
          <p:nvSpPr>
            <p:cNvPr id="254" name="TextBox 253"/>
            <p:cNvSpPr txBox="1"/>
            <p:nvPr/>
          </p:nvSpPr>
          <p:spPr>
            <a:xfrm>
              <a:off x="7632072" y="2544024"/>
              <a:ext cx="769545" cy="461665"/>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吉泰瑞</a:t>
              </a:r>
              <a:r>
                <a:rPr kumimoji="0" lang="en-US" altLang="zh-CN" sz="1000" b="0" i="0" u="none" strike="noStrike" kern="1200" cap="none" spc="0" normalizeH="0" baseline="30000" noProof="0" dirty="0">
                  <a:ln>
                    <a:noFill/>
                  </a:ln>
                  <a:solidFill>
                    <a:srgbClr val="A2A2A2"/>
                  </a:solidFill>
                  <a:effectLst/>
                  <a:uLnTx/>
                  <a:uFillTx/>
                  <a:latin typeface="微软雅黑" panose="020B0503020204020204" pitchFamily="34" charset="-122"/>
                  <a:ea typeface="微软雅黑" panose="020B0503020204020204" pitchFamily="34" charset="-122"/>
                  <a:cs typeface="+mn-cs"/>
                </a:rPr>
                <a:t>®</a:t>
              </a:r>
              <a:endParaRPr kumimoji="0" lang="en-US" sz="1000" b="0" i="0" u="none" strike="noStrike" kern="1200" cap="none" spc="0" normalizeH="0" baseline="0" noProof="0" dirty="0">
                <a:ln>
                  <a:noFill/>
                </a:ln>
                <a:solidFill>
                  <a:srgbClr val="A2A2A2"/>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0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吉非替尼</a:t>
              </a:r>
              <a:endParaRPr kumimoji="0" lang="en-US" sz="10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endParaRPr>
            </a:p>
          </p:txBody>
        </p:sp>
        <p:cxnSp>
          <p:nvCxnSpPr>
            <p:cNvPr id="271" name="Straight Connector 270"/>
            <p:cNvCxnSpPr/>
            <p:nvPr/>
          </p:nvCxnSpPr>
          <p:spPr>
            <a:xfrm>
              <a:off x="7463250" y="2690948"/>
              <a:ext cx="182880" cy="0"/>
            </a:xfrm>
            <a:prstGeom prst="line">
              <a:avLst/>
            </a:prstGeom>
            <a:ln w="285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2" name="Straight Connector 271"/>
            <p:cNvCxnSpPr/>
            <p:nvPr/>
          </p:nvCxnSpPr>
          <p:spPr>
            <a:xfrm>
              <a:off x="7463250" y="2873829"/>
              <a:ext cx="182880" cy="0"/>
            </a:xfrm>
            <a:prstGeom prst="line">
              <a:avLst/>
            </a:prstGeom>
            <a:ln w="28575" cap="rnd">
              <a:solidFill>
                <a:srgbClr val="BFBFBF"/>
              </a:solidFill>
            </a:ln>
          </p:spPr>
          <p:style>
            <a:lnRef idx="1">
              <a:schemeClr val="accent1"/>
            </a:lnRef>
            <a:fillRef idx="0">
              <a:schemeClr val="accent1"/>
            </a:fillRef>
            <a:effectRef idx="0">
              <a:schemeClr val="accent1"/>
            </a:effectRef>
            <a:fontRef idx="minor">
              <a:schemeClr val="tx1"/>
            </a:fontRef>
          </p:style>
        </p:cxnSp>
      </p:grpSp>
      <p:sp>
        <p:nvSpPr>
          <p:cNvPr id="250" name="TextBox 249"/>
          <p:cNvSpPr txBox="1"/>
          <p:nvPr/>
        </p:nvSpPr>
        <p:spPr>
          <a:xfrm>
            <a:off x="467544" y="6310481"/>
            <a:ext cx="835102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Park et al. </a:t>
            </a:r>
            <a:r>
              <a:rPr kumimoji="0" lang="en-US" altLang="zh-CN" sz="1100" b="0" i="1"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Lancet Oncology 2016</a:t>
            </a:r>
            <a:r>
              <a:rPr kumimoji="0" lang="zh-CN" altLang="en-US" sz="1100" b="0" i="1"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a:t>
            </a:r>
            <a:r>
              <a:rPr kumimoji="0" lang="en-US" altLang="zh-CN" sz="1100" b="0" i="1"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17</a:t>
            </a:r>
            <a:r>
              <a:rPr kumimoji="0" lang="zh-CN" altLang="en-US" sz="1100" b="0" i="1"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a:t>
            </a:r>
            <a:r>
              <a:rPr kumimoji="0" lang="en-US" altLang="zh-CN" sz="1100" b="0" i="1"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577-89</a:t>
            </a:r>
            <a:endParaRPr kumimoji="0" lang="es-ES" sz="11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endParaRPr>
          </a:p>
        </p:txBody>
      </p:sp>
      <p:cxnSp>
        <p:nvCxnSpPr>
          <p:cNvPr id="273" name="Straight Connector 333"/>
          <p:cNvCxnSpPr/>
          <p:nvPr/>
        </p:nvCxnSpPr>
        <p:spPr>
          <a:xfrm flipV="1">
            <a:off x="5467879" y="4716660"/>
            <a:ext cx="1200" cy="672754"/>
          </a:xfrm>
          <a:prstGeom prst="line">
            <a:avLst/>
          </a:prstGeom>
          <a:ln w="1905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grpSp>
        <p:nvGrpSpPr>
          <p:cNvPr id="246" name="组合 245"/>
          <p:cNvGrpSpPr>
            <a:grpSpLocks noChangeAspect="1"/>
          </p:cNvGrpSpPr>
          <p:nvPr/>
        </p:nvGrpSpPr>
        <p:grpSpPr>
          <a:xfrm>
            <a:off x="5490045" y="3819071"/>
            <a:ext cx="816087" cy="816087"/>
            <a:chOff x="4987210" y="4293184"/>
            <a:chExt cx="792000" cy="792000"/>
          </a:xfrm>
          <a:solidFill>
            <a:srgbClr val="0DBCC5"/>
          </a:solidFill>
        </p:grpSpPr>
        <p:sp>
          <p:nvSpPr>
            <p:cNvPr id="251" name="MH_Other_10"/>
            <p:cNvSpPr/>
            <p:nvPr>
              <p:custDataLst>
                <p:tags r:id="rId6"/>
              </p:custDataLst>
            </p:nvPr>
          </p:nvSpPr>
          <p:spPr>
            <a:xfrm flipH="1">
              <a:off x="4987210" y="4293184"/>
              <a:ext cx="792000" cy="792000"/>
            </a:xfrm>
            <a:prstGeom prst="wedgeEllipseCallout">
              <a:avLst>
                <a:gd name="adj1" fmla="val 51063"/>
                <a:gd name="adj2" fmla="val 48142"/>
              </a:avLst>
            </a:prstGeom>
            <a:grpFill/>
            <a:ln w="3175">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pitchFamily="34" charset="-122"/>
                <a:cs typeface="+mn-cs"/>
              </a:endParaRPr>
            </a:p>
          </p:txBody>
        </p:sp>
        <p:sp>
          <p:nvSpPr>
            <p:cNvPr id="274" name="MH_Other_11"/>
            <p:cNvSpPr/>
            <p:nvPr>
              <p:custDataLst>
                <p:tags r:id="rId7"/>
              </p:custDataLst>
            </p:nvPr>
          </p:nvSpPr>
          <p:spPr>
            <a:xfrm>
              <a:off x="5060110" y="4363610"/>
              <a:ext cx="651149" cy="651149"/>
            </a:xfrm>
            <a:prstGeom prst="ellipse">
              <a:avLst/>
            </a:prstGeom>
            <a:grpFill/>
            <a:ln>
              <a:noFill/>
            </a:ln>
            <a:effectLst>
              <a:innerShdw dist="76200" dir="13500000">
                <a:prstClr val="black">
                  <a:alpha val="12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pitchFamily="34" charset="-122"/>
                <a:cs typeface="+mn-cs"/>
              </a:endParaRPr>
            </a:p>
          </p:txBody>
        </p:sp>
        <p:sp>
          <p:nvSpPr>
            <p:cNvPr id="275" name="ZoneTexte 345"/>
            <p:cNvSpPr txBox="1"/>
            <p:nvPr/>
          </p:nvSpPr>
          <p:spPr>
            <a:xfrm>
              <a:off x="5092302" y="4546814"/>
              <a:ext cx="563206" cy="277841"/>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18%</a:t>
              </a:r>
              <a:r>
                <a:rPr kumimoji="0" lang="de-DE" altLang="zh-CN" sz="1400" b="1" i="0" u="none" strike="noStrike" kern="1200" cap="none" spc="0" normalizeH="0" baseline="3000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a:t>
              </a:r>
              <a:endParaRPr kumimoji="0" lang="en-GB" altLang="zh-CN" sz="1400" b="1" i="0" u="none" strike="noStrike" kern="1200" cap="none" spc="0" normalizeH="0" baseline="3000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grpSp>
      <p:grpSp>
        <p:nvGrpSpPr>
          <p:cNvPr id="280" name="组合 279"/>
          <p:cNvGrpSpPr>
            <a:grpSpLocks noChangeAspect="1"/>
          </p:cNvGrpSpPr>
          <p:nvPr/>
        </p:nvGrpSpPr>
        <p:grpSpPr>
          <a:xfrm rot="18419329">
            <a:off x="4839520" y="4942029"/>
            <a:ext cx="540000" cy="540000"/>
            <a:chOff x="3667746" y="4272033"/>
            <a:chExt cx="792000" cy="792000"/>
          </a:xfrm>
        </p:grpSpPr>
        <p:sp>
          <p:nvSpPr>
            <p:cNvPr id="281" name="MH_Other_10"/>
            <p:cNvSpPr/>
            <p:nvPr>
              <p:custDataLst>
                <p:tags r:id="rId4"/>
              </p:custDataLst>
            </p:nvPr>
          </p:nvSpPr>
          <p:spPr>
            <a:xfrm flipH="1">
              <a:off x="3667746" y="4272033"/>
              <a:ext cx="792000" cy="792000"/>
            </a:xfrm>
            <a:prstGeom prst="wedgeEllipseCallout">
              <a:avLst>
                <a:gd name="adj1" fmla="val -62634"/>
                <a:gd name="adj2" fmla="val 34422"/>
              </a:avLst>
            </a:prstGeom>
            <a:solidFill>
              <a:schemeClr val="tx2">
                <a:lumMod val="20000"/>
                <a:lumOff val="80000"/>
              </a:schemeClr>
            </a:solidFill>
            <a:ln w="3175">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pitchFamily="34" charset="-122"/>
                <a:cs typeface="+mn-cs"/>
              </a:endParaRPr>
            </a:p>
          </p:txBody>
        </p:sp>
        <p:sp>
          <p:nvSpPr>
            <p:cNvPr id="282" name="MH_Other_11"/>
            <p:cNvSpPr/>
            <p:nvPr>
              <p:custDataLst>
                <p:tags r:id="rId5"/>
              </p:custDataLst>
            </p:nvPr>
          </p:nvSpPr>
          <p:spPr>
            <a:xfrm>
              <a:off x="3723061" y="4342459"/>
              <a:ext cx="651149" cy="651149"/>
            </a:xfrm>
            <a:prstGeom prst="ellipse">
              <a:avLst/>
            </a:prstGeom>
            <a:solidFill>
              <a:schemeClr val="bg1">
                <a:lumMod val="75000"/>
              </a:schemeClr>
            </a:solidFill>
            <a:ln>
              <a:noFill/>
            </a:ln>
            <a:effectLst>
              <a:innerShdw dist="76200" dir="13500000">
                <a:prstClr val="black">
                  <a:alpha val="12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pitchFamily="34" charset="-122"/>
                <a:cs typeface="+mn-cs"/>
              </a:endParaRPr>
            </a:p>
          </p:txBody>
        </p:sp>
        <p:sp>
          <p:nvSpPr>
            <p:cNvPr id="283" name="ZoneTexte 345"/>
            <p:cNvSpPr txBox="1"/>
            <p:nvPr/>
          </p:nvSpPr>
          <p:spPr>
            <a:xfrm rot="3180671">
              <a:off x="3802774" y="4501076"/>
              <a:ext cx="503342" cy="327012"/>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zh-CN" sz="1100" b="1" i="0" u="none" strike="noStrike" kern="1200" cap="none" spc="0" normalizeH="0" baseline="0" noProof="0" dirty="0">
                  <a:ln>
                    <a:noFill/>
                  </a:ln>
                  <a:solidFill>
                    <a:srgbClr val="1CBECA">
                      <a:lumMod val="75000"/>
                    </a:srgbClr>
                  </a:solidFill>
                  <a:effectLst/>
                  <a:uLnTx/>
                  <a:uFillTx/>
                  <a:latin typeface="微软雅黑" panose="020B0503020204020204" pitchFamily="34" charset="-122"/>
                  <a:ea typeface="微软雅黑" panose="020B0503020204020204" pitchFamily="34" charset="-122"/>
                  <a:cs typeface="+mn-cs"/>
                </a:rPr>
                <a:t>8%</a:t>
              </a:r>
              <a:endParaRPr kumimoji="0" lang="en-GB" altLang="zh-CN" sz="1100" b="1" i="0" u="none" strike="noStrike" kern="1200" cap="none" spc="0" normalizeH="0" baseline="0" noProof="0" dirty="0">
                <a:ln>
                  <a:noFill/>
                </a:ln>
                <a:solidFill>
                  <a:srgbClr val="1CBECA">
                    <a:lumMod val="75000"/>
                  </a:srgbClr>
                </a:solidFill>
                <a:effectLst/>
                <a:uLnTx/>
                <a:uFillTx/>
                <a:latin typeface="微软雅黑" panose="020B0503020204020204" pitchFamily="34" charset="-122"/>
                <a:ea typeface="微软雅黑" panose="020B0503020204020204" pitchFamily="34" charset="-122"/>
                <a:cs typeface="+mn-cs"/>
              </a:endParaRPr>
            </a:p>
          </p:txBody>
        </p:sp>
      </p:grpSp>
      <p:sp>
        <p:nvSpPr>
          <p:cNvPr id="289" name="Round Same Side Corner Rectangle 246"/>
          <p:cNvSpPr/>
          <p:nvPr/>
        </p:nvSpPr>
        <p:spPr>
          <a:xfrm rot="10800000">
            <a:off x="5045118" y="1835505"/>
            <a:ext cx="3228192" cy="797794"/>
          </a:xfrm>
          <a:prstGeom prst="round2SameRect">
            <a:avLst>
              <a:gd name="adj1" fmla="val 4940"/>
              <a:gd name="adj2" fmla="val 0"/>
            </a:avLst>
          </a:prstGeom>
          <a:noFill/>
          <a:ln w="12700" cap="rnd" cmpd="sng" algn="ctr">
            <a:solidFill>
              <a:sysClr val="window" lastClr="FFFFFF">
                <a:lumMod val="65000"/>
              </a:sys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90" name="Round Same Side Corner Rectangle 247"/>
          <p:cNvSpPr/>
          <p:nvPr/>
        </p:nvSpPr>
        <p:spPr>
          <a:xfrm>
            <a:off x="5045120" y="1555289"/>
            <a:ext cx="3228195" cy="292026"/>
          </a:xfrm>
          <a:prstGeom prst="round2SameRect">
            <a:avLst>
              <a:gd name="adj1" fmla="val 24707"/>
              <a:gd name="adj2" fmla="val 0"/>
            </a:avLst>
          </a:prstGeom>
          <a:solidFill>
            <a:srgbClr val="1CBECA"/>
          </a:solidFill>
          <a:ln w="12700" cap="rnd"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graphicFrame>
        <p:nvGraphicFramePr>
          <p:cNvPr id="291" name="Table 248"/>
          <p:cNvGraphicFramePr>
            <a:graphicFrameLocks noGrp="1"/>
          </p:cNvGraphicFramePr>
          <p:nvPr>
            <p:extLst/>
          </p:nvPr>
        </p:nvGraphicFramePr>
        <p:xfrm>
          <a:off x="5045118" y="1524912"/>
          <a:ext cx="3228193" cy="1152937"/>
        </p:xfrm>
        <a:graphic>
          <a:graphicData uri="http://schemas.openxmlformats.org/drawingml/2006/table">
            <a:tbl>
              <a:tblPr firstRow="1" bandRow="1"/>
              <a:tblGrid>
                <a:gridCol w="1347617">
                  <a:extLst>
                    <a:ext uri="{9D8B030D-6E8A-4147-A177-3AD203B41FA5}">
                      <a16:colId xmlns:a16="http://schemas.microsoft.com/office/drawing/2014/main" val="20000"/>
                    </a:ext>
                  </a:extLst>
                </a:gridCol>
                <a:gridCol w="919848">
                  <a:extLst>
                    <a:ext uri="{9D8B030D-6E8A-4147-A177-3AD203B41FA5}">
                      <a16:colId xmlns:a16="http://schemas.microsoft.com/office/drawing/2014/main" val="20001"/>
                    </a:ext>
                  </a:extLst>
                </a:gridCol>
                <a:gridCol w="960728">
                  <a:extLst>
                    <a:ext uri="{9D8B030D-6E8A-4147-A177-3AD203B41FA5}">
                      <a16:colId xmlns:a16="http://schemas.microsoft.com/office/drawing/2014/main" val="20002"/>
                    </a:ext>
                  </a:extLst>
                </a:gridCol>
              </a:tblGrid>
              <a:tr h="314125">
                <a:tc>
                  <a:txBody>
                    <a:bodyPr/>
                    <a:lstStyle>
                      <a:lvl1pPr marL="0" algn="l" defTabSz="1218652" rtl="0" eaLnBrk="1" latinLnBrk="0" hangingPunct="1">
                        <a:defRPr sz="2400" b="1" kern="1200">
                          <a:solidFill>
                            <a:schemeClr val="lt1"/>
                          </a:solidFill>
                          <a:latin typeface="Arial"/>
                        </a:defRPr>
                      </a:lvl1pPr>
                      <a:lvl2pPr marL="609326" algn="l" defTabSz="1218652" rtl="0" eaLnBrk="1" latinLnBrk="0" hangingPunct="1">
                        <a:defRPr sz="2400" b="1" kern="1200">
                          <a:solidFill>
                            <a:schemeClr val="lt1"/>
                          </a:solidFill>
                          <a:latin typeface="Arial"/>
                        </a:defRPr>
                      </a:lvl2pPr>
                      <a:lvl3pPr marL="1218652" algn="l" defTabSz="1218652" rtl="0" eaLnBrk="1" latinLnBrk="0" hangingPunct="1">
                        <a:defRPr sz="2400" b="1" kern="1200">
                          <a:solidFill>
                            <a:schemeClr val="lt1"/>
                          </a:solidFill>
                          <a:latin typeface="Arial"/>
                        </a:defRPr>
                      </a:lvl3pPr>
                      <a:lvl4pPr marL="1827977" algn="l" defTabSz="1218652" rtl="0" eaLnBrk="1" latinLnBrk="0" hangingPunct="1">
                        <a:defRPr sz="2400" b="1" kern="1200">
                          <a:solidFill>
                            <a:schemeClr val="lt1"/>
                          </a:solidFill>
                          <a:latin typeface="Arial"/>
                        </a:defRPr>
                      </a:lvl4pPr>
                      <a:lvl5pPr marL="2437303" algn="l" defTabSz="1218652" rtl="0" eaLnBrk="1" latinLnBrk="0" hangingPunct="1">
                        <a:defRPr sz="2400" b="1" kern="1200">
                          <a:solidFill>
                            <a:schemeClr val="lt1"/>
                          </a:solidFill>
                          <a:latin typeface="Arial"/>
                        </a:defRPr>
                      </a:lvl5pPr>
                      <a:lvl6pPr marL="3046629" algn="l" defTabSz="1218652" rtl="0" eaLnBrk="1" latinLnBrk="0" hangingPunct="1">
                        <a:defRPr sz="2400" b="1" kern="1200">
                          <a:solidFill>
                            <a:schemeClr val="lt1"/>
                          </a:solidFill>
                          <a:latin typeface="Arial"/>
                        </a:defRPr>
                      </a:lvl6pPr>
                      <a:lvl7pPr marL="3655955" algn="l" defTabSz="1218652" rtl="0" eaLnBrk="1" latinLnBrk="0" hangingPunct="1">
                        <a:defRPr sz="2400" b="1" kern="1200">
                          <a:solidFill>
                            <a:schemeClr val="lt1"/>
                          </a:solidFill>
                          <a:latin typeface="Arial"/>
                        </a:defRPr>
                      </a:lvl7pPr>
                      <a:lvl8pPr marL="4265280" algn="l" defTabSz="1218652" rtl="0" eaLnBrk="1" latinLnBrk="0" hangingPunct="1">
                        <a:defRPr sz="2400" b="1" kern="1200">
                          <a:solidFill>
                            <a:schemeClr val="lt1"/>
                          </a:solidFill>
                          <a:latin typeface="Arial"/>
                        </a:defRPr>
                      </a:lvl8pPr>
                      <a:lvl9pPr marL="4874605" algn="l" defTabSz="1218652" rtl="0" eaLnBrk="1" latinLnBrk="0" hangingPunct="1">
                        <a:defRPr sz="2400" b="1" kern="1200">
                          <a:solidFill>
                            <a:schemeClr val="lt1"/>
                          </a:solidFill>
                          <a:latin typeface="Arial"/>
                        </a:defRPr>
                      </a:lvl9pPr>
                    </a:lstStyle>
                    <a:p>
                      <a:endParaRPr lang="de-DE" sz="1400" b="0" dirty="0">
                        <a:latin typeface="微软雅黑" panose="020B0503020204020204" pitchFamily="34" charset="-122"/>
                        <a:ea typeface="微软雅黑" panose="020B0503020204020204" pitchFamily="34" charset="-122"/>
                      </a:endParaRPr>
                    </a:p>
                  </a:txBody>
                  <a:tcPr anchor="ctr">
                    <a:lnL w="12700" cmpd="sng">
                      <a:noFill/>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lvl1pPr marL="0" algn="l" defTabSz="1218652" rtl="0" eaLnBrk="1" latinLnBrk="0" hangingPunct="1">
                        <a:defRPr sz="2400" b="1" kern="1200">
                          <a:solidFill>
                            <a:schemeClr val="lt1"/>
                          </a:solidFill>
                          <a:latin typeface="Arial"/>
                        </a:defRPr>
                      </a:lvl1pPr>
                      <a:lvl2pPr marL="609326" algn="l" defTabSz="1218652" rtl="0" eaLnBrk="1" latinLnBrk="0" hangingPunct="1">
                        <a:defRPr sz="2400" b="1" kern="1200">
                          <a:solidFill>
                            <a:schemeClr val="lt1"/>
                          </a:solidFill>
                          <a:latin typeface="Arial"/>
                        </a:defRPr>
                      </a:lvl2pPr>
                      <a:lvl3pPr marL="1218652" algn="l" defTabSz="1218652" rtl="0" eaLnBrk="1" latinLnBrk="0" hangingPunct="1">
                        <a:defRPr sz="2400" b="1" kern="1200">
                          <a:solidFill>
                            <a:schemeClr val="lt1"/>
                          </a:solidFill>
                          <a:latin typeface="Arial"/>
                        </a:defRPr>
                      </a:lvl3pPr>
                      <a:lvl4pPr marL="1827977" algn="l" defTabSz="1218652" rtl="0" eaLnBrk="1" latinLnBrk="0" hangingPunct="1">
                        <a:defRPr sz="2400" b="1" kern="1200">
                          <a:solidFill>
                            <a:schemeClr val="lt1"/>
                          </a:solidFill>
                          <a:latin typeface="Arial"/>
                        </a:defRPr>
                      </a:lvl4pPr>
                      <a:lvl5pPr marL="2437303" algn="l" defTabSz="1218652" rtl="0" eaLnBrk="1" latinLnBrk="0" hangingPunct="1">
                        <a:defRPr sz="2400" b="1" kern="1200">
                          <a:solidFill>
                            <a:schemeClr val="lt1"/>
                          </a:solidFill>
                          <a:latin typeface="Arial"/>
                        </a:defRPr>
                      </a:lvl5pPr>
                      <a:lvl6pPr marL="3046629" algn="l" defTabSz="1218652" rtl="0" eaLnBrk="1" latinLnBrk="0" hangingPunct="1">
                        <a:defRPr sz="2400" b="1" kern="1200">
                          <a:solidFill>
                            <a:schemeClr val="lt1"/>
                          </a:solidFill>
                          <a:latin typeface="Arial"/>
                        </a:defRPr>
                      </a:lvl6pPr>
                      <a:lvl7pPr marL="3655955" algn="l" defTabSz="1218652" rtl="0" eaLnBrk="1" latinLnBrk="0" hangingPunct="1">
                        <a:defRPr sz="2400" b="1" kern="1200">
                          <a:solidFill>
                            <a:schemeClr val="lt1"/>
                          </a:solidFill>
                          <a:latin typeface="Arial"/>
                        </a:defRPr>
                      </a:lvl7pPr>
                      <a:lvl8pPr marL="4265280" algn="l" defTabSz="1218652" rtl="0" eaLnBrk="1" latinLnBrk="0" hangingPunct="1">
                        <a:defRPr sz="2400" b="1" kern="1200">
                          <a:solidFill>
                            <a:schemeClr val="lt1"/>
                          </a:solidFill>
                          <a:latin typeface="Arial"/>
                        </a:defRPr>
                      </a:lvl8pPr>
                      <a:lvl9pPr marL="4874605" algn="l" defTabSz="1218652" rtl="0" eaLnBrk="1" latinLnBrk="0" hangingPunct="1">
                        <a:defRPr sz="2400" b="1" kern="1200">
                          <a:solidFill>
                            <a:schemeClr val="lt1"/>
                          </a:solidFill>
                          <a:latin typeface="Arial"/>
                        </a:defRPr>
                      </a:lvl9pPr>
                    </a:lstStyle>
                    <a:p>
                      <a:pPr algn="ctr"/>
                      <a:r>
                        <a:rPr lang="zh-CN" altLang="en-US" sz="1400" b="1" dirty="0">
                          <a:latin typeface="微软雅黑" panose="020B0503020204020204" pitchFamily="34" charset="-122"/>
                          <a:ea typeface="微软雅黑" panose="020B0503020204020204" pitchFamily="34" charset="-122"/>
                        </a:rPr>
                        <a:t>吉泰瑞</a:t>
                      </a:r>
                      <a:r>
                        <a:rPr lang="en-US" altLang="zh-CN" sz="1400" baseline="30000" dirty="0">
                          <a:solidFill>
                            <a:schemeClr val="bg1"/>
                          </a:solidFill>
                          <a:latin typeface="微软雅黑" panose="020B0503020204020204" pitchFamily="34" charset="-122"/>
                          <a:ea typeface="微软雅黑" panose="020B0503020204020204" pitchFamily="34" charset="-122"/>
                        </a:rPr>
                        <a:t>®</a:t>
                      </a:r>
                      <a:endParaRPr lang="de-DE" sz="1400" b="1" dirty="0">
                        <a:latin typeface="微软雅黑" panose="020B0503020204020204" pitchFamily="34" charset="-122"/>
                        <a:ea typeface="微软雅黑" panose="020B0503020204020204" pitchFamily="34" charset="-122"/>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lvl1pPr marL="0" algn="l" defTabSz="1218652" rtl="0" eaLnBrk="1" latinLnBrk="0" hangingPunct="1">
                        <a:defRPr sz="2400" b="1" kern="1200">
                          <a:solidFill>
                            <a:schemeClr val="lt1"/>
                          </a:solidFill>
                          <a:latin typeface="Arial"/>
                        </a:defRPr>
                      </a:lvl1pPr>
                      <a:lvl2pPr marL="609326" algn="l" defTabSz="1218652" rtl="0" eaLnBrk="1" latinLnBrk="0" hangingPunct="1">
                        <a:defRPr sz="2400" b="1" kern="1200">
                          <a:solidFill>
                            <a:schemeClr val="lt1"/>
                          </a:solidFill>
                          <a:latin typeface="Arial"/>
                        </a:defRPr>
                      </a:lvl2pPr>
                      <a:lvl3pPr marL="1218652" algn="l" defTabSz="1218652" rtl="0" eaLnBrk="1" latinLnBrk="0" hangingPunct="1">
                        <a:defRPr sz="2400" b="1" kern="1200">
                          <a:solidFill>
                            <a:schemeClr val="lt1"/>
                          </a:solidFill>
                          <a:latin typeface="Arial"/>
                        </a:defRPr>
                      </a:lvl3pPr>
                      <a:lvl4pPr marL="1827977" algn="l" defTabSz="1218652" rtl="0" eaLnBrk="1" latinLnBrk="0" hangingPunct="1">
                        <a:defRPr sz="2400" b="1" kern="1200">
                          <a:solidFill>
                            <a:schemeClr val="lt1"/>
                          </a:solidFill>
                          <a:latin typeface="Arial"/>
                        </a:defRPr>
                      </a:lvl4pPr>
                      <a:lvl5pPr marL="2437303" algn="l" defTabSz="1218652" rtl="0" eaLnBrk="1" latinLnBrk="0" hangingPunct="1">
                        <a:defRPr sz="2400" b="1" kern="1200">
                          <a:solidFill>
                            <a:schemeClr val="lt1"/>
                          </a:solidFill>
                          <a:latin typeface="Arial"/>
                        </a:defRPr>
                      </a:lvl5pPr>
                      <a:lvl6pPr marL="3046629" algn="l" defTabSz="1218652" rtl="0" eaLnBrk="1" latinLnBrk="0" hangingPunct="1">
                        <a:defRPr sz="2400" b="1" kern="1200">
                          <a:solidFill>
                            <a:schemeClr val="lt1"/>
                          </a:solidFill>
                          <a:latin typeface="Arial"/>
                        </a:defRPr>
                      </a:lvl6pPr>
                      <a:lvl7pPr marL="3655955" algn="l" defTabSz="1218652" rtl="0" eaLnBrk="1" latinLnBrk="0" hangingPunct="1">
                        <a:defRPr sz="2400" b="1" kern="1200">
                          <a:solidFill>
                            <a:schemeClr val="lt1"/>
                          </a:solidFill>
                          <a:latin typeface="Arial"/>
                        </a:defRPr>
                      </a:lvl7pPr>
                      <a:lvl8pPr marL="4265280" algn="l" defTabSz="1218652" rtl="0" eaLnBrk="1" latinLnBrk="0" hangingPunct="1">
                        <a:defRPr sz="2400" b="1" kern="1200">
                          <a:solidFill>
                            <a:schemeClr val="lt1"/>
                          </a:solidFill>
                          <a:latin typeface="Arial"/>
                        </a:defRPr>
                      </a:lvl8pPr>
                      <a:lvl9pPr marL="4874605" algn="l" defTabSz="1218652" rtl="0" eaLnBrk="1" latinLnBrk="0" hangingPunct="1">
                        <a:defRPr sz="2400" b="1" kern="1200">
                          <a:solidFill>
                            <a:schemeClr val="lt1"/>
                          </a:solidFill>
                          <a:latin typeface="Arial"/>
                        </a:defRPr>
                      </a:lvl9pPr>
                    </a:lstStyle>
                    <a:p>
                      <a:pPr marL="0" algn="ctr" defTabSz="457200" rtl="0" eaLnBrk="1" latinLnBrk="0" hangingPunct="1"/>
                      <a:r>
                        <a:rPr lang="zh-CN" altLang="en-US" sz="1400" b="1" kern="1200" dirty="0">
                          <a:solidFill>
                            <a:schemeClr val="lt1"/>
                          </a:solidFill>
                          <a:latin typeface="微软雅黑" panose="020B0503020204020204" pitchFamily="34" charset="-122"/>
                          <a:ea typeface="微软雅黑" panose="020B0503020204020204" pitchFamily="34" charset="-122"/>
                          <a:cs typeface="+mn-cs"/>
                        </a:rPr>
                        <a:t>吉非替尼</a:t>
                      </a:r>
                      <a:endParaRPr lang="de-DE" sz="1400" b="1" kern="1200" dirty="0">
                        <a:solidFill>
                          <a:schemeClr val="lt1"/>
                        </a:solidFill>
                        <a:latin typeface="微软雅黑" panose="020B0503020204020204" pitchFamily="34" charset="-122"/>
                        <a:ea typeface="微软雅黑" panose="020B0503020204020204" pitchFamily="34" charset="-122"/>
                        <a:cs typeface="+mn-cs"/>
                      </a:endParaRPr>
                    </a:p>
                  </a:txBody>
                  <a:tcPr anchor="ctr">
                    <a:lnL w="12700" cap="flat" cmpd="sng" algn="ctr">
                      <a:solidFill>
                        <a:sysClr val="window" lastClr="FFFFFF"/>
                      </a:solidFill>
                      <a:prstDash val="solid"/>
                      <a:round/>
                      <a:headEnd type="none" w="med" len="med"/>
                      <a:tailEnd type="none" w="med" len="med"/>
                    </a:lnL>
                    <a:lnR w="12700" cmpd="sng">
                      <a:noFill/>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7006">
                <a:tc>
                  <a:txBody>
                    <a:bodyPr/>
                    <a:lstStyle>
                      <a:lvl1pPr marL="0" algn="l" defTabSz="1218652" rtl="0" eaLnBrk="1" latinLnBrk="0" hangingPunct="1">
                        <a:defRPr sz="2400" kern="1200">
                          <a:solidFill>
                            <a:schemeClr val="dk1"/>
                          </a:solidFill>
                          <a:latin typeface="Arial"/>
                        </a:defRPr>
                      </a:lvl1pPr>
                      <a:lvl2pPr marL="609326" algn="l" defTabSz="1218652" rtl="0" eaLnBrk="1" latinLnBrk="0" hangingPunct="1">
                        <a:defRPr sz="2400" kern="1200">
                          <a:solidFill>
                            <a:schemeClr val="dk1"/>
                          </a:solidFill>
                          <a:latin typeface="Arial"/>
                        </a:defRPr>
                      </a:lvl2pPr>
                      <a:lvl3pPr marL="1218652" algn="l" defTabSz="1218652" rtl="0" eaLnBrk="1" latinLnBrk="0" hangingPunct="1">
                        <a:defRPr sz="2400" kern="1200">
                          <a:solidFill>
                            <a:schemeClr val="dk1"/>
                          </a:solidFill>
                          <a:latin typeface="Arial"/>
                        </a:defRPr>
                      </a:lvl3pPr>
                      <a:lvl4pPr marL="1827977" algn="l" defTabSz="1218652" rtl="0" eaLnBrk="1" latinLnBrk="0" hangingPunct="1">
                        <a:defRPr sz="2400" kern="1200">
                          <a:solidFill>
                            <a:schemeClr val="dk1"/>
                          </a:solidFill>
                          <a:latin typeface="Arial"/>
                        </a:defRPr>
                      </a:lvl4pPr>
                      <a:lvl5pPr marL="2437303" algn="l" defTabSz="1218652" rtl="0" eaLnBrk="1" latinLnBrk="0" hangingPunct="1">
                        <a:defRPr sz="2400" kern="1200">
                          <a:solidFill>
                            <a:schemeClr val="dk1"/>
                          </a:solidFill>
                          <a:latin typeface="Arial"/>
                        </a:defRPr>
                      </a:lvl5pPr>
                      <a:lvl6pPr marL="3046629" algn="l" defTabSz="1218652" rtl="0" eaLnBrk="1" latinLnBrk="0" hangingPunct="1">
                        <a:defRPr sz="2400" kern="1200">
                          <a:solidFill>
                            <a:schemeClr val="dk1"/>
                          </a:solidFill>
                          <a:latin typeface="Arial"/>
                        </a:defRPr>
                      </a:lvl6pPr>
                      <a:lvl7pPr marL="3655955" algn="l" defTabSz="1218652" rtl="0" eaLnBrk="1" latinLnBrk="0" hangingPunct="1">
                        <a:defRPr sz="2400" kern="1200">
                          <a:solidFill>
                            <a:schemeClr val="dk1"/>
                          </a:solidFill>
                          <a:latin typeface="Arial"/>
                        </a:defRPr>
                      </a:lvl7pPr>
                      <a:lvl8pPr marL="4265280" algn="l" defTabSz="1218652" rtl="0" eaLnBrk="1" latinLnBrk="0" hangingPunct="1">
                        <a:defRPr sz="2400" kern="1200">
                          <a:solidFill>
                            <a:schemeClr val="dk1"/>
                          </a:solidFill>
                          <a:latin typeface="Arial"/>
                        </a:defRPr>
                      </a:lvl8pPr>
                      <a:lvl9pPr marL="4874605" algn="l" defTabSz="1218652" rtl="0" eaLnBrk="1" latinLnBrk="0" hangingPunct="1">
                        <a:defRPr sz="2400" kern="1200">
                          <a:solidFill>
                            <a:schemeClr val="dk1"/>
                          </a:solidFill>
                          <a:latin typeface="Arial"/>
                        </a:defRPr>
                      </a:lvl9pPr>
                    </a:lstStyle>
                    <a:p>
                      <a:r>
                        <a:rPr lang="zh-CN" altLang="en-US" sz="1400" b="0" dirty="0">
                          <a:solidFill>
                            <a:schemeClr val="tx1">
                              <a:lumMod val="65000"/>
                              <a:lumOff val="35000"/>
                            </a:schemeClr>
                          </a:solidFill>
                          <a:latin typeface="微软雅黑" panose="020B0503020204020204" pitchFamily="34" charset="-122"/>
                          <a:ea typeface="微软雅黑" panose="020B0503020204020204" pitchFamily="34" charset="-122"/>
                        </a:rPr>
                        <a:t>中位数，月</a:t>
                      </a:r>
                      <a:endParaRPr lang="de-DE" sz="1400" b="0" dirty="0">
                        <a:solidFill>
                          <a:schemeClr val="tx1">
                            <a:lumMod val="65000"/>
                            <a:lumOff val="35000"/>
                          </a:schemeClr>
                        </a:solidFill>
                        <a:latin typeface="微软雅黑" panose="020B0503020204020204" pitchFamily="34" charset="-122"/>
                        <a:ea typeface="微软雅黑" panose="020B0503020204020204" pitchFamily="34" charset="-122"/>
                      </a:endParaRPr>
                    </a:p>
                  </a:txBody>
                  <a:tcPr anchor="ctr">
                    <a:lnL w="12700" cmpd="sng">
                      <a:noFill/>
                    </a:lnL>
                    <a:lnR w="12700" cap="flat" cmpd="sng" algn="ctr">
                      <a:solidFill>
                        <a:sysClr val="window" lastClr="FFFFFF">
                          <a:lumMod val="50000"/>
                        </a:sysClr>
                      </a:solidFill>
                      <a:prstDash val="solid"/>
                      <a:round/>
                      <a:headEnd type="none" w="med" len="med"/>
                      <a:tailEnd type="none" w="med" len="med"/>
                    </a:lnR>
                    <a:lnT w="38100" cmpd="sng">
                      <a:noFill/>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652" rtl="0" eaLnBrk="1" latinLnBrk="0" hangingPunct="1">
                        <a:defRPr sz="2400" kern="1200">
                          <a:solidFill>
                            <a:schemeClr val="dk1"/>
                          </a:solidFill>
                          <a:latin typeface="Arial"/>
                        </a:defRPr>
                      </a:lvl1pPr>
                      <a:lvl2pPr marL="609326" algn="l" defTabSz="1218652" rtl="0" eaLnBrk="1" latinLnBrk="0" hangingPunct="1">
                        <a:defRPr sz="2400" kern="1200">
                          <a:solidFill>
                            <a:schemeClr val="dk1"/>
                          </a:solidFill>
                          <a:latin typeface="Arial"/>
                        </a:defRPr>
                      </a:lvl2pPr>
                      <a:lvl3pPr marL="1218652" algn="l" defTabSz="1218652" rtl="0" eaLnBrk="1" latinLnBrk="0" hangingPunct="1">
                        <a:defRPr sz="2400" kern="1200">
                          <a:solidFill>
                            <a:schemeClr val="dk1"/>
                          </a:solidFill>
                          <a:latin typeface="Arial"/>
                        </a:defRPr>
                      </a:lvl3pPr>
                      <a:lvl4pPr marL="1827977" algn="l" defTabSz="1218652" rtl="0" eaLnBrk="1" latinLnBrk="0" hangingPunct="1">
                        <a:defRPr sz="2400" kern="1200">
                          <a:solidFill>
                            <a:schemeClr val="dk1"/>
                          </a:solidFill>
                          <a:latin typeface="Arial"/>
                        </a:defRPr>
                      </a:lvl4pPr>
                      <a:lvl5pPr marL="2437303" algn="l" defTabSz="1218652" rtl="0" eaLnBrk="1" latinLnBrk="0" hangingPunct="1">
                        <a:defRPr sz="2400" kern="1200">
                          <a:solidFill>
                            <a:schemeClr val="dk1"/>
                          </a:solidFill>
                          <a:latin typeface="Arial"/>
                        </a:defRPr>
                      </a:lvl5pPr>
                      <a:lvl6pPr marL="3046629" algn="l" defTabSz="1218652" rtl="0" eaLnBrk="1" latinLnBrk="0" hangingPunct="1">
                        <a:defRPr sz="2400" kern="1200">
                          <a:solidFill>
                            <a:schemeClr val="dk1"/>
                          </a:solidFill>
                          <a:latin typeface="Arial"/>
                        </a:defRPr>
                      </a:lvl6pPr>
                      <a:lvl7pPr marL="3655955" algn="l" defTabSz="1218652" rtl="0" eaLnBrk="1" latinLnBrk="0" hangingPunct="1">
                        <a:defRPr sz="2400" kern="1200">
                          <a:solidFill>
                            <a:schemeClr val="dk1"/>
                          </a:solidFill>
                          <a:latin typeface="Arial"/>
                        </a:defRPr>
                      </a:lvl7pPr>
                      <a:lvl8pPr marL="4265280" algn="l" defTabSz="1218652" rtl="0" eaLnBrk="1" latinLnBrk="0" hangingPunct="1">
                        <a:defRPr sz="2400" kern="1200">
                          <a:solidFill>
                            <a:schemeClr val="dk1"/>
                          </a:solidFill>
                          <a:latin typeface="Arial"/>
                        </a:defRPr>
                      </a:lvl8pPr>
                      <a:lvl9pPr marL="4874605" algn="l" defTabSz="1218652" rtl="0" eaLnBrk="1" latinLnBrk="0" hangingPunct="1">
                        <a:defRPr sz="2400" kern="1200">
                          <a:solidFill>
                            <a:schemeClr val="dk1"/>
                          </a:solidFill>
                          <a:latin typeface="Arial"/>
                        </a:defRPr>
                      </a:lvl9pPr>
                    </a:lstStyle>
                    <a:p>
                      <a:pPr algn="ctr"/>
                      <a:r>
                        <a:rPr lang="de-DE" sz="1400" b="0" dirty="0">
                          <a:solidFill>
                            <a:schemeClr val="tx1">
                              <a:lumMod val="65000"/>
                              <a:lumOff val="35000"/>
                            </a:schemeClr>
                          </a:solidFill>
                          <a:latin typeface="微软雅黑" panose="020B0503020204020204" pitchFamily="34" charset="-122"/>
                          <a:ea typeface="微软雅黑" panose="020B0503020204020204" pitchFamily="34" charset="-122"/>
                        </a:rPr>
                        <a:t>11.0</a:t>
                      </a:r>
                    </a:p>
                  </a:txBody>
                  <a:tcPr anchor="ctr">
                    <a:lnL w="12700" cap="flat" cmpd="sng" algn="ctr">
                      <a:solidFill>
                        <a:sysClr val="window" lastClr="FFFFFF">
                          <a:lumMod val="50000"/>
                        </a:sysClr>
                      </a:solidFill>
                      <a:prstDash val="solid"/>
                      <a:round/>
                      <a:headEnd type="none" w="med" len="med"/>
                      <a:tailEnd type="none" w="med" len="med"/>
                    </a:lnL>
                    <a:lnR w="12700" cap="flat" cmpd="sng" algn="ctr">
                      <a:solidFill>
                        <a:sysClr val="window" lastClr="FFFFFF">
                          <a:lumMod val="50000"/>
                        </a:sysClr>
                      </a:solidFill>
                      <a:prstDash val="solid"/>
                      <a:round/>
                      <a:headEnd type="none" w="med" len="med"/>
                      <a:tailEnd type="none" w="med" len="med"/>
                    </a:lnR>
                    <a:lnT w="38100" cmpd="sng">
                      <a:noFill/>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8652" rtl="0" eaLnBrk="1" latinLnBrk="0" hangingPunct="1">
                        <a:defRPr sz="2400" kern="1200">
                          <a:solidFill>
                            <a:schemeClr val="dk1"/>
                          </a:solidFill>
                          <a:latin typeface="Arial"/>
                        </a:defRPr>
                      </a:lvl1pPr>
                      <a:lvl2pPr marL="609326" algn="l" defTabSz="1218652" rtl="0" eaLnBrk="1" latinLnBrk="0" hangingPunct="1">
                        <a:defRPr sz="2400" kern="1200">
                          <a:solidFill>
                            <a:schemeClr val="dk1"/>
                          </a:solidFill>
                          <a:latin typeface="Arial"/>
                        </a:defRPr>
                      </a:lvl2pPr>
                      <a:lvl3pPr marL="1218652" algn="l" defTabSz="1218652" rtl="0" eaLnBrk="1" latinLnBrk="0" hangingPunct="1">
                        <a:defRPr sz="2400" kern="1200">
                          <a:solidFill>
                            <a:schemeClr val="dk1"/>
                          </a:solidFill>
                          <a:latin typeface="Arial"/>
                        </a:defRPr>
                      </a:lvl3pPr>
                      <a:lvl4pPr marL="1827977" algn="l" defTabSz="1218652" rtl="0" eaLnBrk="1" latinLnBrk="0" hangingPunct="1">
                        <a:defRPr sz="2400" kern="1200">
                          <a:solidFill>
                            <a:schemeClr val="dk1"/>
                          </a:solidFill>
                          <a:latin typeface="Arial"/>
                        </a:defRPr>
                      </a:lvl4pPr>
                      <a:lvl5pPr marL="2437303" algn="l" defTabSz="1218652" rtl="0" eaLnBrk="1" latinLnBrk="0" hangingPunct="1">
                        <a:defRPr sz="2400" kern="1200">
                          <a:solidFill>
                            <a:schemeClr val="dk1"/>
                          </a:solidFill>
                          <a:latin typeface="Arial"/>
                        </a:defRPr>
                      </a:lvl5pPr>
                      <a:lvl6pPr marL="3046629" algn="l" defTabSz="1218652" rtl="0" eaLnBrk="1" latinLnBrk="0" hangingPunct="1">
                        <a:defRPr sz="2400" kern="1200">
                          <a:solidFill>
                            <a:schemeClr val="dk1"/>
                          </a:solidFill>
                          <a:latin typeface="Arial"/>
                        </a:defRPr>
                      </a:lvl6pPr>
                      <a:lvl7pPr marL="3655955" algn="l" defTabSz="1218652" rtl="0" eaLnBrk="1" latinLnBrk="0" hangingPunct="1">
                        <a:defRPr sz="2400" kern="1200">
                          <a:solidFill>
                            <a:schemeClr val="dk1"/>
                          </a:solidFill>
                          <a:latin typeface="Arial"/>
                        </a:defRPr>
                      </a:lvl7pPr>
                      <a:lvl8pPr marL="4265280" algn="l" defTabSz="1218652" rtl="0" eaLnBrk="1" latinLnBrk="0" hangingPunct="1">
                        <a:defRPr sz="2400" kern="1200">
                          <a:solidFill>
                            <a:schemeClr val="dk1"/>
                          </a:solidFill>
                          <a:latin typeface="Arial"/>
                        </a:defRPr>
                      </a:lvl8pPr>
                      <a:lvl9pPr marL="4874605" algn="l" defTabSz="1218652" rtl="0" eaLnBrk="1" latinLnBrk="0" hangingPunct="1">
                        <a:defRPr sz="2400" kern="1200">
                          <a:solidFill>
                            <a:schemeClr val="dk1"/>
                          </a:solidFill>
                          <a:latin typeface="Arial"/>
                        </a:defRPr>
                      </a:lvl9pPr>
                    </a:lstStyle>
                    <a:p>
                      <a:pPr algn="ctr"/>
                      <a:r>
                        <a:rPr lang="de-DE" sz="1400" b="0" dirty="0">
                          <a:solidFill>
                            <a:schemeClr val="tx1">
                              <a:lumMod val="65000"/>
                              <a:lumOff val="35000"/>
                            </a:schemeClr>
                          </a:solidFill>
                          <a:latin typeface="微软雅黑" panose="020B0503020204020204" pitchFamily="34" charset="-122"/>
                          <a:ea typeface="微软雅黑" panose="020B0503020204020204" pitchFamily="34" charset="-122"/>
                        </a:rPr>
                        <a:t>10.9</a:t>
                      </a:r>
                    </a:p>
                  </a:txBody>
                  <a:tcPr anchor="ctr">
                    <a:lnL w="12700" cap="flat" cmpd="sng" algn="ctr">
                      <a:solidFill>
                        <a:sysClr val="window" lastClr="FFFFFF">
                          <a:lumMod val="50000"/>
                        </a:sysClr>
                      </a:solidFill>
                      <a:prstDash val="solid"/>
                      <a:round/>
                      <a:headEnd type="none" w="med" len="med"/>
                      <a:tailEnd type="none" w="med" len="med"/>
                    </a:lnL>
                    <a:lnR w="12700" cmpd="sng">
                      <a:noFill/>
                    </a:lnR>
                    <a:lnT w="38100" cmpd="sng">
                      <a:noFill/>
                    </a:lnT>
                    <a:lnB w="12700"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34012">
                <a:tc>
                  <a:txBody>
                    <a:bodyPr/>
                    <a:lstStyle>
                      <a:lvl1pPr marL="0" algn="l" defTabSz="1218652" rtl="0" eaLnBrk="1" latinLnBrk="0" hangingPunct="1">
                        <a:defRPr sz="2400" kern="1200">
                          <a:solidFill>
                            <a:schemeClr val="dk1"/>
                          </a:solidFill>
                          <a:latin typeface="Arial"/>
                        </a:defRPr>
                      </a:lvl1pPr>
                      <a:lvl2pPr marL="609326" algn="l" defTabSz="1218652" rtl="0" eaLnBrk="1" latinLnBrk="0" hangingPunct="1">
                        <a:defRPr sz="2400" kern="1200">
                          <a:solidFill>
                            <a:schemeClr val="dk1"/>
                          </a:solidFill>
                          <a:latin typeface="Arial"/>
                        </a:defRPr>
                      </a:lvl2pPr>
                      <a:lvl3pPr marL="1218652" algn="l" defTabSz="1218652" rtl="0" eaLnBrk="1" latinLnBrk="0" hangingPunct="1">
                        <a:defRPr sz="2400" kern="1200">
                          <a:solidFill>
                            <a:schemeClr val="dk1"/>
                          </a:solidFill>
                          <a:latin typeface="Arial"/>
                        </a:defRPr>
                      </a:lvl3pPr>
                      <a:lvl4pPr marL="1827977" algn="l" defTabSz="1218652" rtl="0" eaLnBrk="1" latinLnBrk="0" hangingPunct="1">
                        <a:defRPr sz="2400" kern="1200">
                          <a:solidFill>
                            <a:schemeClr val="dk1"/>
                          </a:solidFill>
                          <a:latin typeface="Arial"/>
                        </a:defRPr>
                      </a:lvl4pPr>
                      <a:lvl5pPr marL="2437303" algn="l" defTabSz="1218652" rtl="0" eaLnBrk="1" latinLnBrk="0" hangingPunct="1">
                        <a:defRPr sz="2400" kern="1200">
                          <a:solidFill>
                            <a:schemeClr val="dk1"/>
                          </a:solidFill>
                          <a:latin typeface="Arial"/>
                        </a:defRPr>
                      </a:lvl5pPr>
                      <a:lvl6pPr marL="3046629" algn="l" defTabSz="1218652" rtl="0" eaLnBrk="1" latinLnBrk="0" hangingPunct="1">
                        <a:defRPr sz="2400" kern="1200">
                          <a:solidFill>
                            <a:schemeClr val="dk1"/>
                          </a:solidFill>
                          <a:latin typeface="Arial"/>
                        </a:defRPr>
                      </a:lvl6pPr>
                      <a:lvl7pPr marL="3655955" algn="l" defTabSz="1218652" rtl="0" eaLnBrk="1" latinLnBrk="0" hangingPunct="1">
                        <a:defRPr sz="2400" kern="1200">
                          <a:solidFill>
                            <a:schemeClr val="dk1"/>
                          </a:solidFill>
                          <a:latin typeface="Arial"/>
                        </a:defRPr>
                      </a:lvl7pPr>
                      <a:lvl8pPr marL="4265280" algn="l" defTabSz="1218652" rtl="0" eaLnBrk="1" latinLnBrk="0" hangingPunct="1">
                        <a:defRPr sz="2400" kern="1200">
                          <a:solidFill>
                            <a:schemeClr val="dk1"/>
                          </a:solidFill>
                          <a:latin typeface="Arial"/>
                        </a:defRPr>
                      </a:lvl8pPr>
                      <a:lvl9pPr marL="4874605" algn="l" defTabSz="1218652" rtl="0" eaLnBrk="1" latinLnBrk="0" hangingPunct="1">
                        <a:defRPr sz="2400" kern="1200">
                          <a:solidFill>
                            <a:schemeClr val="dk1"/>
                          </a:solidFill>
                          <a:latin typeface="Arial"/>
                        </a:defRPr>
                      </a:lvl9pPr>
                    </a:lstStyle>
                    <a:p>
                      <a:r>
                        <a:rPr lang="de-DE" sz="1400" b="0" dirty="0">
                          <a:solidFill>
                            <a:schemeClr val="tx1">
                              <a:lumMod val="65000"/>
                              <a:lumOff val="35000"/>
                            </a:schemeClr>
                          </a:solidFill>
                          <a:latin typeface="微软雅黑" panose="020B0503020204020204" pitchFamily="34" charset="-122"/>
                          <a:ea typeface="微软雅黑" panose="020B0503020204020204" pitchFamily="34" charset="-122"/>
                        </a:rPr>
                        <a:t>HR (95%CI) </a:t>
                      </a:r>
                    </a:p>
                    <a:p>
                      <a:r>
                        <a:rPr lang="de-DE" sz="1400" b="1" i="1" dirty="0">
                          <a:solidFill>
                            <a:schemeClr val="tx1">
                              <a:lumMod val="65000"/>
                              <a:lumOff val="35000"/>
                            </a:schemeClr>
                          </a:solidFill>
                          <a:latin typeface="微软雅黑" panose="020B0503020204020204" pitchFamily="34" charset="-122"/>
                          <a:ea typeface="微软雅黑" panose="020B0503020204020204" pitchFamily="34" charset="-122"/>
                        </a:rPr>
                        <a:t>P</a:t>
                      </a:r>
                      <a:r>
                        <a:rPr lang="de-DE" sz="1400" b="0" dirty="0">
                          <a:solidFill>
                            <a:schemeClr val="tx1">
                              <a:lumMod val="65000"/>
                              <a:lumOff val="35000"/>
                            </a:schemeClr>
                          </a:solidFill>
                          <a:latin typeface="微软雅黑" panose="020B0503020204020204" pitchFamily="34" charset="-122"/>
                          <a:ea typeface="微软雅黑" panose="020B0503020204020204" pitchFamily="34" charset="-122"/>
                        </a:rPr>
                        <a:t> </a:t>
                      </a:r>
                      <a:r>
                        <a:rPr lang="zh-CN" altLang="en-US" sz="1400" b="0" dirty="0">
                          <a:solidFill>
                            <a:schemeClr val="tx1">
                              <a:lumMod val="65000"/>
                              <a:lumOff val="35000"/>
                            </a:schemeClr>
                          </a:solidFill>
                          <a:latin typeface="微软雅黑" panose="020B0503020204020204" pitchFamily="34" charset="-122"/>
                          <a:ea typeface="微软雅黑" panose="020B0503020204020204" pitchFamily="34" charset="-122"/>
                        </a:rPr>
                        <a:t>值</a:t>
                      </a:r>
                      <a:endParaRPr lang="de-DE" sz="1400" b="0" dirty="0">
                        <a:solidFill>
                          <a:schemeClr val="tx1">
                            <a:lumMod val="65000"/>
                            <a:lumOff val="35000"/>
                          </a:schemeClr>
                        </a:solidFill>
                        <a:latin typeface="微软雅黑" panose="020B0503020204020204" pitchFamily="34" charset="-122"/>
                        <a:ea typeface="微软雅黑" panose="020B0503020204020204" pitchFamily="34" charset="-122"/>
                      </a:endParaRPr>
                    </a:p>
                  </a:txBody>
                  <a:tcPr anchor="ctr">
                    <a:lnL w="12700" cmpd="sng">
                      <a:noFill/>
                    </a:lnL>
                    <a:lnR w="12700" cap="flat" cmpd="sng" algn="ctr">
                      <a:solidFill>
                        <a:sysClr val="window" lastClr="FFFFFF">
                          <a:lumMod val="50000"/>
                        </a:sysClr>
                      </a:solidFill>
                      <a:prstDash val="solid"/>
                      <a:round/>
                      <a:headEnd type="none" w="med" len="med"/>
                      <a:tailEnd type="none" w="med" len="med"/>
                    </a:lnR>
                    <a:lnT w="12700" cap="flat" cmpd="sng" algn="ctr">
                      <a:solidFill>
                        <a:sysClr val="window" lastClr="FFFFFF">
                          <a:lumMod val="50000"/>
                        </a:sys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gridSpan="2">
                  <a:txBody>
                    <a:bodyPr/>
                    <a:lstStyle>
                      <a:lvl1pPr marL="0" algn="l" defTabSz="1218652" rtl="0" eaLnBrk="1" latinLnBrk="0" hangingPunct="1">
                        <a:defRPr sz="2400" kern="1200">
                          <a:solidFill>
                            <a:schemeClr val="dk1"/>
                          </a:solidFill>
                          <a:latin typeface="Arial"/>
                        </a:defRPr>
                      </a:lvl1pPr>
                      <a:lvl2pPr marL="609326" algn="l" defTabSz="1218652" rtl="0" eaLnBrk="1" latinLnBrk="0" hangingPunct="1">
                        <a:defRPr sz="2400" kern="1200">
                          <a:solidFill>
                            <a:schemeClr val="dk1"/>
                          </a:solidFill>
                          <a:latin typeface="Arial"/>
                        </a:defRPr>
                      </a:lvl2pPr>
                      <a:lvl3pPr marL="1218652" algn="l" defTabSz="1218652" rtl="0" eaLnBrk="1" latinLnBrk="0" hangingPunct="1">
                        <a:defRPr sz="2400" kern="1200">
                          <a:solidFill>
                            <a:schemeClr val="dk1"/>
                          </a:solidFill>
                          <a:latin typeface="Arial"/>
                        </a:defRPr>
                      </a:lvl3pPr>
                      <a:lvl4pPr marL="1827977" algn="l" defTabSz="1218652" rtl="0" eaLnBrk="1" latinLnBrk="0" hangingPunct="1">
                        <a:defRPr sz="2400" kern="1200">
                          <a:solidFill>
                            <a:schemeClr val="dk1"/>
                          </a:solidFill>
                          <a:latin typeface="Arial"/>
                        </a:defRPr>
                      </a:lvl4pPr>
                      <a:lvl5pPr marL="2437303" algn="l" defTabSz="1218652" rtl="0" eaLnBrk="1" latinLnBrk="0" hangingPunct="1">
                        <a:defRPr sz="2400" kern="1200">
                          <a:solidFill>
                            <a:schemeClr val="dk1"/>
                          </a:solidFill>
                          <a:latin typeface="Arial"/>
                        </a:defRPr>
                      </a:lvl5pPr>
                      <a:lvl6pPr marL="3046629" algn="l" defTabSz="1218652" rtl="0" eaLnBrk="1" latinLnBrk="0" hangingPunct="1">
                        <a:defRPr sz="2400" kern="1200">
                          <a:solidFill>
                            <a:schemeClr val="dk1"/>
                          </a:solidFill>
                          <a:latin typeface="Arial"/>
                        </a:defRPr>
                      </a:lvl6pPr>
                      <a:lvl7pPr marL="3655955" algn="l" defTabSz="1218652" rtl="0" eaLnBrk="1" latinLnBrk="0" hangingPunct="1">
                        <a:defRPr sz="2400" kern="1200">
                          <a:solidFill>
                            <a:schemeClr val="dk1"/>
                          </a:solidFill>
                          <a:latin typeface="Arial"/>
                        </a:defRPr>
                      </a:lvl7pPr>
                      <a:lvl8pPr marL="4265280" algn="l" defTabSz="1218652" rtl="0" eaLnBrk="1" latinLnBrk="0" hangingPunct="1">
                        <a:defRPr sz="2400" kern="1200">
                          <a:solidFill>
                            <a:schemeClr val="dk1"/>
                          </a:solidFill>
                          <a:latin typeface="Arial"/>
                        </a:defRPr>
                      </a:lvl8pPr>
                      <a:lvl9pPr marL="4874605" algn="l" defTabSz="1218652" rtl="0" eaLnBrk="1" latinLnBrk="0" hangingPunct="1">
                        <a:defRPr sz="2400" kern="1200">
                          <a:solidFill>
                            <a:schemeClr val="dk1"/>
                          </a:solidFill>
                          <a:latin typeface="Arial"/>
                        </a:defRPr>
                      </a:lvl9pPr>
                    </a:lstStyle>
                    <a:p>
                      <a:pPr algn="ctr"/>
                      <a:r>
                        <a:rPr lang="de-DE" sz="1400" b="0" dirty="0">
                          <a:solidFill>
                            <a:schemeClr val="tx1">
                              <a:lumMod val="65000"/>
                              <a:lumOff val="35000"/>
                            </a:schemeClr>
                          </a:solidFill>
                          <a:latin typeface="微软雅黑" panose="020B0503020204020204" pitchFamily="34" charset="-122"/>
                          <a:ea typeface="微软雅黑" panose="020B0503020204020204" pitchFamily="34" charset="-122"/>
                        </a:rPr>
                        <a:t>0.73</a:t>
                      </a:r>
                      <a:r>
                        <a:rPr lang="de-DE" sz="1400" b="0" baseline="0" dirty="0">
                          <a:solidFill>
                            <a:schemeClr val="tx1">
                              <a:lumMod val="65000"/>
                              <a:lumOff val="35000"/>
                            </a:schemeClr>
                          </a:solidFill>
                          <a:latin typeface="微软雅黑" panose="020B0503020204020204" pitchFamily="34" charset="-122"/>
                          <a:ea typeface="微软雅黑" panose="020B0503020204020204" pitchFamily="34" charset="-122"/>
                        </a:rPr>
                        <a:t> (</a:t>
                      </a:r>
                      <a:r>
                        <a:rPr lang="de-DE" sz="1400" b="0" dirty="0">
                          <a:solidFill>
                            <a:schemeClr val="tx1">
                              <a:lumMod val="65000"/>
                              <a:lumOff val="35000"/>
                            </a:schemeClr>
                          </a:solidFill>
                          <a:latin typeface="微软雅黑" panose="020B0503020204020204" pitchFamily="34" charset="-122"/>
                          <a:ea typeface="微软雅黑" panose="020B0503020204020204" pitchFamily="34" charset="-122"/>
                        </a:rPr>
                        <a:t>0.5</a:t>
                      </a:r>
                      <a:r>
                        <a:rPr lang="en-US" altLang="zh-CN" sz="1400" b="0" dirty="0">
                          <a:solidFill>
                            <a:schemeClr val="tx1">
                              <a:lumMod val="65000"/>
                              <a:lumOff val="35000"/>
                            </a:schemeClr>
                          </a:solidFill>
                          <a:latin typeface="微软雅黑" panose="020B0503020204020204" pitchFamily="34" charset="-122"/>
                          <a:ea typeface="微软雅黑" panose="020B0503020204020204" pitchFamily="34" charset="-122"/>
                        </a:rPr>
                        <a:t>7</a:t>
                      </a:r>
                      <a:r>
                        <a:rPr lang="de-DE" sz="1400" b="0" dirty="0">
                          <a:solidFill>
                            <a:schemeClr val="tx1">
                              <a:lumMod val="65000"/>
                              <a:lumOff val="35000"/>
                            </a:schemeClr>
                          </a:solidFill>
                          <a:latin typeface="微软雅黑" panose="020B0503020204020204" pitchFamily="34" charset="-122"/>
                          <a:ea typeface="微软雅黑" panose="020B0503020204020204" pitchFamily="34" charset="-122"/>
                        </a:rPr>
                        <a:t>-0.9</a:t>
                      </a:r>
                      <a:r>
                        <a:rPr lang="en-US" altLang="zh-CN" sz="1400" b="0" dirty="0">
                          <a:solidFill>
                            <a:schemeClr val="tx1">
                              <a:lumMod val="65000"/>
                              <a:lumOff val="35000"/>
                            </a:schemeClr>
                          </a:solidFill>
                          <a:latin typeface="微软雅黑" panose="020B0503020204020204" pitchFamily="34" charset="-122"/>
                          <a:ea typeface="微软雅黑" panose="020B0503020204020204" pitchFamily="34" charset="-122"/>
                        </a:rPr>
                        <a:t>5</a:t>
                      </a:r>
                      <a:r>
                        <a:rPr lang="de-DE" sz="1400" b="0" dirty="0">
                          <a:solidFill>
                            <a:schemeClr val="tx1">
                              <a:lumMod val="65000"/>
                              <a:lumOff val="35000"/>
                            </a:schemeClr>
                          </a:solidFill>
                          <a:latin typeface="微软雅黑" panose="020B0503020204020204" pitchFamily="34" charset="-122"/>
                          <a:ea typeface="微软雅黑" panose="020B0503020204020204" pitchFamily="34" charset="-122"/>
                        </a:rPr>
                        <a:t>)</a:t>
                      </a:r>
                    </a:p>
                    <a:p>
                      <a:pPr algn="ctr"/>
                      <a:r>
                        <a:rPr lang="de-DE" sz="1400" b="0" dirty="0">
                          <a:solidFill>
                            <a:schemeClr val="tx1">
                              <a:lumMod val="65000"/>
                              <a:lumOff val="35000"/>
                            </a:schemeClr>
                          </a:solidFill>
                          <a:latin typeface="微软雅黑" panose="020B0503020204020204" pitchFamily="34" charset="-122"/>
                          <a:ea typeface="微软雅黑" panose="020B0503020204020204" pitchFamily="34" charset="-122"/>
                        </a:rPr>
                        <a:t>0.0</a:t>
                      </a:r>
                      <a:r>
                        <a:rPr lang="en-US" altLang="zh-CN" sz="1400" b="0" dirty="0">
                          <a:solidFill>
                            <a:schemeClr val="tx1">
                              <a:lumMod val="65000"/>
                              <a:lumOff val="35000"/>
                            </a:schemeClr>
                          </a:solidFill>
                          <a:latin typeface="微软雅黑" panose="020B0503020204020204" pitchFamily="34" charset="-122"/>
                          <a:ea typeface="微软雅黑" panose="020B0503020204020204" pitchFamily="34" charset="-122"/>
                        </a:rPr>
                        <a:t>17</a:t>
                      </a:r>
                      <a:endParaRPr lang="de-DE" sz="1400" b="0" dirty="0">
                        <a:solidFill>
                          <a:schemeClr val="tx1">
                            <a:lumMod val="65000"/>
                            <a:lumOff val="35000"/>
                          </a:schemeClr>
                        </a:solidFill>
                        <a:latin typeface="微软雅黑" panose="020B0503020204020204" pitchFamily="34" charset="-122"/>
                        <a:ea typeface="微软雅黑" panose="020B0503020204020204" pitchFamily="34" charset="-122"/>
                      </a:endParaRPr>
                    </a:p>
                  </a:txBody>
                  <a:tcPr anchor="ctr">
                    <a:lnL w="12700" cap="flat" cmpd="sng" algn="ctr">
                      <a:solidFill>
                        <a:sysClr val="window" lastClr="FFFFFF">
                          <a:lumMod val="50000"/>
                        </a:sysClr>
                      </a:solidFill>
                      <a:prstDash val="solid"/>
                      <a:round/>
                      <a:headEnd type="none" w="med" len="med"/>
                      <a:tailEnd type="none" w="med" len="med"/>
                    </a:lnL>
                    <a:lnR w="12700" cmpd="sng">
                      <a:noFill/>
                    </a:lnR>
                    <a:lnT w="12700" cap="flat" cmpd="sng" algn="ctr">
                      <a:solidFill>
                        <a:sysClr val="window" lastClr="FFFFFF">
                          <a:lumMod val="50000"/>
                        </a:sys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zh-CN"/>
                    </a:p>
                  </a:txBody>
                  <a:tcPr/>
                </a:tc>
                <a:extLst>
                  <a:ext uri="{0D108BD9-81ED-4DB2-BD59-A6C34878D82A}">
                    <a16:rowId xmlns:a16="http://schemas.microsoft.com/office/drawing/2014/main" val="10002"/>
                  </a:ext>
                </a:extLst>
              </a:tr>
            </a:tbl>
          </a:graphicData>
        </a:graphic>
      </p:graphicFrame>
      <p:sp>
        <p:nvSpPr>
          <p:cNvPr id="18" name="矩形 17"/>
          <p:cNvSpPr/>
          <p:nvPr/>
        </p:nvSpPr>
        <p:spPr>
          <a:xfrm>
            <a:off x="6340911" y="4277113"/>
            <a:ext cx="1257075"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altLang="zh-CN" sz="16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a:t>
            </a:r>
            <a:r>
              <a:rPr kumimoji="0" lang="de-DE" altLang="zh-CN" sz="1600" b="0" i="1"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 P</a:t>
            </a:r>
            <a:r>
              <a:rPr kumimoji="0" lang="de-DE" altLang="zh-CN" sz="16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0.0184</a:t>
            </a:r>
          </a:p>
        </p:txBody>
      </p:sp>
      <p:sp>
        <p:nvSpPr>
          <p:cNvPr id="22" name="下箭头 21"/>
          <p:cNvSpPr/>
          <p:nvPr/>
        </p:nvSpPr>
        <p:spPr>
          <a:xfrm>
            <a:off x="4197385" y="2776880"/>
            <a:ext cx="1235482" cy="1008357"/>
          </a:xfrm>
          <a:prstGeom prst="downArrow">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24" name="文本框 223"/>
          <p:cNvSpPr txBox="1"/>
          <p:nvPr/>
        </p:nvSpPr>
        <p:spPr>
          <a:xfrm>
            <a:off x="4480084" y="2808801"/>
            <a:ext cx="69134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white"/>
                </a:solidFill>
                <a:effectLst/>
                <a:uLnTx/>
                <a:uFillTx/>
                <a:latin typeface="Arial"/>
                <a:ea typeface="黑体" panose="02010609060101010101" pitchFamily="49" charset="-122"/>
                <a:cs typeface="+mn-cs"/>
              </a:rPr>
              <a:t>疾病进展风险</a:t>
            </a: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227" name="文本框 226"/>
          <p:cNvSpPr txBox="1"/>
          <p:nvPr/>
        </p:nvSpPr>
        <p:spPr>
          <a:xfrm>
            <a:off x="4428241" y="3148343"/>
            <a:ext cx="86666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0" normalizeH="0" baseline="0" noProof="0" dirty="0">
                <a:ln>
                  <a:noFill/>
                </a:ln>
                <a:solidFill>
                  <a:prstClr val="white"/>
                </a:solidFill>
                <a:effectLst/>
                <a:uLnTx/>
                <a:uFillTx/>
                <a:latin typeface="Arial"/>
                <a:ea typeface="黑体" panose="02010609060101010101" pitchFamily="49" charset="-122"/>
                <a:cs typeface="+mn-cs"/>
              </a:rPr>
              <a:t>27</a:t>
            </a:r>
            <a:r>
              <a:rPr kumimoji="0" lang="en-US" altLang="zh-CN" sz="1800" b="0" i="0" u="none" strike="noStrike" kern="1200" cap="none" spc="0" normalizeH="0" baseline="0" noProof="0" dirty="0">
                <a:ln>
                  <a:noFill/>
                </a:ln>
                <a:solidFill>
                  <a:prstClr val="white"/>
                </a:solidFill>
                <a:effectLst/>
                <a:uLnTx/>
                <a:uFillTx/>
                <a:latin typeface="Arial"/>
                <a:ea typeface="黑体" panose="02010609060101010101" pitchFamily="49" charset="-122"/>
                <a:cs typeface="+mn-cs"/>
              </a:rPr>
              <a:t>%</a:t>
            </a: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1302534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对象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89" name="think-cell Slide" r:id="rId6" imgW="270" imgH="270" progId="TCLayout.ActiveDocument.1">
                  <p:embed/>
                </p:oleObj>
              </mc:Choice>
              <mc:Fallback>
                <p:oleObj name="think-cell Slide" r:id="rId6" imgW="270" imgH="270" progId="TCLayout.ActiveDocument.1">
                  <p:embed/>
                  <p:pic>
                    <p:nvPicPr>
                      <p:cNvPr id="9" name="对象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矩形 7" hidden="1"/>
          <p:cNvSpPr/>
          <p:nvPr>
            <p:custDataLst>
              <p:tags r:id="rId3"/>
            </p:custDataLst>
          </p:nvPr>
        </p:nvSpPr>
        <p:spPr>
          <a:xfrm>
            <a:off x="33176" y="-105291"/>
            <a:ext cx="92398" cy="369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altLang="zh-CN" sz="2400" b="1" i="0" u="none" strike="noStrike" kern="1200" cap="none" spc="0" normalizeH="0" baseline="0" noProof="0" dirty="0" err="1">
              <a:ln>
                <a:noFill/>
              </a:ln>
              <a:solidFill>
                <a:prstClr val="white"/>
              </a:solidFill>
              <a:effectLst/>
              <a:uLnTx/>
              <a:uFillTx/>
              <a:latin typeface="微软雅黑"/>
              <a:ea typeface="微软雅黑"/>
              <a:cs typeface="Arial"/>
              <a:sym typeface="微软雅黑"/>
            </a:endParaRPr>
          </a:p>
        </p:txBody>
      </p:sp>
      <p:graphicFrame>
        <p:nvGraphicFramePr>
          <p:cNvPr id="3" name="Chart 2"/>
          <p:cNvGraphicFramePr/>
          <p:nvPr>
            <p:extLst/>
          </p:nvPr>
        </p:nvGraphicFramePr>
        <p:xfrm>
          <a:off x="1873207" y="1628800"/>
          <a:ext cx="5700529" cy="3581400"/>
        </p:xfrm>
        <a:graphic>
          <a:graphicData uri="http://schemas.openxmlformats.org/drawingml/2006/chart">
            <c:chart xmlns:c="http://schemas.openxmlformats.org/drawingml/2006/chart" xmlns:r="http://schemas.openxmlformats.org/officeDocument/2006/relationships" r:id="rId8"/>
          </a:graphicData>
        </a:graphic>
      </p:graphicFrame>
      <p:sp>
        <p:nvSpPr>
          <p:cNvPr id="19" name="Round Same Side Corner Rectangle 18"/>
          <p:cNvSpPr/>
          <p:nvPr/>
        </p:nvSpPr>
        <p:spPr>
          <a:xfrm>
            <a:off x="1593669" y="5301207"/>
            <a:ext cx="5498612" cy="356483"/>
          </a:xfrm>
          <a:prstGeom prst="round2SameRect">
            <a:avLst>
              <a:gd name="adj1" fmla="val 24707"/>
              <a:gd name="adj2" fmla="val 0"/>
            </a:avLst>
          </a:prstGeom>
          <a:solidFill>
            <a:schemeClr val="accent1"/>
          </a:soli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Title 1"/>
          <p:cNvSpPr>
            <a:spLocks noGrp="1"/>
          </p:cNvSpPr>
          <p:nvPr>
            <p:ph type="title"/>
          </p:nvPr>
        </p:nvSpPr>
        <p:spPr>
          <a:xfrm>
            <a:off x="467544" y="257181"/>
            <a:ext cx="8594975" cy="720197"/>
          </a:xfrm>
        </p:spPr>
        <p:txBody>
          <a:bodyPr/>
          <a:lstStyle/>
          <a:p>
            <a:r>
              <a:rPr lang="en-US" altLang="zh-CN" sz="2400" b="1" dirty="0">
                <a:latin typeface="微软雅黑" panose="020B0503020204020204" pitchFamily="34" charset="-122"/>
                <a:ea typeface="微软雅黑" panose="020B0503020204020204" pitchFamily="34" charset="-122"/>
              </a:rPr>
              <a:t>LUX-Lung 7</a:t>
            </a:r>
            <a:r>
              <a:rPr lang="zh-CN" altLang="en-US" sz="2400" b="1" dirty="0">
                <a:latin typeface="微软雅黑" panose="020B0503020204020204" pitchFamily="34" charset="-122"/>
                <a:ea typeface="微软雅黑" panose="020B0503020204020204" pitchFamily="34" charset="-122"/>
              </a:rPr>
              <a:t>：与吉非替尼相比</a:t>
            </a:r>
            <a:br>
              <a:rPr lang="en-US" altLang="zh-CN" sz="2400" b="1" dirty="0">
                <a:latin typeface="微软雅黑" panose="020B0503020204020204" pitchFamily="34" charset="-122"/>
                <a:ea typeface="微软雅黑" panose="020B0503020204020204" pitchFamily="34" charset="-122"/>
              </a:rPr>
            </a:br>
            <a:r>
              <a:rPr lang="zh-CN" altLang="en-US" sz="2400" b="1" dirty="0">
                <a:latin typeface="微软雅黑" panose="020B0503020204020204" pitchFamily="34" charset="-122"/>
                <a:ea typeface="微软雅黑" panose="020B0503020204020204" pitchFamily="34" charset="-122"/>
              </a:rPr>
              <a:t>吉泰瑞</a:t>
            </a:r>
            <a:r>
              <a:rPr lang="en-US" altLang="zh-CN" sz="2400" b="1" baseline="30000" dirty="0">
                <a:latin typeface="微软雅黑" panose="020B0503020204020204" pitchFamily="34" charset="-122"/>
                <a:ea typeface="微软雅黑" panose="020B0503020204020204" pitchFamily="34" charset="-122"/>
              </a:rPr>
              <a:t>®</a:t>
            </a:r>
            <a:r>
              <a:rPr lang="zh-CN" altLang="en-US" sz="2400" b="1" dirty="0">
                <a:latin typeface="微软雅黑" panose="020B0503020204020204" pitchFamily="34" charset="-122"/>
                <a:ea typeface="微软雅黑" panose="020B0503020204020204" pitchFamily="34" charset="-122"/>
              </a:rPr>
              <a:t>一线治疗</a:t>
            </a:r>
            <a:r>
              <a:rPr lang="en-US" altLang="zh-CN" sz="2400" b="1" dirty="0">
                <a:latin typeface="微软雅黑" panose="020B0503020204020204" pitchFamily="34" charset="-122"/>
                <a:ea typeface="微软雅黑" panose="020B0503020204020204" pitchFamily="34" charset="-122"/>
              </a:rPr>
              <a:t>EGFR</a:t>
            </a:r>
            <a:r>
              <a:rPr lang="zh-CN" altLang="en-US" sz="2400" b="1" dirty="0">
                <a:latin typeface="微软雅黑" panose="020B0503020204020204" pitchFamily="34" charset="-122"/>
                <a:ea typeface="微软雅黑" panose="020B0503020204020204" pitchFamily="34" charset="-122"/>
              </a:rPr>
              <a:t>常见突变患者</a:t>
            </a:r>
            <a:r>
              <a:rPr lang="en-US" altLang="zh-CN" sz="2400" b="1" dirty="0">
                <a:solidFill>
                  <a:schemeClr val="accent2">
                    <a:lumMod val="60000"/>
                    <a:lumOff val="40000"/>
                  </a:schemeClr>
                </a:solidFill>
                <a:latin typeface="微软雅黑" panose="020B0503020204020204" pitchFamily="34" charset="-122"/>
                <a:ea typeface="微软雅黑" panose="020B0503020204020204" pitchFamily="34" charset="-122"/>
              </a:rPr>
              <a:t>ORR</a:t>
            </a:r>
            <a:r>
              <a:rPr lang="zh-CN" altLang="en-US" sz="2400" b="1" dirty="0">
                <a:solidFill>
                  <a:schemeClr val="accent2">
                    <a:lumMod val="60000"/>
                    <a:lumOff val="40000"/>
                  </a:schemeClr>
                </a:solidFill>
                <a:latin typeface="微软雅黑" panose="020B0503020204020204" pitchFamily="34" charset="-122"/>
                <a:ea typeface="微软雅黑" panose="020B0503020204020204" pitchFamily="34" charset="-122"/>
              </a:rPr>
              <a:t>显著提高，</a:t>
            </a:r>
            <a:r>
              <a:rPr lang="en-US" altLang="zh-CN" sz="2400" b="1" dirty="0" err="1">
                <a:solidFill>
                  <a:schemeClr val="accent2">
                    <a:lumMod val="60000"/>
                    <a:lumOff val="40000"/>
                  </a:schemeClr>
                </a:solidFill>
                <a:latin typeface="微软雅黑" panose="020B0503020204020204" pitchFamily="34" charset="-122"/>
                <a:ea typeface="微软雅黑" panose="020B0503020204020204" pitchFamily="34" charset="-122"/>
              </a:rPr>
              <a:t>DoR</a:t>
            </a:r>
            <a:r>
              <a:rPr lang="zh-CN" altLang="en-US" sz="2400" b="1" dirty="0">
                <a:solidFill>
                  <a:schemeClr val="accent2">
                    <a:lumMod val="60000"/>
                    <a:lumOff val="40000"/>
                  </a:schemeClr>
                </a:solidFill>
                <a:latin typeface="微软雅黑" panose="020B0503020204020204" pitchFamily="34" charset="-122"/>
                <a:ea typeface="微软雅黑" panose="020B0503020204020204" pitchFamily="34" charset="-122"/>
              </a:rPr>
              <a:t>更长</a:t>
            </a:r>
            <a:endParaRPr lang="de-DE" sz="2400" b="1" dirty="0">
              <a:solidFill>
                <a:schemeClr val="accent2">
                  <a:lumMod val="60000"/>
                  <a:lumOff val="40000"/>
                </a:schemeClr>
              </a:solidFill>
              <a:latin typeface="微软雅黑" panose="020B0503020204020204" pitchFamily="34" charset="-122"/>
              <a:ea typeface="微软雅黑" panose="020B0503020204020204" pitchFamily="34" charset="-122"/>
            </a:endParaRPr>
          </a:p>
        </p:txBody>
      </p:sp>
      <p:sp>
        <p:nvSpPr>
          <p:cNvPr id="5" name="TextBox 4"/>
          <p:cNvSpPr txBox="1"/>
          <p:nvPr/>
        </p:nvSpPr>
        <p:spPr>
          <a:xfrm>
            <a:off x="3976180" y="2364206"/>
            <a:ext cx="251460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600" b="1" i="0" u="none" strike="noStrike" kern="1200" cap="none" spc="0" normalizeH="0" baseline="0" noProof="0" dirty="0">
              <a:ln>
                <a:noFill/>
              </a:ln>
              <a:solidFill>
                <a:prstClr val="white">
                  <a:lumMod val="50000"/>
                </a:prstClr>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1" u="none" strike="noStrike" kern="1200" cap="none" spc="0" normalizeH="0" baseline="0" noProof="0" dirty="0">
                <a:ln>
                  <a:noFill/>
                </a:ln>
                <a:solidFill>
                  <a:prstClr val="white">
                    <a:lumMod val="50000"/>
                  </a:prstClr>
                </a:solidFill>
                <a:effectLst/>
                <a:uLnTx/>
                <a:uFillTx/>
                <a:latin typeface="Arial"/>
                <a:ea typeface="微软雅黑" panose="020B0503020204020204" pitchFamily="34" charset="-122"/>
                <a:cs typeface="+mn-cs"/>
              </a:rPr>
              <a:t>P</a:t>
            </a:r>
            <a:r>
              <a:rPr kumimoji="0" lang="de-DE" sz="1600" b="1" i="0" u="none" strike="noStrike" kern="1200" cap="none" spc="0" normalizeH="0" baseline="0" noProof="0" dirty="0">
                <a:ln>
                  <a:noFill/>
                </a:ln>
                <a:solidFill>
                  <a:prstClr val="white">
                    <a:lumMod val="50000"/>
                  </a:prstClr>
                </a:solidFill>
                <a:effectLst/>
                <a:uLnTx/>
                <a:uFillTx/>
                <a:latin typeface="Arial"/>
                <a:ea typeface="微软雅黑" panose="020B0503020204020204" pitchFamily="34" charset="-122"/>
                <a:cs typeface="+mn-cs"/>
              </a:rPr>
              <a:t> = 0.0083</a:t>
            </a:r>
            <a:endParaRPr kumimoji="0" lang="en-GB" sz="1600" b="0" i="0" u="none" strike="noStrike" kern="1200" cap="none" spc="0" normalizeH="0" baseline="0" noProof="0" dirty="0">
              <a:ln>
                <a:noFill/>
              </a:ln>
              <a:solidFill>
                <a:prstClr val="black"/>
              </a:solidFill>
              <a:effectLst/>
              <a:uLnTx/>
              <a:uFillTx/>
              <a:latin typeface="Arial"/>
              <a:ea typeface="微软雅黑" panose="020B0503020204020204" pitchFamily="34" charset="-122"/>
              <a:cs typeface="+mn-cs"/>
            </a:endParaRPr>
          </a:p>
        </p:txBody>
      </p:sp>
      <p:sp>
        <p:nvSpPr>
          <p:cNvPr id="17" name="Rounded Rectangle 16"/>
          <p:cNvSpPr/>
          <p:nvPr/>
        </p:nvSpPr>
        <p:spPr>
          <a:xfrm>
            <a:off x="3684225" y="1714128"/>
            <a:ext cx="902633" cy="402908"/>
          </a:xfrm>
          <a:prstGeom prst="roundRect">
            <a:avLst/>
          </a:prstGeom>
          <a:solidFill>
            <a:schemeClr val="bg1"/>
          </a:solidFill>
          <a:ln w="19050"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70%</a:t>
            </a:r>
            <a:endParaRPr kumimoji="0" lang="en-GB" sz="1800" b="1"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endParaRPr>
          </a:p>
        </p:txBody>
      </p:sp>
      <p:sp>
        <p:nvSpPr>
          <p:cNvPr id="18" name="Rounded Rectangle 17"/>
          <p:cNvSpPr/>
          <p:nvPr/>
        </p:nvSpPr>
        <p:spPr>
          <a:xfrm>
            <a:off x="5894264" y="2160746"/>
            <a:ext cx="870704" cy="402908"/>
          </a:xfrm>
          <a:prstGeom prst="roundRect">
            <a:avLst/>
          </a:prstGeom>
          <a:solidFill>
            <a:schemeClr val="bg1"/>
          </a:solidFill>
          <a:ln w="19050"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56%</a:t>
            </a:r>
            <a:endParaRPr kumimoji="0" lang="en-GB" sz="1800" b="1"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endParaRPr>
          </a:p>
        </p:txBody>
      </p:sp>
      <p:sp>
        <p:nvSpPr>
          <p:cNvPr id="4" name="下箭头 3"/>
          <p:cNvSpPr/>
          <p:nvPr/>
        </p:nvSpPr>
        <p:spPr>
          <a:xfrm flipV="1">
            <a:off x="4661204" y="1628800"/>
            <a:ext cx="1186022" cy="949424"/>
          </a:xfrm>
          <a:prstGeom prst="downArrow">
            <a:avLst/>
          </a:prstGeom>
          <a:gradFill>
            <a:gsLst>
              <a:gs pos="0">
                <a:srgbClr val="1CBECA"/>
              </a:gs>
              <a:gs pos="26000">
                <a:srgbClr val="1CBECA"/>
              </a:gs>
              <a:gs pos="100000">
                <a:schemeClr val="bg1"/>
              </a:gs>
            </a:gsLst>
            <a:lin ang="16200000" scaled="1"/>
          </a:gradFill>
          <a:ln>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altLang="zh-CN" sz="12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altLang="zh-CN" sz="14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6" name="文本框 5"/>
          <p:cNvSpPr txBox="1"/>
          <p:nvPr/>
        </p:nvSpPr>
        <p:spPr>
          <a:xfrm>
            <a:off x="4921609" y="2002160"/>
            <a:ext cx="697627"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0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14%</a:t>
            </a:r>
            <a:endParaRPr kumimoji="0" lang="zh-CN" altLang="en-US" sz="20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p:txBody>
      </p:sp>
      <p:sp>
        <p:nvSpPr>
          <p:cNvPr id="7" name="圆角矩形 6"/>
          <p:cNvSpPr/>
          <p:nvPr/>
        </p:nvSpPr>
        <p:spPr>
          <a:xfrm>
            <a:off x="3491879" y="4507002"/>
            <a:ext cx="1231592" cy="308152"/>
          </a:xfrm>
          <a:prstGeom prst="roundRect">
            <a:avLst/>
          </a:prstGeom>
          <a:solidFill>
            <a:schemeClr val="bg1"/>
          </a:solidFill>
          <a:ln w="19050"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595959"/>
                </a:solidFill>
                <a:effectLst/>
                <a:uLnTx/>
                <a:uFillTx/>
                <a:latin typeface="微软雅黑" panose="020B0503020204020204" pitchFamily="34" charset="-122"/>
                <a:ea typeface="微软雅黑" panose="020B0503020204020204" pitchFamily="34" charset="-122"/>
                <a:cs typeface="+mn-cs"/>
              </a:rPr>
              <a:t>吉泰瑞</a:t>
            </a:r>
            <a:r>
              <a:rPr kumimoji="0" lang="en-US" altLang="zh-CN" sz="1600" b="0" i="0" u="none" strike="noStrike" kern="1200" cap="none" spc="0" normalizeH="0" baseline="30000" noProof="0" dirty="0">
                <a:ln>
                  <a:noFill/>
                </a:ln>
                <a:solidFill>
                  <a:srgbClr val="595959"/>
                </a:solidFill>
                <a:effectLst/>
                <a:uLnTx/>
                <a:uFillTx/>
                <a:latin typeface="微软雅黑" panose="020B0503020204020204" pitchFamily="34" charset="-122"/>
                <a:ea typeface="微软雅黑" panose="020B0503020204020204" pitchFamily="34" charset="-122"/>
                <a:cs typeface="+mn-cs"/>
              </a:rPr>
              <a:t>®</a:t>
            </a:r>
            <a:endParaRPr kumimoji="0" lang="zh-CN" altLang="en-US" sz="1600" b="0" i="0" u="none" strike="noStrike" kern="1200" cap="none" spc="0" normalizeH="0" baseline="30000" noProof="0" dirty="0">
              <a:ln>
                <a:noFill/>
              </a:ln>
              <a:solidFill>
                <a:srgbClr val="595959"/>
              </a:solidFill>
              <a:effectLst/>
              <a:uLnTx/>
              <a:uFillTx/>
              <a:latin typeface="微软雅黑" panose="020B0503020204020204" pitchFamily="34" charset="-122"/>
              <a:ea typeface="微软雅黑" panose="020B0503020204020204" pitchFamily="34" charset="-122"/>
              <a:cs typeface="+mn-cs"/>
            </a:endParaRPr>
          </a:p>
        </p:txBody>
      </p:sp>
      <p:graphicFrame>
        <p:nvGraphicFramePr>
          <p:cNvPr id="11" name="Table 10"/>
          <p:cNvGraphicFramePr>
            <a:graphicFrameLocks noGrp="1"/>
          </p:cNvGraphicFramePr>
          <p:nvPr>
            <p:extLst/>
          </p:nvPr>
        </p:nvGraphicFramePr>
        <p:xfrm>
          <a:off x="1593669" y="5303140"/>
          <a:ext cx="5656216" cy="914400"/>
        </p:xfrm>
        <a:graphic>
          <a:graphicData uri="http://schemas.openxmlformats.org/drawingml/2006/table">
            <a:tbl>
              <a:tblPr firstRow="1" bandRow="1">
                <a:tableStyleId>{5C22544A-7EE6-4342-B048-85BDC9FD1C3A}</a:tableStyleId>
              </a:tblPr>
              <a:tblGrid>
                <a:gridCol w="1965270">
                  <a:extLst>
                    <a:ext uri="{9D8B030D-6E8A-4147-A177-3AD203B41FA5}">
                      <a16:colId xmlns:a16="http://schemas.microsoft.com/office/drawing/2014/main" val="20000"/>
                    </a:ext>
                  </a:extLst>
                </a:gridCol>
                <a:gridCol w="1686531">
                  <a:extLst>
                    <a:ext uri="{9D8B030D-6E8A-4147-A177-3AD203B41FA5}">
                      <a16:colId xmlns:a16="http://schemas.microsoft.com/office/drawing/2014/main" val="20001"/>
                    </a:ext>
                  </a:extLst>
                </a:gridCol>
                <a:gridCol w="2004415">
                  <a:extLst>
                    <a:ext uri="{9D8B030D-6E8A-4147-A177-3AD203B41FA5}">
                      <a16:colId xmlns:a16="http://schemas.microsoft.com/office/drawing/2014/main" val="20002"/>
                    </a:ext>
                  </a:extLst>
                </a:gridCol>
              </a:tblGrid>
              <a:tr h="131439">
                <a:tc>
                  <a:txBody>
                    <a:bodyPr/>
                    <a:lstStyle/>
                    <a:p>
                      <a:endParaRPr lang="en-GB" sz="1600" b="0" dirty="0">
                        <a:latin typeface="微软雅黑" panose="020B0503020204020204" pitchFamily="34" charset="-122"/>
                        <a:ea typeface="微软雅黑" panose="020B0503020204020204" pitchFamily="34" charset="-122"/>
                      </a:endParaRPr>
                    </a:p>
                  </a:txBody>
                  <a:tcPr>
                    <a:lnL w="12700" cmpd="sng">
                      <a:noFill/>
                    </a:lnL>
                    <a:lnT w="12700" cmpd="sng">
                      <a:noFill/>
                    </a:lnT>
                    <a:noFill/>
                  </a:tcPr>
                </a:tc>
                <a:tc>
                  <a:txBody>
                    <a:bodyPr/>
                    <a:lstStyle/>
                    <a:p>
                      <a:pPr algn="ctr"/>
                      <a:r>
                        <a:rPr lang="zh-CN" altLang="en-US" sz="1600" b="0" dirty="0">
                          <a:latin typeface="微软雅黑" panose="020B0503020204020204" pitchFamily="34" charset="-122"/>
                          <a:ea typeface="微软雅黑" panose="020B0503020204020204" pitchFamily="34" charset="-122"/>
                        </a:rPr>
                        <a:t>吉泰瑞</a:t>
                      </a:r>
                      <a:endParaRPr lang="en-GB" sz="1600" b="0" dirty="0">
                        <a:latin typeface="微软雅黑" panose="020B0503020204020204" pitchFamily="34" charset="-122"/>
                        <a:ea typeface="微软雅黑" panose="020B0503020204020204" pitchFamily="34" charset="-122"/>
                      </a:endParaRPr>
                    </a:p>
                  </a:txBody>
                  <a:tcPr anchor="ctr">
                    <a:lnT w="12700" cmpd="sng">
                      <a:noFill/>
                    </a:lnT>
                    <a:noFill/>
                  </a:tcPr>
                </a:tc>
                <a:tc>
                  <a:txBody>
                    <a:bodyPr/>
                    <a:lstStyle/>
                    <a:p>
                      <a:pPr algn="ctr"/>
                      <a:r>
                        <a:rPr lang="zh-CN" altLang="en-US" sz="1600" b="0">
                          <a:latin typeface="微软雅黑" panose="020B0503020204020204" pitchFamily="34" charset="-122"/>
                          <a:ea typeface="微软雅黑" panose="020B0503020204020204" pitchFamily="34" charset="-122"/>
                        </a:rPr>
                        <a:t>吉非替尼</a:t>
                      </a:r>
                      <a:endParaRPr lang="en-GB" sz="1600" b="0" dirty="0">
                        <a:latin typeface="微软雅黑" panose="020B0503020204020204" pitchFamily="34" charset="-122"/>
                        <a:ea typeface="微软雅黑" panose="020B0503020204020204" pitchFamily="34" charset="-122"/>
                      </a:endParaRPr>
                    </a:p>
                  </a:txBody>
                  <a:tcPr anchor="ctr">
                    <a:lnT w="12700" cmpd="sng">
                      <a:noFill/>
                    </a:lnT>
                    <a:noFill/>
                  </a:tcPr>
                </a:tc>
                <a:extLst>
                  <a:ext uri="{0D108BD9-81ED-4DB2-BD59-A6C34878D82A}">
                    <a16:rowId xmlns:a16="http://schemas.microsoft.com/office/drawing/2014/main" val="10000"/>
                  </a:ext>
                </a:extLst>
              </a:tr>
              <a:tr h="0">
                <a:tc>
                  <a:txBody>
                    <a:bodyPr/>
                    <a:lstStyle/>
                    <a:p>
                      <a:r>
                        <a:rPr lang="zh-CN" altLang="en-US" sz="1600" b="0" dirty="0">
                          <a:solidFill>
                            <a:schemeClr val="tx1">
                              <a:lumMod val="65000"/>
                              <a:lumOff val="35000"/>
                            </a:schemeClr>
                          </a:solidFill>
                          <a:latin typeface="微软雅黑" panose="020B0503020204020204" pitchFamily="34" charset="-122"/>
                          <a:ea typeface="微软雅黑" panose="020B0503020204020204" pitchFamily="34" charset="-122"/>
                        </a:rPr>
                        <a:t>缓解持续时间</a:t>
                      </a:r>
                      <a:r>
                        <a:rPr lang="en-US" altLang="zh-CN" sz="1600" b="1" dirty="0" err="1">
                          <a:solidFill>
                            <a:schemeClr val="tx1">
                              <a:lumMod val="65000"/>
                              <a:lumOff val="35000"/>
                            </a:schemeClr>
                          </a:solidFill>
                          <a:latin typeface="微软雅黑" panose="020B0503020204020204" pitchFamily="34" charset="-122"/>
                          <a:ea typeface="微软雅黑" panose="020B0503020204020204" pitchFamily="34" charset="-122"/>
                        </a:rPr>
                        <a:t>DoR</a:t>
                      </a:r>
                      <a:r>
                        <a:rPr lang="it-IT" sz="1600" b="0" dirty="0">
                          <a:solidFill>
                            <a:schemeClr val="tx1">
                              <a:lumMod val="65000"/>
                              <a:lumOff val="35000"/>
                            </a:schemeClr>
                          </a:solidFill>
                          <a:latin typeface="微软雅黑" panose="020B0503020204020204" pitchFamily="34" charset="-122"/>
                          <a:ea typeface="微软雅黑" panose="020B0503020204020204" pitchFamily="34" charset="-122"/>
                        </a:rPr>
                        <a:t>，月 (95% CI)</a:t>
                      </a:r>
                      <a:endParaRPr lang="en-GB" sz="1600" b="0" dirty="0">
                        <a:solidFill>
                          <a:schemeClr val="tx1">
                            <a:lumMod val="65000"/>
                            <a:lumOff val="35000"/>
                          </a:schemeClr>
                        </a:solidFill>
                        <a:latin typeface="微软雅黑" panose="020B0503020204020204" pitchFamily="34" charset="-122"/>
                        <a:ea typeface="微软雅黑" panose="020B0503020204020204" pitchFamily="34" charset="-122"/>
                      </a:endParaRPr>
                    </a:p>
                  </a:txBody>
                  <a:tcPr>
                    <a:lnR w="28575" cap="flat" cmpd="sng" algn="ctr">
                      <a:solidFill>
                        <a:schemeClr val="bg1">
                          <a:lumMod val="85000"/>
                        </a:schemeClr>
                      </a:solidFill>
                      <a:prstDash val="solid"/>
                      <a:round/>
                      <a:headEnd type="none" w="med" len="med"/>
                      <a:tailEnd type="none" w="med" len="med"/>
                    </a:lnR>
                    <a:lnB w="28575" cap="flat" cmpd="sng" algn="ctr">
                      <a:solidFill>
                        <a:schemeClr val="bg1">
                          <a:lumMod val="85000"/>
                        </a:schemeClr>
                      </a:solidFill>
                      <a:prstDash val="solid"/>
                      <a:round/>
                      <a:headEnd type="none" w="med" len="med"/>
                      <a:tailEnd type="none" w="med" len="med"/>
                    </a:lnB>
                    <a:noFill/>
                  </a:tcPr>
                </a:tc>
                <a:tc>
                  <a:txBody>
                    <a:bodyPr/>
                    <a:lstStyle/>
                    <a:p>
                      <a:pPr marL="0" algn="ctr" defTabSz="914400" rtl="0" eaLnBrk="1" latinLnBrk="0" hangingPunct="1"/>
                      <a:r>
                        <a:rPr lang="en-GB" sz="1600" b="1" kern="1200" dirty="0">
                          <a:solidFill>
                            <a:schemeClr val="accent1"/>
                          </a:solidFill>
                          <a:latin typeface="微软雅黑" panose="020B0503020204020204" pitchFamily="34" charset="-122"/>
                          <a:ea typeface="微软雅黑" panose="020B0503020204020204" pitchFamily="34" charset="-122"/>
                          <a:cs typeface="+mn-cs"/>
                        </a:rPr>
                        <a:t>10.1</a:t>
                      </a:r>
                      <a:r>
                        <a:rPr lang="en-GB" sz="1600" b="0" kern="1200" dirty="0">
                          <a:solidFill>
                            <a:schemeClr val="tx1">
                              <a:lumMod val="65000"/>
                              <a:lumOff val="35000"/>
                            </a:schemeClr>
                          </a:solidFill>
                          <a:latin typeface="微软雅黑" panose="020B0503020204020204" pitchFamily="34" charset="-122"/>
                          <a:ea typeface="微软雅黑" panose="020B0503020204020204" pitchFamily="34" charset="-122"/>
                          <a:cs typeface="+mn-cs"/>
                        </a:rPr>
                        <a:t> </a:t>
                      </a:r>
                    </a:p>
                    <a:p>
                      <a:pPr marL="0" algn="ctr" defTabSz="914400" rtl="0" eaLnBrk="1" latinLnBrk="0" hangingPunct="1"/>
                      <a:r>
                        <a:rPr lang="en-GB" sz="1600" b="0" kern="1200" dirty="0">
                          <a:solidFill>
                            <a:schemeClr val="tx1">
                              <a:lumMod val="65000"/>
                              <a:lumOff val="35000"/>
                            </a:schemeClr>
                          </a:solidFill>
                          <a:latin typeface="微软雅黑" panose="020B0503020204020204" pitchFamily="34" charset="-122"/>
                          <a:ea typeface="微软雅黑" panose="020B0503020204020204" pitchFamily="34" charset="-122"/>
                          <a:cs typeface="+mn-cs"/>
                        </a:rPr>
                        <a:t>(5.6, 16.8)</a:t>
                      </a:r>
                    </a:p>
                  </a:txBody>
                  <a:tcPr>
                    <a:lnL w="28575" cap="flat" cmpd="sng" algn="ctr">
                      <a:solidFill>
                        <a:schemeClr val="bg1">
                          <a:lumMod val="85000"/>
                        </a:schemeClr>
                      </a:solidFill>
                      <a:prstDash val="solid"/>
                      <a:round/>
                      <a:headEnd type="none" w="med" len="med"/>
                      <a:tailEnd type="none" w="med" len="med"/>
                    </a:lnL>
                    <a:lnR w="28575" cap="flat" cmpd="sng" algn="ctr">
                      <a:solidFill>
                        <a:schemeClr val="bg1">
                          <a:lumMod val="85000"/>
                        </a:schemeClr>
                      </a:solidFill>
                      <a:prstDash val="solid"/>
                      <a:round/>
                      <a:headEnd type="none" w="med" len="med"/>
                      <a:tailEnd type="none" w="med" len="med"/>
                    </a:lnR>
                    <a:lnB w="28575" cap="flat" cmpd="sng" algn="ctr">
                      <a:solidFill>
                        <a:schemeClr val="bg1">
                          <a:lumMod val="85000"/>
                        </a:schemeClr>
                      </a:solidFill>
                      <a:prstDash val="solid"/>
                      <a:round/>
                      <a:headEnd type="none" w="med" len="med"/>
                      <a:tailEnd type="none" w="med" len="med"/>
                    </a:lnB>
                    <a:noFill/>
                  </a:tcPr>
                </a:tc>
                <a:tc>
                  <a:txBody>
                    <a:bodyPr/>
                    <a:lstStyle/>
                    <a:p>
                      <a:pPr marL="0" algn="ctr" defTabSz="914400" rtl="0" eaLnBrk="1" latinLnBrk="0" hangingPunct="1"/>
                      <a:r>
                        <a:rPr lang="en-GB" sz="1600" b="0" kern="1200" dirty="0">
                          <a:solidFill>
                            <a:schemeClr val="tx1">
                              <a:lumMod val="65000"/>
                              <a:lumOff val="35000"/>
                            </a:schemeClr>
                          </a:solidFill>
                          <a:latin typeface="微软雅黑" panose="020B0503020204020204" pitchFamily="34" charset="-122"/>
                          <a:ea typeface="微软雅黑" panose="020B0503020204020204" pitchFamily="34" charset="-122"/>
                          <a:cs typeface="+mn-cs"/>
                        </a:rPr>
                        <a:t>8.4 </a:t>
                      </a:r>
                    </a:p>
                    <a:p>
                      <a:pPr marL="0" algn="ctr" defTabSz="914400" rtl="0" eaLnBrk="1" latinLnBrk="0" hangingPunct="1"/>
                      <a:r>
                        <a:rPr lang="en-GB" sz="1600" b="0" kern="1200" dirty="0">
                          <a:solidFill>
                            <a:schemeClr val="tx1">
                              <a:lumMod val="65000"/>
                              <a:lumOff val="35000"/>
                            </a:schemeClr>
                          </a:solidFill>
                          <a:latin typeface="微软雅黑" panose="020B0503020204020204" pitchFamily="34" charset="-122"/>
                          <a:ea typeface="微软雅黑" panose="020B0503020204020204" pitchFamily="34" charset="-122"/>
                          <a:cs typeface="+mn-cs"/>
                        </a:rPr>
                        <a:t>(6.2</a:t>
                      </a:r>
                      <a:r>
                        <a:rPr lang="en-GB" sz="1600" b="0" kern="1200" baseline="0" dirty="0">
                          <a:solidFill>
                            <a:schemeClr val="tx1">
                              <a:lumMod val="65000"/>
                              <a:lumOff val="35000"/>
                            </a:schemeClr>
                          </a:solidFill>
                          <a:latin typeface="微软雅黑" panose="020B0503020204020204" pitchFamily="34" charset="-122"/>
                          <a:ea typeface="微软雅黑" panose="020B0503020204020204" pitchFamily="34" charset="-122"/>
                          <a:cs typeface="+mn-cs"/>
                        </a:rPr>
                        <a:t> </a:t>
                      </a:r>
                      <a:r>
                        <a:rPr lang="en-GB" sz="1600" b="0" kern="1200" dirty="0">
                          <a:solidFill>
                            <a:schemeClr val="tx1">
                              <a:lumMod val="65000"/>
                              <a:lumOff val="35000"/>
                            </a:schemeClr>
                          </a:solidFill>
                          <a:latin typeface="微软雅黑" panose="020B0503020204020204" pitchFamily="34" charset="-122"/>
                          <a:ea typeface="微软雅黑" panose="020B0503020204020204" pitchFamily="34" charset="-122"/>
                          <a:cs typeface="+mn-cs"/>
                        </a:rPr>
                        <a:t>– 13.1)</a:t>
                      </a:r>
                    </a:p>
                  </a:txBody>
                  <a:tcPr>
                    <a:lnL w="28575" cap="flat" cmpd="sng" algn="ctr">
                      <a:solidFill>
                        <a:schemeClr val="bg1">
                          <a:lumMod val="85000"/>
                        </a:schemeClr>
                      </a:solidFill>
                      <a:prstDash val="solid"/>
                      <a:round/>
                      <a:headEnd type="none" w="med" len="med"/>
                      <a:tailEnd type="none" w="med" len="med"/>
                    </a:lnL>
                    <a:lnB w="285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21" name="TextBox 249"/>
          <p:cNvSpPr txBox="1"/>
          <p:nvPr/>
        </p:nvSpPr>
        <p:spPr>
          <a:xfrm>
            <a:off x="246262" y="6416851"/>
            <a:ext cx="835102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Park et al. </a:t>
            </a:r>
            <a:r>
              <a:rPr kumimoji="0" lang="en-US" altLang="zh-CN" sz="1100" b="0" i="1"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Lancet Oncology 2016</a:t>
            </a:r>
            <a:r>
              <a:rPr kumimoji="0" lang="zh-CN" altLang="en-US" sz="1100" b="0" i="1"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a:t>
            </a:r>
            <a:r>
              <a:rPr kumimoji="0" lang="en-US" altLang="zh-CN" sz="1100" b="0" i="1"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17</a:t>
            </a:r>
            <a:r>
              <a:rPr kumimoji="0" lang="zh-CN" altLang="en-US" sz="1100" b="0" i="1"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a:t>
            </a:r>
            <a:r>
              <a:rPr kumimoji="0" lang="en-US" altLang="zh-CN" sz="1100" b="0" i="1"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577-89</a:t>
            </a:r>
            <a:endParaRPr kumimoji="0" lang="es-ES" sz="11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21813077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938678" y="3043646"/>
            <a:ext cx="4512992" cy="1384995"/>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2800" b="0" i="0" u="none" strike="noStrike" kern="1200" cap="none" spc="0" normalizeH="0" baseline="0" noProof="0" dirty="0">
                <a:ln>
                  <a:noFill/>
                </a:ln>
                <a:solidFill>
                  <a:prstClr val="white">
                    <a:lumMod val="50000"/>
                  </a:prstClr>
                </a:solidFill>
                <a:effectLst/>
                <a:uLnTx/>
                <a:uFillTx/>
                <a:latin typeface="Microsoft YaHei" panose="020B0503020204020204" pitchFamily="34" charset="-122"/>
                <a:ea typeface="Microsoft YaHei" panose="020B0503020204020204" pitchFamily="34" charset="-122"/>
                <a:cs typeface="+mn-cs"/>
              </a:rPr>
              <a:t>为什么吉泰瑞会比一代</a:t>
            </a:r>
            <a:r>
              <a:rPr kumimoji="0" lang="en-US" altLang="zh-CN" sz="2800" b="0" i="0" u="none" strike="noStrike" kern="1200" cap="none" spc="0" normalizeH="0" baseline="0" noProof="0" dirty="0">
                <a:ln>
                  <a:noFill/>
                </a:ln>
                <a:solidFill>
                  <a:prstClr val="white">
                    <a:lumMod val="50000"/>
                  </a:prstClr>
                </a:solidFill>
                <a:effectLst/>
                <a:uLnTx/>
                <a:uFillTx/>
                <a:latin typeface="Microsoft YaHei" panose="020B0503020204020204" pitchFamily="34" charset="-122"/>
                <a:ea typeface="Microsoft YaHei" panose="020B0503020204020204" pitchFamily="34" charset="-122"/>
                <a:cs typeface="+mn-cs"/>
              </a:rPr>
              <a:t>TKI</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2800" b="0" i="0" u="none" strike="noStrike" kern="1200" cap="none" spc="0" normalizeH="0" baseline="0" noProof="0" dirty="0">
                <a:ln>
                  <a:noFill/>
                </a:ln>
                <a:solidFill>
                  <a:prstClr val="white">
                    <a:lumMod val="50000"/>
                  </a:prstClr>
                </a:solidFill>
                <a:effectLst/>
                <a:uLnTx/>
                <a:uFillTx/>
                <a:latin typeface="Microsoft YaHei" panose="020B0503020204020204" pitchFamily="34" charset="-122"/>
                <a:ea typeface="Microsoft YaHei" panose="020B0503020204020204" pitchFamily="34" charset="-122"/>
                <a:cs typeface="+mn-cs"/>
              </a:rPr>
              <a:t>一线疗效持续时间更长？</a:t>
            </a:r>
            <a:endParaRPr kumimoji="0" lang="en-US" sz="2800" b="0" i="0" u="none" strike="noStrike" kern="1200" cap="none" spc="0" normalizeH="0" baseline="0" noProof="0" dirty="0">
              <a:ln>
                <a:noFill/>
              </a:ln>
              <a:solidFill>
                <a:prstClr val="white">
                  <a:lumMod val="50000"/>
                </a:prstClr>
              </a:solidFill>
              <a:effectLst/>
              <a:uLnTx/>
              <a:uFillTx/>
              <a:latin typeface="Microsoft YaHei" panose="020B0503020204020204" pitchFamily="34" charset="-122"/>
              <a:ea typeface="Microsoft YaHei" panose="020B0503020204020204" pitchFamily="34" charset="-122"/>
              <a:cs typeface="+mn-cs"/>
            </a:endParaRPr>
          </a:p>
        </p:txBody>
      </p:sp>
      <p:pic>
        <p:nvPicPr>
          <p:cNvPr id="6" name="图片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5060" y="1894197"/>
            <a:ext cx="2742673" cy="3683891"/>
          </a:xfrm>
          <a:prstGeom prst="rect">
            <a:avLst/>
          </a:prstGeom>
        </p:spPr>
      </p:pic>
    </p:spTree>
    <p:extLst>
      <p:ext uri="{BB962C8B-B14F-4D97-AF65-F5344CB8AC3E}">
        <p14:creationId xmlns:p14="http://schemas.microsoft.com/office/powerpoint/2010/main" val="2661088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9248" y="378689"/>
            <a:ext cx="7479120" cy="518669"/>
          </a:xfrm>
        </p:spPr>
        <p:txBody>
          <a:bodyPr>
            <a:normAutofit/>
          </a:bodyPr>
          <a:lstStyle/>
          <a:p>
            <a:r>
              <a:rPr lang="zh-CN" altLang="en-US" sz="2400" b="1" dirty="0">
                <a:latin typeface="微软雅黑" panose="020B0503020204020204" pitchFamily="34" charset="-122"/>
                <a:ea typeface="微软雅黑" panose="020B0503020204020204" pitchFamily="34" charset="-122"/>
                <a:sym typeface="+mn-lt"/>
              </a:rPr>
              <a:t>吉泰瑞</a:t>
            </a:r>
            <a:r>
              <a:rPr lang="en-US" altLang="zh-CN" sz="2400" b="1" baseline="30000" dirty="0">
                <a:latin typeface="微软雅黑" panose="020B0503020204020204" pitchFamily="34" charset="-122"/>
                <a:ea typeface="微软雅黑" panose="020B0503020204020204" pitchFamily="34" charset="-122"/>
                <a:sym typeface="+mn-lt"/>
              </a:rPr>
              <a:t>®</a:t>
            </a:r>
            <a:r>
              <a:rPr lang="zh-CN" altLang="en-US" sz="2400" b="1" dirty="0">
                <a:latin typeface="微软雅黑" panose="020B0503020204020204" pitchFamily="34" charset="-122"/>
                <a:ea typeface="微软雅黑" panose="020B0503020204020204" pitchFamily="34" charset="-122"/>
                <a:sym typeface="+mn-lt"/>
              </a:rPr>
              <a:t>是首个不可逆的</a:t>
            </a:r>
            <a:r>
              <a:rPr lang="en-US" altLang="zh-CN" sz="2400" b="1" dirty="0">
                <a:latin typeface="微软雅黑" panose="020B0503020204020204" pitchFamily="34" charset="-122"/>
                <a:ea typeface="微软雅黑" panose="020B0503020204020204" pitchFamily="34" charset="-122"/>
                <a:sym typeface="+mn-lt"/>
              </a:rPr>
              <a:t>ErbB</a:t>
            </a:r>
            <a:r>
              <a:rPr lang="zh-CN" altLang="en-US" sz="2400" b="1" dirty="0">
                <a:latin typeface="微软雅黑" panose="020B0503020204020204" pitchFamily="34" charset="-122"/>
                <a:ea typeface="微软雅黑" panose="020B0503020204020204" pitchFamily="34" charset="-122"/>
                <a:sym typeface="+mn-lt"/>
              </a:rPr>
              <a:t>家族受体阻断剂</a:t>
            </a:r>
          </a:p>
        </p:txBody>
      </p:sp>
      <p:sp>
        <p:nvSpPr>
          <p:cNvPr id="11" name="Content Placeholder 10"/>
          <p:cNvSpPr>
            <a:spLocks noGrp="1"/>
          </p:cNvSpPr>
          <p:nvPr>
            <p:ph sz="quarter" idx="10"/>
          </p:nvPr>
        </p:nvSpPr>
        <p:spPr>
          <a:xfrm>
            <a:off x="316624" y="6021910"/>
            <a:ext cx="8004367" cy="589392"/>
          </a:xfrm>
        </p:spPr>
        <p:txBody>
          <a:bodyPr/>
          <a:lstStyle/>
          <a:p>
            <a:pPr defTabSz="913532">
              <a:defRPr/>
            </a:pPr>
            <a:r>
              <a:rPr lang="zh-CN" sz="1000" dirty="0">
                <a:solidFill>
                  <a:schemeClr val="tx1"/>
                </a:solidFill>
                <a:latin typeface="Arial" panose="020B0604020202020204" pitchFamily="34" charset="0"/>
                <a:cs typeface="Arial" panose="020B0604020202020204" pitchFamily="34" charset="0"/>
                <a:sym typeface="+mn-lt"/>
              </a:rPr>
              <a:t>1.Hirsh.</a:t>
            </a:r>
            <a:r>
              <a:rPr lang="zh-CN" sz="1000" i="1" dirty="0">
                <a:solidFill>
                  <a:schemeClr val="tx1"/>
                </a:solidFill>
                <a:latin typeface="Arial" panose="020B0604020202020204" pitchFamily="34" charset="0"/>
                <a:cs typeface="Arial" panose="020B0604020202020204" pitchFamily="34" charset="0"/>
                <a:sym typeface="+mn-lt"/>
              </a:rPr>
              <a:t>BioDrugs</a:t>
            </a:r>
            <a:r>
              <a:rPr lang="zh-CN" sz="1000" dirty="0">
                <a:solidFill>
                  <a:schemeClr val="tx1"/>
                </a:solidFill>
                <a:latin typeface="Arial" panose="020B0604020202020204" pitchFamily="34" charset="0"/>
                <a:cs typeface="Arial" panose="020B0604020202020204" pitchFamily="34" charset="0"/>
                <a:sym typeface="+mn-lt"/>
              </a:rPr>
              <a:t>.2015;29:167</a:t>
            </a:r>
            <a:endParaRPr lang="en-US" altLang="zh-CN" sz="1000" dirty="0">
              <a:solidFill>
                <a:schemeClr val="tx1"/>
              </a:solidFill>
              <a:latin typeface="Arial" panose="020B0604020202020204" pitchFamily="34" charset="0"/>
              <a:cs typeface="Arial" panose="020B0604020202020204" pitchFamily="34" charset="0"/>
              <a:sym typeface="+mn-lt"/>
            </a:endParaRPr>
          </a:p>
          <a:p>
            <a:pPr defTabSz="913532">
              <a:defRPr/>
            </a:pPr>
            <a:r>
              <a:rPr lang="zh-CN" sz="1000" dirty="0">
                <a:solidFill>
                  <a:schemeClr val="tx1"/>
                </a:solidFill>
                <a:latin typeface="Arial" panose="020B0604020202020204" pitchFamily="34" charset="0"/>
                <a:cs typeface="Arial" panose="020B0604020202020204" pitchFamily="34" charset="0"/>
                <a:sym typeface="+mn-lt"/>
              </a:rPr>
              <a:t>2.Li et al.</a:t>
            </a:r>
            <a:r>
              <a:rPr lang="zh-CN" sz="1000" i="1" dirty="0">
                <a:solidFill>
                  <a:schemeClr val="tx1"/>
                </a:solidFill>
                <a:latin typeface="Arial" panose="020B0604020202020204" pitchFamily="34" charset="0"/>
                <a:cs typeface="Arial" panose="020B0604020202020204" pitchFamily="34" charset="0"/>
                <a:sym typeface="+mn-lt"/>
              </a:rPr>
              <a:t>Oncogene</a:t>
            </a:r>
            <a:r>
              <a:rPr lang="zh-CN" sz="1000" dirty="0">
                <a:solidFill>
                  <a:schemeClr val="tx1"/>
                </a:solidFill>
                <a:latin typeface="Arial" panose="020B0604020202020204" pitchFamily="34" charset="0"/>
                <a:cs typeface="Arial" panose="020B0604020202020204" pitchFamily="34" charset="0"/>
                <a:sym typeface="+mn-lt"/>
              </a:rPr>
              <a:t>.2008;27:4702 </a:t>
            </a:r>
            <a:endParaRPr lang="en-US" altLang="zh-CN" sz="1000" dirty="0">
              <a:solidFill>
                <a:schemeClr val="tx1"/>
              </a:solidFill>
              <a:latin typeface="Arial" panose="020B0604020202020204" pitchFamily="34" charset="0"/>
              <a:cs typeface="Arial" panose="020B0604020202020204" pitchFamily="34" charset="0"/>
              <a:sym typeface="+mn-lt"/>
            </a:endParaRPr>
          </a:p>
          <a:p>
            <a:pPr defTabSz="913532">
              <a:defRPr/>
            </a:pPr>
            <a:r>
              <a:rPr lang="zh-CN" sz="1000" dirty="0">
                <a:solidFill>
                  <a:schemeClr val="tx1"/>
                </a:solidFill>
                <a:latin typeface="Arial" panose="020B0604020202020204" pitchFamily="34" charset="0"/>
                <a:cs typeface="Arial" panose="020B0604020202020204" pitchFamily="34" charset="0"/>
                <a:sym typeface="+mn-lt"/>
              </a:rPr>
              <a:t>3.Solca et al.</a:t>
            </a:r>
            <a:r>
              <a:rPr lang="zh-CN" sz="1000" i="1" dirty="0">
                <a:solidFill>
                  <a:schemeClr val="tx1"/>
                </a:solidFill>
                <a:latin typeface="Arial" panose="020B0604020202020204" pitchFamily="34" charset="0"/>
                <a:cs typeface="Arial" panose="020B0604020202020204" pitchFamily="34" charset="0"/>
                <a:sym typeface="+mn-lt"/>
              </a:rPr>
              <a:t>J Pharmacol Exp Ther</a:t>
            </a:r>
            <a:r>
              <a:rPr lang="zh-CN" sz="1000" dirty="0">
                <a:solidFill>
                  <a:schemeClr val="tx1"/>
                </a:solidFill>
                <a:latin typeface="Arial" panose="020B0604020202020204" pitchFamily="34" charset="0"/>
                <a:cs typeface="Arial" panose="020B0604020202020204" pitchFamily="34" charset="0"/>
                <a:sym typeface="+mn-lt"/>
              </a:rPr>
              <a:t>.2012;343:342</a:t>
            </a:r>
            <a:r>
              <a:rPr lang="zh-CN" dirty="0">
                <a:solidFill>
                  <a:srgbClr val="58595B"/>
                </a:solidFill>
                <a:latin typeface="Arial" panose="020B0604020202020204" pitchFamily="34" charset="0"/>
                <a:cs typeface="Arial" panose="020B0604020202020204" pitchFamily="34" charset="0"/>
                <a:sym typeface="+mn-lt"/>
              </a:rPr>
              <a:t>.</a:t>
            </a:r>
          </a:p>
          <a:p>
            <a:endParaRPr lang="zh-CN" dirty="0">
              <a:latin typeface="Arial" panose="020B0604020202020204" pitchFamily="34" charset="0"/>
              <a:cs typeface="Arial" panose="020B0604020202020204" pitchFamily="34" charset="0"/>
              <a:sym typeface="+mn-lt"/>
            </a:endParaRPr>
          </a:p>
        </p:txBody>
      </p:sp>
      <p:pic>
        <p:nvPicPr>
          <p:cNvPr id="5"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8481" y="1571868"/>
            <a:ext cx="3307495" cy="4232787"/>
          </a:xfrm>
          <a:prstGeom prst="rect">
            <a:avLst/>
          </a:prstGeom>
          <a:noFill/>
          <a:ln w="9525">
            <a:noFill/>
            <a:miter lim="800000"/>
            <a:headEnd/>
            <a:tailEnd/>
          </a:ln>
        </p:spPr>
      </p:pic>
      <p:sp>
        <p:nvSpPr>
          <p:cNvPr id="9" name="Content Placeholder 2"/>
          <p:cNvSpPr txBox="1">
            <a:spLocks/>
          </p:cNvSpPr>
          <p:nvPr/>
        </p:nvSpPr>
        <p:spPr>
          <a:xfrm>
            <a:off x="4095275" y="1809459"/>
            <a:ext cx="4250427" cy="3995196"/>
          </a:xfrm>
          <a:prstGeom prst="rect">
            <a:avLst/>
          </a:prstGeom>
        </p:spPr>
        <p:txBody>
          <a:bodyPr/>
          <a:lstStyle>
            <a:lvl1pPr marL="227013" indent="-227013" algn="l" defTabSz="914400" rtl="0" eaLnBrk="1" latinLnBrk="0" hangingPunct="1">
              <a:lnSpc>
                <a:spcPct val="100000"/>
              </a:lnSpc>
              <a:spcBef>
                <a:spcPts val="1200"/>
              </a:spcBef>
              <a:spcAft>
                <a:spcPts val="0"/>
              </a:spcAft>
              <a:buClr>
                <a:schemeClr val="accent4"/>
              </a:buClr>
              <a:buFont typeface="Arial" panose="020B0604020202020204" pitchFamily="34" charset="0"/>
              <a:buChar char="•"/>
              <a:defRPr sz="1800" b="0" i="0" kern="1200" baseline="0">
                <a:solidFill>
                  <a:schemeClr val="tx1"/>
                </a:solidFill>
                <a:latin typeface="+mn-lt"/>
                <a:ea typeface="+mn-ea"/>
                <a:cs typeface="Arial" pitchFamily="34" charset="0"/>
              </a:defRPr>
            </a:lvl1pPr>
            <a:lvl2pPr marL="571500" indent="-231775" algn="l" defTabSz="914400" rtl="0" eaLnBrk="1" latinLnBrk="0" hangingPunct="1">
              <a:lnSpc>
                <a:spcPct val="100000"/>
              </a:lnSpc>
              <a:spcBef>
                <a:spcPts val="400"/>
              </a:spcBef>
              <a:spcAft>
                <a:spcPts val="0"/>
              </a:spcAft>
              <a:buClr>
                <a:schemeClr val="accent4"/>
              </a:buClr>
              <a:buSzPct val="85000"/>
              <a:buFont typeface="Arial" pitchFamily="34" charset="0"/>
              <a:buChar char="–"/>
              <a:tabLst/>
              <a:defRPr sz="1600" kern="1200">
                <a:solidFill>
                  <a:schemeClr val="tx1"/>
                </a:solidFill>
                <a:latin typeface="+mn-lt"/>
                <a:ea typeface="+mn-ea"/>
                <a:cs typeface="Arial" pitchFamily="34" charset="0"/>
              </a:defRPr>
            </a:lvl2pPr>
            <a:lvl3pPr marL="914400" indent="-228600" algn="l" defTabSz="914400" rtl="0" eaLnBrk="1" latinLnBrk="0" hangingPunct="1">
              <a:lnSpc>
                <a:spcPct val="100000"/>
              </a:lnSpc>
              <a:spcBef>
                <a:spcPts val="400"/>
              </a:spcBef>
              <a:spcAft>
                <a:spcPts val="0"/>
              </a:spcAft>
              <a:buClr>
                <a:schemeClr val="accent4"/>
              </a:buClr>
              <a:buFont typeface="Wingdings" panose="05000000000000000000" pitchFamily="2" charset="2"/>
              <a:buChar char="§"/>
              <a:defRPr sz="1400" kern="1200">
                <a:solidFill>
                  <a:schemeClr val="tx1"/>
                </a:solidFill>
                <a:latin typeface="+mn-lt"/>
                <a:ea typeface="+mn-ea"/>
                <a:cs typeface="Arial" pitchFamily="34" charset="0"/>
              </a:defRPr>
            </a:lvl3pPr>
            <a:lvl4pPr marL="1257300" indent="-227013" algn="l" defTabSz="914400" rtl="0" eaLnBrk="1" latinLnBrk="0" hangingPunct="1">
              <a:lnSpc>
                <a:spcPct val="100000"/>
              </a:lnSpc>
              <a:spcBef>
                <a:spcPts val="400"/>
              </a:spcBef>
              <a:spcAft>
                <a:spcPts val="0"/>
              </a:spcAft>
              <a:buClr>
                <a:schemeClr val="accent4"/>
              </a:buClr>
              <a:buSzPct val="85000"/>
              <a:buFont typeface="Arial" pitchFamily="34" charset="0"/>
              <a:buChar char="»"/>
              <a:defRPr sz="1200" kern="1200">
                <a:solidFill>
                  <a:schemeClr val="tx1"/>
                </a:solidFill>
                <a:latin typeface="+mn-lt"/>
                <a:ea typeface="+mn-ea"/>
                <a:cs typeface="Arial" pitchFamily="34" charset="0"/>
              </a:defRPr>
            </a:lvl4pPr>
            <a:lvl5pPr marL="1600200" indent="-227013" algn="l" defTabSz="914400" rtl="0" eaLnBrk="1" latinLnBrk="0" hangingPunct="1">
              <a:lnSpc>
                <a:spcPct val="100000"/>
              </a:lnSpc>
              <a:spcBef>
                <a:spcPts val="400"/>
              </a:spcBef>
              <a:spcAft>
                <a:spcPts val="0"/>
              </a:spcAft>
              <a:buClr>
                <a:schemeClr val="accent4"/>
              </a:buClr>
              <a:buFont typeface="Wingdings" panose="05000000000000000000" pitchFamily="2" charset="2"/>
              <a:buChar char="Ø"/>
              <a:defRPr sz="1100" kern="1200">
                <a:solidFill>
                  <a:schemeClr val="tx1"/>
                </a:solidFill>
                <a:latin typeface="+mn-lt"/>
                <a:ea typeface="+mn-ea"/>
                <a:cs typeface="Arial" pitchFamily="34" charset="0"/>
              </a:defRPr>
            </a:lvl5pPr>
            <a:lvl6pPr marL="1257300" indent="-173038" algn="l" defTabSz="914400" rtl="0" eaLnBrk="1" latinLnBrk="0" hangingPunct="1">
              <a:lnSpc>
                <a:spcPct val="90000"/>
              </a:lnSpc>
              <a:spcBef>
                <a:spcPts val="0"/>
              </a:spcBef>
              <a:spcAft>
                <a:spcPts val="600"/>
              </a:spcAft>
              <a:buClr>
                <a:schemeClr val="tx1"/>
              </a:buClr>
              <a:buSzPct val="85000"/>
              <a:buFont typeface="Arial" pitchFamily="34" charset="0"/>
              <a:buChar char="–"/>
              <a:defRPr sz="1200" kern="1200" baseline="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50000"/>
              </a:lnSpc>
              <a:spcBef>
                <a:spcPts val="1200"/>
              </a:spcBef>
              <a:spcAft>
                <a:spcPts val="0"/>
              </a:spcAft>
              <a:buClr>
                <a:srgbClr val="C3B600"/>
              </a:buClr>
              <a:buSzTx/>
              <a:buFont typeface="+mj-lt"/>
              <a:buAutoNum type="arabicPeriod"/>
              <a:tabLst/>
              <a:defRPr/>
            </a:pPr>
            <a:r>
              <a:rPr kumimoji="0" lang="zh-CN" altLang="en-US" sz="1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ea"/>
                <a:sym typeface="+mn-lt"/>
              </a:rPr>
              <a:t>不可逆抑制，阻断信号更彻底</a:t>
            </a:r>
            <a:endParaRPr kumimoji="0" lang="en-US" altLang="zh-CN" sz="1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ea"/>
              <a:sym typeface="+mn-lt"/>
            </a:endParaRPr>
          </a:p>
          <a:p>
            <a:pPr marL="227013" marR="0" lvl="0" indent="-227013" algn="l" defTabSz="914400" rtl="0" eaLnBrk="1" fontAlgn="auto" latinLnBrk="0" hangingPunct="1">
              <a:lnSpc>
                <a:spcPct val="150000"/>
              </a:lnSpc>
              <a:spcBef>
                <a:spcPts val="1200"/>
              </a:spcBef>
              <a:spcAft>
                <a:spcPts val="0"/>
              </a:spcAft>
              <a:buClr>
                <a:srgbClr val="C3B600"/>
              </a:buClr>
              <a:buSzTx/>
              <a:buFont typeface="Arial" panose="020B0604020202020204" pitchFamily="34" charset="0"/>
              <a:buChar char="•"/>
              <a:tabLst/>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ea"/>
                <a:sym typeface="+mn-lt"/>
              </a:rPr>
              <a:t>吉泰瑞与</a:t>
            </a:r>
            <a:r>
              <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ea"/>
                <a:sym typeface="+mn-lt"/>
              </a:rPr>
              <a:t>EGFR, HER2</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ea"/>
                <a:sym typeface="+mn-lt"/>
              </a:rPr>
              <a:t>和</a:t>
            </a:r>
            <a:r>
              <a:rPr kumimoji="0" lang="en-US" altLang="zh-CN" sz="14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ea"/>
                <a:sym typeface="+mn-lt"/>
              </a:rPr>
              <a:t>ErbB4</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ea"/>
                <a:sym typeface="+mn-lt"/>
              </a:rPr>
              <a:t>受体的酪氨酸激酶段形成共价结合，且不可逆</a:t>
            </a:r>
            <a:r>
              <a:rPr kumimoji="0" lang="en-US" altLang="zh-CN" sz="1400" b="0" i="0" u="none" strike="noStrike" kern="1200"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cs typeface="+mn-ea"/>
                <a:sym typeface="+mn-lt"/>
              </a:rPr>
              <a:t>1-3</a:t>
            </a:r>
          </a:p>
          <a:p>
            <a:pPr marL="0" marR="0" lvl="0" indent="0" algn="l" defTabSz="914400" rtl="0" eaLnBrk="1" fontAlgn="auto" latinLnBrk="0" hangingPunct="1">
              <a:lnSpc>
                <a:spcPct val="150000"/>
              </a:lnSpc>
              <a:spcBef>
                <a:spcPts val="1200"/>
              </a:spcBef>
              <a:spcAft>
                <a:spcPts val="0"/>
              </a:spcAft>
              <a:buClr>
                <a:srgbClr val="C3B600"/>
              </a:buClr>
              <a:buSzTx/>
              <a:buFont typeface="Arial" panose="020B0604020202020204" pitchFamily="34" charset="0"/>
              <a:buNone/>
              <a:tabLst/>
              <a:defRPr/>
            </a:pPr>
            <a:endParaRPr kumimoji="0" lang="en-US" altLang="zh-CN" sz="1400" b="0" i="0" u="none" strike="noStrike" kern="1200"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cs typeface="+mn-ea"/>
              <a:sym typeface="+mn-lt"/>
            </a:endParaRPr>
          </a:p>
          <a:p>
            <a:pPr marL="342900" marR="0" lvl="0" indent="-342900" algn="l" defTabSz="914400" rtl="0" eaLnBrk="1" fontAlgn="auto" latinLnBrk="0" hangingPunct="1">
              <a:lnSpc>
                <a:spcPct val="150000"/>
              </a:lnSpc>
              <a:spcBef>
                <a:spcPts val="1200"/>
              </a:spcBef>
              <a:spcAft>
                <a:spcPts val="0"/>
              </a:spcAft>
              <a:buClr>
                <a:srgbClr val="C3B600"/>
              </a:buClr>
              <a:buSzTx/>
              <a:buFont typeface="+mj-lt"/>
              <a:buAutoNum type="arabicPeriod" startAt="2"/>
              <a:tabLst/>
              <a:defRPr/>
            </a:pPr>
            <a:r>
              <a:rPr kumimoji="0" lang="zh-CN" altLang="en-US" sz="1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ea"/>
                <a:sym typeface="+mn-lt"/>
              </a:rPr>
              <a:t>泛</a:t>
            </a:r>
            <a:r>
              <a:rPr kumimoji="0" lang="en-US" altLang="zh-CN" sz="1800" b="1" i="0" u="none" strike="noStrike" kern="1200" cap="none" spc="0"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cs typeface="+mn-ea"/>
                <a:sym typeface="+mn-lt"/>
              </a:rPr>
              <a:t>ErbB</a:t>
            </a:r>
            <a:r>
              <a:rPr kumimoji="0" lang="zh-CN" altLang="en-US" sz="1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ea"/>
                <a:sym typeface="+mn-lt"/>
              </a:rPr>
              <a:t>家族抑制，防止旁路激活</a:t>
            </a:r>
          </a:p>
          <a:p>
            <a:pPr marL="227013" marR="0" lvl="0" indent="-227013" algn="l" defTabSz="914400" rtl="0" eaLnBrk="1" fontAlgn="auto" latinLnBrk="0" hangingPunct="1">
              <a:lnSpc>
                <a:spcPct val="150000"/>
              </a:lnSpc>
              <a:spcBef>
                <a:spcPts val="1200"/>
              </a:spcBef>
              <a:spcAft>
                <a:spcPts val="0"/>
              </a:spcAft>
              <a:buClr>
                <a:srgbClr val="C3B600"/>
              </a:buClr>
              <a:buSzTx/>
              <a:buFont typeface="Arial" panose="020B0604020202020204" pitchFamily="34" charset="0"/>
              <a:buChar char="•"/>
              <a:tabLst/>
              <a:defRPr/>
            </a:pPr>
            <a:r>
              <a:rPr kumimoji="0" lang="en-US" altLang="zh-CN" sz="1400" b="0" i="0" u="none" strike="noStrike" kern="1200" cap="none" spc="0"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cs typeface="+mn-ea"/>
                <a:sym typeface="+mn-lt"/>
              </a:rPr>
              <a:t>ErbB</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ea"/>
                <a:sym typeface="+mn-lt"/>
              </a:rPr>
              <a:t>家族成员可以形成同源或者异源二聚体，触发信号传导</a:t>
            </a:r>
            <a:endPar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ea"/>
              <a:sym typeface="+mn-lt"/>
            </a:endParaRPr>
          </a:p>
          <a:p>
            <a:pPr marL="227013" marR="0" lvl="0" indent="-227013" algn="l" defTabSz="914400" rtl="0" eaLnBrk="1" fontAlgn="auto" latinLnBrk="0" hangingPunct="1">
              <a:lnSpc>
                <a:spcPct val="150000"/>
              </a:lnSpc>
              <a:spcBef>
                <a:spcPts val="1200"/>
              </a:spcBef>
              <a:spcAft>
                <a:spcPts val="0"/>
              </a:spcAft>
              <a:buClr>
                <a:srgbClr val="C3B600"/>
              </a:buClr>
              <a:buSzTx/>
              <a:buFont typeface="Arial" panose="020B0604020202020204" pitchFamily="34" charset="0"/>
              <a:buChar char="•"/>
              <a:tabLst/>
              <a:defRPr/>
            </a:pP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ea"/>
                <a:sym typeface="+mn-lt"/>
              </a:rPr>
              <a:t>对整个</a:t>
            </a:r>
            <a:r>
              <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ea"/>
                <a:sym typeface="+mn-lt"/>
              </a:rPr>
              <a:t>ErbB</a:t>
            </a:r>
            <a:r>
              <a:rPr kumimoji="0" lang="zh-CN" altLang="en-US"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ea"/>
                <a:sym typeface="+mn-lt"/>
              </a:rPr>
              <a:t>家族的作用提高了对肿瘤发生发展信号通路的抑制作用</a:t>
            </a:r>
            <a:r>
              <a:rPr kumimoji="0" lang="en-US" altLang="zh-CN" sz="1400" b="0" i="0" u="none" strike="noStrike" kern="1200"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cs typeface="+mn-ea"/>
                <a:sym typeface="+mn-lt"/>
              </a:rPr>
              <a:t>2</a:t>
            </a:r>
            <a:endParaRPr kumimoji="0" lang="zh-CN" altLang="en-US" sz="1400" b="0" i="0" u="none" strike="noStrike" kern="1200" cap="none" spc="0" normalizeH="0" baseline="30000" noProof="0" dirty="0">
              <a:ln>
                <a:noFill/>
              </a:ln>
              <a:solidFill>
                <a:prstClr val="black"/>
              </a:solidFill>
              <a:effectLst/>
              <a:uLnTx/>
              <a:uFillTx/>
              <a:latin typeface="微软雅黑" panose="020B0503020204020204" pitchFamily="34" charset="-122"/>
              <a:ea typeface="微软雅黑" panose="020B0503020204020204" pitchFamily="34" charset="-122"/>
              <a:cs typeface="+mn-ea"/>
              <a:sym typeface="+mn-lt"/>
            </a:endParaRPr>
          </a:p>
        </p:txBody>
      </p:sp>
    </p:spTree>
    <p:extLst>
      <p:ext uri="{BB962C8B-B14F-4D97-AF65-F5344CB8AC3E}">
        <p14:creationId xmlns:p14="http://schemas.microsoft.com/office/powerpoint/2010/main" val="29475081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a:xfrm>
            <a:off x="443277" y="375216"/>
            <a:ext cx="8550275" cy="406265"/>
          </a:xfrm>
        </p:spPr>
        <p:txBody>
          <a:bodyPr/>
          <a:lstStyle/>
          <a:p>
            <a:r>
              <a:rPr lang="zh-CN" altLang="en-US" sz="2400" b="1" dirty="0">
                <a:latin typeface="Microsoft YaHei" panose="020B0503020204020204" pitchFamily="34" charset="-122"/>
                <a:ea typeface="Microsoft YaHei" panose="020B0503020204020204" pitchFamily="34" charset="-122"/>
              </a:rPr>
              <a:t>主要内容</a:t>
            </a:r>
            <a:endParaRPr lang="en-US" sz="2400" b="1" dirty="0">
              <a:latin typeface="Microsoft YaHei" panose="020B0503020204020204" pitchFamily="34" charset="-122"/>
              <a:ea typeface="Microsoft YaHei" panose="020B0503020204020204" pitchFamily="34" charset="-122"/>
            </a:endParaRPr>
          </a:p>
        </p:txBody>
      </p:sp>
      <p:cxnSp>
        <p:nvCxnSpPr>
          <p:cNvPr id="8" name="直接连接符 7"/>
          <p:cNvCxnSpPr/>
          <p:nvPr/>
        </p:nvCxnSpPr>
        <p:spPr>
          <a:xfrm>
            <a:off x="443277" y="1998617"/>
            <a:ext cx="0" cy="3487783"/>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6" name="文本框 5"/>
          <p:cNvSpPr txBox="1"/>
          <p:nvPr/>
        </p:nvSpPr>
        <p:spPr>
          <a:xfrm>
            <a:off x="443277" y="1998617"/>
            <a:ext cx="8700723" cy="4247317"/>
          </a:xfrm>
          <a:prstGeom prst="rect">
            <a:avLst/>
          </a:prstGeom>
          <a:noFill/>
        </p:spPr>
        <p:txBody>
          <a:bodyPr wrap="square" rtlCol="0">
            <a:spAutoFit/>
          </a:bodyPr>
          <a:lstStyle/>
          <a:p>
            <a:pPr marL="285750" marR="0" lvl="0" indent="-285750" algn="l" defTabSz="914400" rtl="0" eaLnBrk="1" fontAlgn="auto" latinLnBrk="0" hangingPunct="1">
              <a:lnSpc>
                <a:spcPct val="150000"/>
              </a:lnSpc>
              <a:spcBef>
                <a:spcPts val="0"/>
              </a:spcBef>
              <a:spcAft>
                <a:spcPts val="0"/>
              </a:spcAft>
              <a:buClr>
                <a:srgbClr val="C3B600"/>
              </a:buClr>
              <a:buSzTx/>
              <a:buFont typeface="Wingdings" panose="05000000000000000000" pitchFamily="2" charset="2"/>
              <a:buChar char="§"/>
              <a:tabLst/>
              <a:defRPr/>
            </a:pPr>
            <a:r>
              <a:rPr kumimoji="0" lang="zh-CN" altLang="en-US"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吉泰瑞</a:t>
            </a:r>
            <a:r>
              <a:rPr kumimoji="0" lang="en-US" altLang="zh-CN" sz="2000" b="0" i="0" u="none" strike="noStrike" kern="1200" cap="none" spc="0" normalizeH="0" baseline="3000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a:t>
            </a:r>
            <a:r>
              <a:rPr kumimoji="0" lang="zh-CN" altLang="en-US"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首个证实在一线治疗</a:t>
            </a:r>
            <a:r>
              <a:rPr kumimoji="0" lang="en-US" altLang="zh-CN"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EGFR</a:t>
            </a:r>
            <a:r>
              <a:rPr kumimoji="0" lang="zh-CN" altLang="en-US"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常见突变患者中有</a:t>
            </a:r>
            <a:r>
              <a:rPr kumimoji="0" lang="en-US" altLang="zh-CN"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OS</a:t>
            </a:r>
            <a:r>
              <a:rPr kumimoji="0" lang="zh-CN" altLang="en-US"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获益的</a:t>
            </a:r>
            <a:r>
              <a:rPr kumimoji="0" lang="en-US" altLang="zh-CN"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EGFR-TKI</a:t>
            </a:r>
          </a:p>
          <a:p>
            <a:pPr marL="285750" marR="0" lvl="0" indent="-285750" algn="l" defTabSz="914400" rtl="0" eaLnBrk="1" fontAlgn="auto" latinLnBrk="0" hangingPunct="1">
              <a:lnSpc>
                <a:spcPct val="150000"/>
              </a:lnSpc>
              <a:spcBef>
                <a:spcPts val="0"/>
              </a:spcBef>
              <a:spcAft>
                <a:spcPts val="0"/>
              </a:spcAft>
              <a:buClr>
                <a:srgbClr val="C3B600"/>
              </a:buClr>
              <a:buSzTx/>
              <a:buFont typeface="Wingdings" panose="05000000000000000000" pitchFamily="2" charset="2"/>
              <a:buChar char="§"/>
              <a:tabLst/>
              <a:defRPr/>
            </a:pPr>
            <a:endParaRPr kumimoji="0" lang="en-US"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endParaRPr>
          </a:p>
          <a:p>
            <a:pPr marL="285750" lvl="0" indent="-285750" defTabSz="914400">
              <a:lnSpc>
                <a:spcPct val="150000"/>
              </a:lnSpc>
              <a:buClr>
                <a:srgbClr val="C3B600"/>
              </a:buClr>
              <a:buFont typeface="Wingdings" panose="05000000000000000000" pitchFamily="2" charset="2"/>
              <a:buChar char="§"/>
              <a:defRPr/>
            </a:pPr>
            <a:r>
              <a:rPr kumimoji="0" lang="zh-CN" altLang="en-US"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吉泰瑞</a:t>
            </a:r>
            <a:r>
              <a:rPr kumimoji="0" lang="en-US" altLang="zh-CN" sz="2000" b="0" i="0" u="none" strike="noStrike" kern="1200" cap="none" spc="0" normalizeH="0" baseline="3000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a:t>
            </a:r>
            <a:r>
              <a:rPr lang="zh-CN" altLang="en-US" sz="2000" dirty="0">
                <a:solidFill>
                  <a:schemeClr val="bg1">
                    <a:lumMod val="50000"/>
                  </a:schemeClr>
                </a:solidFill>
                <a:latin typeface="Microsoft YaHei" panose="020B0503020204020204" pitchFamily="34" charset="-122"/>
                <a:ea typeface="Microsoft YaHei" panose="020B0503020204020204" pitchFamily="34" charset="-122"/>
              </a:rPr>
              <a:t>一线治疗较</a:t>
            </a:r>
            <a:r>
              <a:rPr kumimoji="0" lang="zh-CN" altLang="en-US"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一代</a:t>
            </a:r>
            <a:r>
              <a:rPr kumimoji="0" lang="en-US" altLang="zh-CN"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TKI</a:t>
            </a:r>
            <a:r>
              <a:rPr kumimoji="0" lang="zh-CN" altLang="en-US"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显著延长</a:t>
            </a:r>
            <a:r>
              <a:rPr kumimoji="0" lang="en-US" altLang="zh-CN"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EGFR</a:t>
            </a:r>
            <a:r>
              <a:rPr kumimoji="0" lang="zh-CN" altLang="en-US"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常见突变患者</a:t>
            </a:r>
            <a:r>
              <a:rPr kumimoji="0" lang="en-US" altLang="zh-CN"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PFS</a:t>
            </a:r>
          </a:p>
          <a:p>
            <a:pPr marL="285750" marR="0" lvl="0" indent="-285750" algn="l" defTabSz="914400" rtl="0" eaLnBrk="1" fontAlgn="auto" latinLnBrk="0" hangingPunct="1">
              <a:lnSpc>
                <a:spcPct val="150000"/>
              </a:lnSpc>
              <a:spcBef>
                <a:spcPts val="0"/>
              </a:spcBef>
              <a:spcAft>
                <a:spcPts val="0"/>
              </a:spcAft>
              <a:buClr>
                <a:srgbClr val="C3B600"/>
              </a:buClr>
              <a:buSzTx/>
              <a:buFont typeface="Wingdings" panose="05000000000000000000" pitchFamily="2" charset="2"/>
              <a:buChar char="§"/>
              <a:tabLst/>
              <a:defRPr/>
            </a:pPr>
            <a:endParaRPr kumimoji="0" lang="en-US" altLang="zh-CN"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endParaRPr>
          </a:p>
          <a:p>
            <a:pPr marL="285750" marR="0" lvl="0" indent="-285750" algn="l" defTabSz="914400" rtl="0" eaLnBrk="1" fontAlgn="auto" latinLnBrk="0" hangingPunct="1">
              <a:lnSpc>
                <a:spcPct val="150000"/>
              </a:lnSpc>
              <a:spcBef>
                <a:spcPts val="0"/>
              </a:spcBef>
              <a:spcAft>
                <a:spcPts val="0"/>
              </a:spcAft>
              <a:buClr>
                <a:srgbClr val="C3B600"/>
              </a:buClr>
              <a:buSzTx/>
              <a:buFont typeface="Wingdings" panose="05000000000000000000" pitchFamily="2" charset="2"/>
              <a:buChar char="§"/>
              <a:tabLst/>
              <a:defRPr/>
            </a:pPr>
            <a:r>
              <a:rPr kumimoji="0" lang="zh-CN" alt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吉泰瑞</a:t>
            </a:r>
            <a:r>
              <a:rPr kumimoji="0" lang="en-US" altLang="zh-CN" sz="2000" b="0" i="0" u="none" strike="noStrike" kern="1200" cap="none" spc="0" normalizeH="0" baseline="30000" noProof="0" dirty="0">
                <a:ln>
                  <a:noFill/>
                </a:ln>
                <a:effectLst/>
                <a:uLnTx/>
                <a:uFillTx/>
                <a:latin typeface="Microsoft YaHei" panose="020B0503020204020204" pitchFamily="34" charset="-122"/>
                <a:ea typeface="Microsoft YaHei" panose="020B0503020204020204" pitchFamily="34" charset="-122"/>
                <a:cs typeface="+mn-cs"/>
              </a:rPr>
              <a:t>®</a:t>
            </a:r>
            <a:r>
              <a:rPr kumimoji="0" lang="zh-CN" alt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一线治疗让患者有更多接受后续治疗的机会，带来长生存的希望</a:t>
            </a:r>
            <a:endParaRPr kumimoji="0" lang="en-US" altLang="zh-CN"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endParaRPr>
          </a:p>
          <a:p>
            <a:pPr marL="285750" marR="0" lvl="0" indent="-285750" algn="l" defTabSz="914400" rtl="0" eaLnBrk="1" fontAlgn="auto" latinLnBrk="0" hangingPunct="1">
              <a:lnSpc>
                <a:spcPct val="150000"/>
              </a:lnSpc>
              <a:spcBef>
                <a:spcPts val="0"/>
              </a:spcBef>
              <a:spcAft>
                <a:spcPts val="0"/>
              </a:spcAft>
              <a:buClr>
                <a:srgbClr val="C3B600"/>
              </a:buClr>
              <a:buSzTx/>
              <a:buFont typeface="Wingdings" panose="05000000000000000000" pitchFamily="2" charset="2"/>
              <a:buChar char="§"/>
              <a:tabLst/>
              <a:defRPr/>
            </a:pPr>
            <a:endParaRPr kumimoji="0" lang="en-US" altLang="zh-CN"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endParaRPr>
          </a:p>
          <a:p>
            <a:pPr marL="285750" indent="-285750" defTabSz="914400">
              <a:lnSpc>
                <a:spcPct val="150000"/>
              </a:lnSpc>
              <a:buClr>
                <a:srgbClr val="C3B600"/>
              </a:buClr>
              <a:buFont typeface="Wingdings" panose="05000000000000000000" pitchFamily="2" charset="2"/>
              <a:buChar char="§"/>
              <a:defRPr/>
            </a:pPr>
            <a:r>
              <a:rPr lang="zh-CN" altLang="en-US" sz="2000" dirty="0">
                <a:solidFill>
                  <a:schemeClr val="bg1">
                    <a:lumMod val="50000"/>
                  </a:schemeClr>
                </a:solidFill>
                <a:latin typeface="Microsoft YaHei" panose="020B0503020204020204" pitchFamily="34" charset="-122"/>
                <a:ea typeface="Microsoft YaHei" panose="020B0503020204020204" pitchFamily="34" charset="-122"/>
              </a:rPr>
              <a:t>吉泰瑞</a:t>
            </a:r>
            <a:r>
              <a:rPr lang="en-US" altLang="zh-CN" sz="2000" dirty="0">
                <a:solidFill>
                  <a:schemeClr val="bg1">
                    <a:lumMod val="50000"/>
                  </a:schemeClr>
                </a:solidFill>
                <a:latin typeface="Microsoft YaHei" panose="020B0503020204020204" pitchFamily="34" charset="-122"/>
                <a:ea typeface="Microsoft YaHei" panose="020B0503020204020204" pitchFamily="34" charset="-122"/>
              </a:rPr>
              <a:t>®</a:t>
            </a:r>
            <a:r>
              <a:rPr lang="zh-CN" altLang="en-US" sz="2000" dirty="0">
                <a:solidFill>
                  <a:schemeClr val="bg1">
                    <a:lumMod val="50000"/>
                  </a:schemeClr>
                </a:solidFill>
                <a:latin typeface="Microsoft YaHei" panose="020B0503020204020204" pitchFamily="34" charset="-122"/>
                <a:ea typeface="Microsoft YaHei" panose="020B0503020204020204" pitchFamily="34" charset="-122"/>
              </a:rPr>
              <a:t>一线治疗是</a:t>
            </a:r>
            <a:r>
              <a:rPr lang="en-US" altLang="zh-CN" sz="2000" dirty="0">
                <a:solidFill>
                  <a:schemeClr val="bg1">
                    <a:lumMod val="50000"/>
                  </a:schemeClr>
                </a:solidFill>
                <a:latin typeface="Microsoft YaHei" panose="020B0503020204020204" pitchFamily="34" charset="-122"/>
                <a:ea typeface="Microsoft YaHei" panose="020B0503020204020204" pitchFamily="34" charset="-122"/>
              </a:rPr>
              <a:t>EGFR</a:t>
            </a:r>
            <a:r>
              <a:rPr lang="zh-CN" altLang="en-US" sz="2000" dirty="0">
                <a:solidFill>
                  <a:schemeClr val="bg1">
                    <a:lumMod val="50000"/>
                  </a:schemeClr>
                </a:solidFill>
                <a:latin typeface="Microsoft YaHei" panose="020B0503020204020204" pitchFamily="34" charset="-122"/>
                <a:ea typeface="Microsoft YaHei" panose="020B0503020204020204" pitchFamily="34" charset="-122"/>
              </a:rPr>
              <a:t>突变患者经济的治疗选择</a:t>
            </a:r>
            <a:endParaRPr lang="en-US" altLang="zh-CN" sz="2000" dirty="0">
              <a:solidFill>
                <a:schemeClr val="bg1">
                  <a:lumMod val="50000"/>
                </a:schemeClr>
              </a:solidFill>
              <a:latin typeface="Microsoft YaHei" panose="020B0503020204020204" pitchFamily="34" charset="-122"/>
              <a:ea typeface="Microsoft YaHei" panose="020B0503020204020204" pitchFamily="34" charset="-122"/>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endParaRPr>
          </a:p>
        </p:txBody>
      </p:sp>
    </p:spTree>
    <p:extLst>
      <p:ext uri="{BB962C8B-B14F-4D97-AF65-F5344CB8AC3E}">
        <p14:creationId xmlns:p14="http://schemas.microsoft.com/office/powerpoint/2010/main" val="19101819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a:spLocks noGrp="1"/>
          </p:cNvSpPr>
          <p:nvPr>
            <p:ph type="title"/>
          </p:nvPr>
        </p:nvSpPr>
        <p:spPr>
          <a:xfrm>
            <a:off x="441282" y="281865"/>
            <a:ext cx="8049575" cy="720197"/>
          </a:xfrm>
        </p:spPr>
        <p:txBody>
          <a:bodyPr/>
          <a:lstStyle/>
          <a:p>
            <a:r>
              <a:rPr lang="zh-CN" altLang="en-US" sz="2400" b="1" dirty="0">
                <a:latin typeface="Microsoft YaHei" panose="020B0503020204020204" pitchFamily="34" charset="-122"/>
                <a:ea typeface="Microsoft YaHei" panose="020B0503020204020204" pitchFamily="34" charset="-122"/>
                <a:cs typeface="Arial" panose="020B0604020202020204" pitchFamily="34" charset="0"/>
              </a:rPr>
              <a:t>一线突变患者使用吉泰瑞，有更多有效的后续治疗机会</a:t>
            </a:r>
            <a:endParaRPr lang="en-US" sz="2400" b="1" dirty="0">
              <a:latin typeface="Microsoft YaHei" panose="020B0503020204020204" pitchFamily="34" charset="-122"/>
              <a:ea typeface="Microsoft YaHei" panose="020B0503020204020204" pitchFamily="34" charset="-122"/>
              <a:cs typeface="Arial" panose="020B0604020202020204" pitchFamily="34" charset="0"/>
            </a:endParaRP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046037"/>
            <a:ext cx="4853084" cy="29766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矩形 4"/>
          <p:cNvSpPr/>
          <p:nvPr/>
        </p:nvSpPr>
        <p:spPr>
          <a:xfrm>
            <a:off x="819407" y="2114449"/>
            <a:ext cx="3439789" cy="923330"/>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ea"/>
                <a:sym typeface="+mn-lt"/>
              </a:rPr>
              <a:t>AURA Study Phase II Extension</a:t>
            </a:r>
            <a:r>
              <a:rPr kumimoji="0" lang="zh-CN" altLang="en-US" sz="12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ea"/>
                <a:sym typeface="+mn-lt"/>
              </a:rPr>
              <a:t>：</a:t>
            </a:r>
            <a:endParaRPr kumimoji="0" lang="en-US" altLang="zh-CN" sz="12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ea"/>
              <a:sym typeface="+mn-lt"/>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ea"/>
                <a:sym typeface="+mn-lt"/>
              </a:rPr>
              <a:t>阿法替尼、厄洛替尼、吉非替尼一线治疗后</a:t>
            </a:r>
            <a:r>
              <a:rPr kumimoji="0" lang="en-US" altLang="zh-CN" sz="12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ea"/>
                <a:sym typeface="+mn-lt"/>
              </a:rPr>
              <a:t>T790M</a:t>
            </a:r>
            <a:r>
              <a:rPr kumimoji="0" lang="zh-CN" altLang="en-US" sz="12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ea"/>
                <a:sym typeface="+mn-lt"/>
              </a:rPr>
              <a:t>突变率相似</a:t>
            </a:r>
            <a:r>
              <a:rPr kumimoji="0" lang="en-US" altLang="zh-CN" sz="12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ea"/>
                <a:sym typeface="+mn-lt"/>
              </a:rPr>
              <a:t> </a:t>
            </a:r>
            <a:endParaRPr kumimoji="0" lang="zh-CN" altLang="en-US" sz="12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ea"/>
              <a:sym typeface="+mn-lt"/>
            </a:endParaRPr>
          </a:p>
        </p:txBody>
      </p:sp>
      <p:sp>
        <p:nvSpPr>
          <p:cNvPr id="6" name="文本框 5"/>
          <p:cNvSpPr txBox="1"/>
          <p:nvPr/>
        </p:nvSpPr>
        <p:spPr>
          <a:xfrm>
            <a:off x="188507" y="1477019"/>
            <a:ext cx="8596669"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一线接受吉泰瑞的患者有</a:t>
            </a:r>
            <a:r>
              <a:rPr kumimoji="0" lang="en-US" altLang="zh-CN" sz="2400" b="1" i="0" u="none" strike="noStrike" kern="1200" cap="none" spc="0" normalizeH="0" baseline="0" noProof="0" dirty="0">
                <a:ln>
                  <a:noFill/>
                </a:ln>
                <a:solidFill>
                  <a:srgbClr val="C3B600"/>
                </a:solidFill>
                <a:effectLst/>
                <a:uLnTx/>
                <a:uFillTx/>
                <a:latin typeface="Microsoft YaHei" panose="020B0503020204020204" pitchFamily="34" charset="-122"/>
                <a:ea typeface="Microsoft YaHei" panose="020B0503020204020204" pitchFamily="34" charset="-122"/>
                <a:cs typeface="+mn-cs"/>
              </a:rPr>
              <a:t>2/3</a:t>
            </a:r>
            <a:r>
              <a:rPr kumimoji="0" lang="zh-CN" altLang="en-US" sz="18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的机会出现</a:t>
            </a:r>
            <a:r>
              <a:rPr kumimoji="0" lang="en-US" altLang="zh-CN" sz="18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T790M</a:t>
            </a:r>
            <a:r>
              <a:rPr kumimoji="0" lang="zh-CN" altLang="en-US" sz="18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突变</a:t>
            </a:r>
            <a:endParaRPr kumimoji="0" lang="en-US" sz="18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p:sp>
        <p:nvSpPr>
          <p:cNvPr id="7" name="矩形 6"/>
          <p:cNvSpPr/>
          <p:nvPr/>
        </p:nvSpPr>
        <p:spPr>
          <a:xfrm>
            <a:off x="188507" y="6544353"/>
            <a:ext cx="4572000" cy="246221"/>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Yang JC, et al. J </a:t>
            </a:r>
            <a:r>
              <a:rPr kumimoji="0" lang="en-US" sz="1000" b="0" i="0" u="none" strike="noStrike" kern="1200" cap="none" spc="0" normalizeH="0" baseline="0" noProof="0" dirty="0" err="1">
                <a:ln>
                  <a:noFill/>
                </a:ln>
                <a:solidFill>
                  <a:prstClr val="black"/>
                </a:solidFill>
                <a:effectLst/>
                <a:uLnTx/>
                <a:uFillTx/>
                <a:latin typeface="Arial"/>
                <a:ea typeface="+mn-ea"/>
                <a:cs typeface="+mn-cs"/>
              </a:rPr>
              <a:t>Clin</a:t>
            </a:r>
            <a:r>
              <a:rPr kumimoji="0" lang="en-US" sz="1000" b="0" i="0" u="none" strike="noStrike" kern="1200" cap="none" spc="0" normalizeH="0" baseline="0" noProof="0" dirty="0">
                <a:ln>
                  <a:noFill/>
                </a:ln>
                <a:solidFill>
                  <a:prstClr val="black"/>
                </a:solidFill>
                <a:effectLst/>
                <a:uLnTx/>
                <a:uFillTx/>
                <a:latin typeface="Arial"/>
                <a:ea typeface="+mn-ea"/>
                <a:cs typeface="+mn-cs"/>
              </a:rPr>
              <a:t> </a:t>
            </a:r>
            <a:r>
              <a:rPr kumimoji="0" lang="en-US" sz="1000" b="0" i="0" u="none" strike="noStrike" kern="1200" cap="none" spc="0" normalizeH="0" baseline="0" noProof="0" dirty="0" err="1">
                <a:ln>
                  <a:noFill/>
                </a:ln>
                <a:solidFill>
                  <a:prstClr val="black"/>
                </a:solidFill>
                <a:effectLst/>
                <a:uLnTx/>
                <a:uFillTx/>
                <a:latin typeface="Arial"/>
                <a:ea typeface="+mn-ea"/>
                <a:cs typeface="+mn-cs"/>
              </a:rPr>
              <a:t>Oncol</a:t>
            </a:r>
            <a:r>
              <a:rPr kumimoji="0" lang="en-US" sz="1000" b="0" i="0" u="none" strike="noStrike" kern="1200" cap="none" spc="0" normalizeH="0" baseline="0" noProof="0" dirty="0">
                <a:ln>
                  <a:noFill/>
                </a:ln>
                <a:solidFill>
                  <a:prstClr val="black"/>
                </a:solidFill>
                <a:effectLst/>
                <a:uLnTx/>
                <a:uFillTx/>
                <a:latin typeface="Arial"/>
                <a:ea typeface="+mn-ea"/>
                <a:cs typeface="+mn-cs"/>
              </a:rPr>
              <a:t>. 2017 Apr 20;35(12):1288-1296.</a:t>
            </a:r>
          </a:p>
        </p:txBody>
      </p:sp>
      <p:sp>
        <p:nvSpPr>
          <p:cNvPr id="8" name="标题 2"/>
          <p:cNvSpPr txBox="1">
            <a:spLocks/>
          </p:cNvSpPr>
          <p:nvPr/>
        </p:nvSpPr>
        <p:spPr bwMode="auto">
          <a:xfrm>
            <a:off x="4545051" y="2232609"/>
            <a:ext cx="4298335" cy="623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spAutoFit/>
          </a:bodyPr>
          <a:lstStyle>
            <a:lvl1pPr algn="l" rtl="0" eaLnBrk="0" fontAlgn="base" hangingPunct="0">
              <a:lnSpc>
                <a:spcPct val="85000"/>
              </a:lnSpc>
              <a:spcBef>
                <a:spcPct val="0"/>
              </a:spcBef>
              <a:spcAft>
                <a:spcPct val="0"/>
              </a:spcAft>
              <a:defRPr sz="2700" kern="1200">
                <a:solidFill>
                  <a:schemeClr val="bg1"/>
                </a:solidFill>
                <a:latin typeface="+mj-lt"/>
                <a:ea typeface="+mj-ea"/>
                <a:cs typeface="+mj-cs"/>
              </a:defRPr>
            </a:lvl1pPr>
            <a:lvl2pPr algn="l" rtl="0" eaLnBrk="0" fontAlgn="base" hangingPunct="0">
              <a:lnSpc>
                <a:spcPct val="85000"/>
              </a:lnSpc>
              <a:spcBef>
                <a:spcPct val="0"/>
              </a:spcBef>
              <a:spcAft>
                <a:spcPct val="0"/>
              </a:spcAft>
              <a:defRPr sz="2700">
                <a:solidFill>
                  <a:schemeClr val="bg1"/>
                </a:solidFill>
                <a:latin typeface="Arial" pitchFamily="34" charset="0"/>
              </a:defRPr>
            </a:lvl2pPr>
            <a:lvl3pPr algn="l" rtl="0" eaLnBrk="0" fontAlgn="base" hangingPunct="0">
              <a:lnSpc>
                <a:spcPct val="85000"/>
              </a:lnSpc>
              <a:spcBef>
                <a:spcPct val="0"/>
              </a:spcBef>
              <a:spcAft>
                <a:spcPct val="0"/>
              </a:spcAft>
              <a:defRPr sz="2700">
                <a:solidFill>
                  <a:schemeClr val="bg1"/>
                </a:solidFill>
                <a:latin typeface="Arial" pitchFamily="34" charset="0"/>
              </a:defRPr>
            </a:lvl3pPr>
            <a:lvl4pPr algn="l" rtl="0" eaLnBrk="0" fontAlgn="base" hangingPunct="0">
              <a:lnSpc>
                <a:spcPct val="85000"/>
              </a:lnSpc>
              <a:spcBef>
                <a:spcPct val="0"/>
              </a:spcBef>
              <a:spcAft>
                <a:spcPct val="0"/>
              </a:spcAft>
              <a:defRPr sz="2700">
                <a:solidFill>
                  <a:schemeClr val="bg1"/>
                </a:solidFill>
                <a:latin typeface="Arial" pitchFamily="34" charset="0"/>
              </a:defRPr>
            </a:lvl4pPr>
            <a:lvl5pPr algn="l" rtl="0" eaLnBrk="0" fontAlgn="base" hangingPunct="0">
              <a:lnSpc>
                <a:spcPct val="85000"/>
              </a:lnSpc>
              <a:spcBef>
                <a:spcPct val="0"/>
              </a:spcBef>
              <a:spcAft>
                <a:spcPct val="0"/>
              </a:spcAft>
              <a:defRPr sz="2700">
                <a:solidFill>
                  <a:schemeClr val="bg1"/>
                </a:solidFill>
                <a:latin typeface="Arial" pitchFamily="34" charset="0"/>
              </a:defRPr>
            </a:lvl5pPr>
            <a:lvl6pPr marL="457200" algn="l" rtl="0" fontAlgn="base">
              <a:lnSpc>
                <a:spcPct val="85000"/>
              </a:lnSpc>
              <a:spcBef>
                <a:spcPct val="0"/>
              </a:spcBef>
              <a:spcAft>
                <a:spcPct val="0"/>
              </a:spcAft>
              <a:defRPr sz="2700">
                <a:solidFill>
                  <a:schemeClr val="bg1"/>
                </a:solidFill>
                <a:latin typeface="Arial" pitchFamily="34" charset="0"/>
              </a:defRPr>
            </a:lvl6pPr>
            <a:lvl7pPr marL="914400" algn="l" rtl="0" fontAlgn="base">
              <a:lnSpc>
                <a:spcPct val="85000"/>
              </a:lnSpc>
              <a:spcBef>
                <a:spcPct val="0"/>
              </a:spcBef>
              <a:spcAft>
                <a:spcPct val="0"/>
              </a:spcAft>
              <a:defRPr sz="2700">
                <a:solidFill>
                  <a:schemeClr val="bg1"/>
                </a:solidFill>
                <a:latin typeface="Arial" pitchFamily="34" charset="0"/>
              </a:defRPr>
            </a:lvl7pPr>
            <a:lvl8pPr marL="1371600" algn="l" rtl="0" fontAlgn="base">
              <a:lnSpc>
                <a:spcPct val="85000"/>
              </a:lnSpc>
              <a:spcBef>
                <a:spcPct val="0"/>
              </a:spcBef>
              <a:spcAft>
                <a:spcPct val="0"/>
              </a:spcAft>
              <a:defRPr sz="2700">
                <a:solidFill>
                  <a:schemeClr val="bg1"/>
                </a:solidFill>
                <a:latin typeface="Arial" pitchFamily="34" charset="0"/>
              </a:defRPr>
            </a:lvl8pPr>
            <a:lvl9pPr marL="1828800" algn="l" rtl="0" fontAlgn="base">
              <a:lnSpc>
                <a:spcPct val="85000"/>
              </a:lnSpc>
              <a:spcBef>
                <a:spcPct val="0"/>
              </a:spcBef>
              <a:spcAft>
                <a:spcPct val="0"/>
              </a:spcAft>
              <a:defRPr sz="2700">
                <a:solidFill>
                  <a:schemeClr val="bg1"/>
                </a:solidFill>
                <a:latin typeface="Arial" pitchFamily="34" charset="0"/>
              </a:defRPr>
            </a:lvl9pPr>
          </a:lstStyle>
          <a:p>
            <a:pPr marL="0" marR="0" lvl="0" indent="0" algn="ctr" defTabSz="914400" rtl="0" eaLnBrk="0" fontAlgn="base" latinLnBrk="0" hangingPunct="0">
              <a:lnSpc>
                <a:spcPct val="150000"/>
              </a:lnSpc>
              <a:spcBef>
                <a:spcPct val="0"/>
              </a:spcBef>
              <a:spcAft>
                <a:spcPct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ea"/>
              </a:rPr>
              <a:t>中国人群</a:t>
            </a:r>
            <a:r>
              <a:rPr kumimoji="0" lang="en-US" altLang="zh-CN" sz="12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ea"/>
              </a:rPr>
              <a:t>RWD</a:t>
            </a:r>
          </a:p>
          <a:p>
            <a:pPr marL="0" marR="0" lvl="0" indent="0" algn="ctr" defTabSz="914400" rtl="0" eaLnBrk="0" fontAlgn="base" latinLnBrk="0" hangingPunct="0">
              <a:lnSpc>
                <a:spcPct val="150000"/>
              </a:lnSpc>
              <a:spcBef>
                <a:spcPct val="0"/>
              </a:spcBef>
              <a:spcAft>
                <a:spcPct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ea"/>
              </a:rPr>
              <a:t>吉泰瑞治疗进展患者中</a:t>
            </a:r>
            <a:r>
              <a:rPr kumimoji="0" lang="en-US" altLang="zh-CN" sz="12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ea"/>
              </a:rPr>
              <a:t>T790M</a:t>
            </a:r>
            <a:r>
              <a:rPr kumimoji="0" lang="zh-CN" altLang="en-US" sz="12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ea"/>
              </a:rPr>
              <a:t>突变比例</a:t>
            </a:r>
          </a:p>
        </p:txBody>
      </p:sp>
      <p:graphicFrame>
        <p:nvGraphicFramePr>
          <p:cNvPr id="9" name="图表 8"/>
          <p:cNvGraphicFramePr/>
          <p:nvPr>
            <p:extLst/>
          </p:nvPr>
        </p:nvGraphicFramePr>
        <p:xfrm>
          <a:off x="4259196" y="3234111"/>
          <a:ext cx="2608288" cy="250487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图表 9"/>
          <p:cNvGraphicFramePr/>
          <p:nvPr>
            <p:extLst/>
          </p:nvPr>
        </p:nvGraphicFramePr>
        <p:xfrm>
          <a:off x="6487390" y="3184251"/>
          <a:ext cx="2297786" cy="3109908"/>
        </p:xfrm>
        <a:graphic>
          <a:graphicData uri="http://schemas.openxmlformats.org/drawingml/2006/chart">
            <c:chart xmlns:c="http://schemas.openxmlformats.org/drawingml/2006/chart" xmlns:r="http://schemas.openxmlformats.org/officeDocument/2006/relationships" r:id="rId5"/>
          </a:graphicData>
        </a:graphic>
      </p:graphicFrame>
      <p:sp>
        <p:nvSpPr>
          <p:cNvPr id="11" name="矩形 10"/>
          <p:cNvSpPr/>
          <p:nvPr/>
        </p:nvSpPr>
        <p:spPr>
          <a:xfrm>
            <a:off x="6487390" y="6421243"/>
            <a:ext cx="264207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altLang="zh-CN" sz="1000" b="0" i="0" u="none" strike="noStrike" kern="0" cap="none" spc="0" normalizeH="0" baseline="0" noProof="0" dirty="0">
                <a:ln>
                  <a:noFill/>
                </a:ln>
                <a:solidFill>
                  <a:srgbClr val="333333"/>
                </a:solidFill>
                <a:effectLst/>
                <a:uLnTx/>
                <a:uFillTx/>
                <a:latin typeface="Helvetica" panose="020B0604020202020204" pitchFamily="34" charset="0"/>
                <a:ea typeface="宋体" panose="02010600030101010101" pitchFamily="2" charset="-122"/>
                <a:cs typeface="+mn-cs"/>
              </a:rPr>
              <a:t>J Clin </a:t>
            </a:r>
            <a:r>
              <a:rPr kumimoji="0" lang="fr-FR" altLang="zh-CN" sz="1000" b="0" i="0" u="none" strike="noStrike" kern="0" cap="none" spc="0" normalizeH="0" baseline="0" noProof="0" dirty="0" err="1">
                <a:ln>
                  <a:noFill/>
                </a:ln>
                <a:solidFill>
                  <a:srgbClr val="333333"/>
                </a:solidFill>
                <a:effectLst/>
                <a:uLnTx/>
                <a:uFillTx/>
                <a:latin typeface="Helvetica" panose="020B0604020202020204" pitchFamily="34" charset="0"/>
                <a:ea typeface="宋体" panose="02010600030101010101" pitchFamily="2" charset="-122"/>
                <a:cs typeface="+mn-cs"/>
              </a:rPr>
              <a:t>Oncol</a:t>
            </a:r>
            <a:r>
              <a:rPr kumimoji="0" lang="fr-FR" altLang="zh-CN" sz="1000" b="0" i="0" u="none" strike="noStrike" kern="0" cap="none" spc="0" normalizeH="0" baseline="0" noProof="0" dirty="0">
                <a:ln>
                  <a:noFill/>
                </a:ln>
                <a:solidFill>
                  <a:srgbClr val="333333"/>
                </a:solidFill>
                <a:effectLst/>
                <a:uLnTx/>
                <a:uFillTx/>
                <a:latin typeface="Helvetica" panose="020B0604020202020204" pitchFamily="34" charset="0"/>
                <a:ea typeface="宋体" panose="02010600030101010101" pitchFamily="2" charset="-122"/>
                <a:cs typeface="+mn-cs"/>
              </a:rPr>
              <a:t> 37, 2019 (</a:t>
            </a:r>
            <a:r>
              <a:rPr kumimoji="0" lang="fr-FR" altLang="zh-CN" sz="1000" b="0" i="0" u="none" strike="noStrike" kern="0" cap="none" spc="0" normalizeH="0" baseline="0" noProof="0" dirty="0" err="1">
                <a:ln>
                  <a:noFill/>
                </a:ln>
                <a:solidFill>
                  <a:srgbClr val="333333"/>
                </a:solidFill>
                <a:effectLst/>
                <a:uLnTx/>
                <a:uFillTx/>
                <a:latin typeface="Helvetica" panose="020B0604020202020204" pitchFamily="34" charset="0"/>
                <a:ea typeface="宋体" panose="02010600030101010101" pitchFamily="2" charset="-122"/>
                <a:cs typeface="+mn-cs"/>
              </a:rPr>
              <a:t>suppl</a:t>
            </a:r>
            <a:r>
              <a:rPr kumimoji="0" lang="fr-FR" altLang="zh-CN" sz="1000" b="0" i="0" u="none" strike="noStrike" kern="0" cap="none" spc="0" normalizeH="0" baseline="0" noProof="0" dirty="0">
                <a:ln>
                  <a:noFill/>
                </a:ln>
                <a:solidFill>
                  <a:srgbClr val="333333"/>
                </a:solidFill>
                <a:effectLst/>
                <a:uLnTx/>
                <a:uFillTx/>
                <a:latin typeface="Helvetica" panose="020B0604020202020204" pitchFamily="34" charset="0"/>
                <a:ea typeface="宋体" panose="02010600030101010101" pitchFamily="2" charset="-122"/>
                <a:cs typeface="+mn-cs"/>
              </a:rPr>
              <a:t>; </a:t>
            </a:r>
            <a:r>
              <a:rPr kumimoji="0" lang="fr-FR" altLang="zh-CN" sz="1000" b="0" i="0" u="none" strike="noStrike" kern="0" cap="none" spc="0" normalizeH="0" baseline="0" noProof="0" dirty="0" err="1">
                <a:ln>
                  <a:noFill/>
                </a:ln>
                <a:solidFill>
                  <a:srgbClr val="333333"/>
                </a:solidFill>
                <a:effectLst/>
                <a:uLnTx/>
                <a:uFillTx/>
                <a:latin typeface="Helvetica" panose="020B0604020202020204" pitchFamily="34" charset="0"/>
                <a:ea typeface="宋体" panose="02010600030101010101" pitchFamily="2" charset="-122"/>
                <a:cs typeface="+mn-cs"/>
              </a:rPr>
              <a:t>abstr</a:t>
            </a:r>
            <a:r>
              <a:rPr kumimoji="0" lang="fr-FR" altLang="zh-CN" sz="1000" b="0" i="0" u="none" strike="noStrike" kern="0" cap="none" spc="0" normalizeH="0" baseline="0" noProof="0" dirty="0">
                <a:ln>
                  <a:noFill/>
                </a:ln>
                <a:solidFill>
                  <a:srgbClr val="333333"/>
                </a:solidFill>
                <a:effectLst/>
                <a:uLnTx/>
                <a:uFillTx/>
                <a:latin typeface="Helvetica" panose="020B0604020202020204" pitchFamily="34" charset="0"/>
                <a:ea typeface="宋体" panose="02010600030101010101" pitchFamily="2" charset="-122"/>
                <a:cs typeface="+mn-cs"/>
              </a:rPr>
              <a:t> e20518)</a:t>
            </a:r>
            <a:endParaRPr kumimoji="0" lang="zh-CN" altLang="en-US" sz="10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endParaRPr>
          </a:p>
        </p:txBody>
      </p:sp>
    </p:spTree>
    <p:extLst>
      <p:ext uri="{BB962C8B-B14F-4D97-AF65-F5344CB8AC3E}">
        <p14:creationId xmlns:p14="http://schemas.microsoft.com/office/powerpoint/2010/main" val="885682153"/>
      </p:ext>
    </p:extLst>
  </p:cSld>
  <p:clrMapOvr>
    <a:masterClrMapping/>
  </p:clrMapOvr>
  <p:transition spd="med">
    <p:wipe dir="r"/>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alpha val="99000"/>
          </a:schemeClr>
        </a:soli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462426" y="415688"/>
            <a:ext cx="8132934" cy="406265"/>
          </a:xfrm>
        </p:spPr>
        <p:txBody>
          <a:bodyPr anchor="ctr"/>
          <a:lstStyle/>
          <a:p>
            <a:r>
              <a:rPr lang="zh-CN" altLang="en-US" sz="2400" b="1" dirty="0">
                <a:latin typeface="Microsoft YaHei" panose="020B0503020204020204" pitchFamily="34" charset="-122"/>
                <a:ea typeface="Microsoft YaHei" panose="020B0503020204020204" pitchFamily="34" charset="-122"/>
              </a:rPr>
              <a:t>一线使用吉泰瑞</a:t>
            </a:r>
            <a:r>
              <a:rPr lang="en-US" altLang="zh-CN" sz="2400" b="1" baseline="30000" dirty="0">
                <a:latin typeface="Microsoft YaHei" panose="020B0503020204020204" pitchFamily="34" charset="-122"/>
                <a:ea typeface="Microsoft YaHei" panose="020B0503020204020204" pitchFamily="34" charset="-122"/>
              </a:rPr>
              <a:t>®</a:t>
            </a:r>
            <a:r>
              <a:rPr lang="zh-CN" altLang="en-US" sz="2400" b="1" dirty="0">
                <a:latin typeface="Microsoft YaHei" panose="020B0503020204020204" pitchFamily="34" charset="-122"/>
                <a:ea typeface="Microsoft YaHei" panose="020B0503020204020204" pitchFamily="34" charset="-122"/>
              </a:rPr>
              <a:t>，不影响二线使用奥希替尼的治疗时间</a:t>
            </a:r>
          </a:p>
        </p:txBody>
      </p:sp>
      <p:sp>
        <p:nvSpPr>
          <p:cNvPr id="3" name="矩形 2"/>
          <p:cNvSpPr/>
          <p:nvPr/>
        </p:nvSpPr>
        <p:spPr>
          <a:xfrm>
            <a:off x="635020" y="1298942"/>
            <a:ext cx="7787746" cy="553998"/>
          </a:xfrm>
          <a:prstGeom prst="rect">
            <a:avLst/>
          </a:prstGeom>
        </p:spPr>
        <p:txBody>
          <a:bodyPr wrap="square">
            <a:spAutoFit/>
          </a:bodyPr>
          <a:lstStyle/>
          <a:p>
            <a:pPr algn="ctr">
              <a:lnSpc>
                <a:spcPct val="150000"/>
              </a:lnSpc>
              <a:buClr>
                <a:schemeClr val="accent2"/>
              </a:buClr>
            </a:pPr>
            <a:r>
              <a:rPr lang="zh-CN" altLang="en-US" sz="2000" b="1" dirty="0">
                <a:latin typeface="微软雅黑" panose="020B0503020204020204" pitchFamily="34" charset="-122"/>
                <a:ea typeface="微软雅黑" panose="020B0503020204020204" pitchFamily="34" charset="-122"/>
              </a:rPr>
              <a:t>二线使用奥希替尼与一线使用奥希替尼的中位治疗时间相当</a:t>
            </a:r>
          </a:p>
        </p:txBody>
      </p:sp>
      <p:sp>
        <p:nvSpPr>
          <p:cNvPr id="32" name="内容占位符 6"/>
          <p:cNvSpPr txBox="1">
            <a:spLocks/>
          </p:cNvSpPr>
          <p:nvPr/>
        </p:nvSpPr>
        <p:spPr bwMode="auto">
          <a:xfrm>
            <a:off x="598991" y="1833413"/>
            <a:ext cx="4204994" cy="4052679"/>
          </a:xfrm>
          <a:prstGeom prst="rect">
            <a:avLst/>
          </a:prstGeom>
          <a:noFill/>
          <a:ln w="28575">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marL="176213" indent="-176213" algn="l" rtl="0" eaLnBrk="0" fontAlgn="base" hangingPunct="0">
              <a:lnSpc>
                <a:spcPct val="85000"/>
              </a:lnSpc>
              <a:spcBef>
                <a:spcPts val="1200"/>
              </a:spcBef>
              <a:spcAft>
                <a:spcPct val="0"/>
              </a:spcAft>
              <a:buClr>
                <a:srgbClr val="1CBECA"/>
              </a:buClr>
              <a:buFont typeface="Arial" pitchFamily="34" charset="0"/>
              <a:buChar char="•"/>
              <a:defRPr sz="2000" kern="1200">
                <a:solidFill>
                  <a:srgbClr val="595959"/>
                </a:solidFill>
                <a:latin typeface="+mn-lt"/>
                <a:ea typeface="+mn-ea"/>
                <a:cs typeface="+mn-cs"/>
              </a:defRPr>
            </a:lvl1pPr>
            <a:lvl2pPr marL="720725" indent="-263525" algn="l" rtl="0" eaLnBrk="0" fontAlgn="base" hangingPunct="0">
              <a:lnSpc>
                <a:spcPct val="85000"/>
              </a:lnSpc>
              <a:spcBef>
                <a:spcPts val="600"/>
              </a:spcBef>
              <a:spcAft>
                <a:spcPct val="0"/>
              </a:spcAft>
              <a:buClr>
                <a:srgbClr val="595959"/>
              </a:buClr>
              <a:buFont typeface="Arial" pitchFamily="34" charset="0"/>
              <a:buChar char="‒"/>
              <a:defRPr kern="1200">
                <a:solidFill>
                  <a:srgbClr val="595959"/>
                </a:solidFill>
                <a:latin typeface="+mn-lt"/>
                <a:ea typeface="+mn-ea"/>
                <a:cs typeface="+mn-cs"/>
              </a:defRPr>
            </a:lvl2pPr>
            <a:lvl3pPr marL="1073150" indent="-158750" algn="l" rtl="0" eaLnBrk="0" fontAlgn="base" hangingPunct="0">
              <a:lnSpc>
                <a:spcPct val="85000"/>
              </a:lnSpc>
              <a:spcBef>
                <a:spcPts val="400"/>
              </a:spcBef>
              <a:spcAft>
                <a:spcPct val="0"/>
              </a:spcAft>
              <a:buClr>
                <a:srgbClr val="1CBECA"/>
              </a:buClr>
              <a:buFont typeface="Arial" pitchFamily="34" charset="0"/>
              <a:buChar char="•"/>
              <a:defRPr sz="1600" kern="1200">
                <a:solidFill>
                  <a:srgbClr val="595959"/>
                </a:solidFill>
                <a:latin typeface="+mn-lt"/>
                <a:ea typeface="+mn-ea"/>
                <a:cs typeface="+mn-cs"/>
              </a:defRPr>
            </a:lvl3pPr>
            <a:lvl4pPr marL="1520825" indent="-149225" algn="l" rtl="0" eaLnBrk="0" fontAlgn="base" hangingPunct="0">
              <a:lnSpc>
                <a:spcPct val="85000"/>
              </a:lnSpc>
              <a:spcBef>
                <a:spcPct val="0"/>
              </a:spcBef>
              <a:spcAft>
                <a:spcPct val="0"/>
              </a:spcAft>
              <a:buClr>
                <a:srgbClr val="1CBECA"/>
              </a:buClr>
              <a:buFont typeface="Arial" pitchFamily="34" charset="0"/>
              <a:buChar char="•"/>
              <a:defRPr sz="1400" kern="1200">
                <a:solidFill>
                  <a:srgbClr val="595959"/>
                </a:solidFill>
                <a:latin typeface="+mn-lt"/>
                <a:ea typeface="+mn-ea"/>
                <a:cs typeface="+mn-cs"/>
              </a:defRPr>
            </a:lvl4pPr>
            <a:lvl5pPr marL="1970088" indent="-141288" algn="l" rtl="0" eaLnBrk="0" fontAlgn="base" hangingPunct="0">
              <a:lnSpc>
                <a:spcPct val="85000"/>
              </a:lnSpc>
              <a:spcBef>
                <a:spcPct val="0"/>
              </a:spcBef>
              <a:spcAft>
                <a:spcPct val="0"/>
              </a:spcAft>
              <a:buClr>
                <a:srgbClr val="1CBECA"/>
              </a:buClr>
              <a:buFont typeface="Arial" pitchFamily="34" charset="0"/>
              <a:buChar char="•"/>
              <a:defRPr sz="14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nSpc>
                <a:spcPct val="100000"/>
              </a:lnSpc>
              <a:buClr>
                <a:srgbClr val="C3B600"/>
              </a:buClr>
            </a:pPr>
            <a:r>
              <a:rPr kumimoji="0" lang="en-US" altLang="zh-CN"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Lux-Lung 3&amp;6&amp;7</a:t>
            </a:r>
            <a:r>
              <a:rPr lang="zh-CN" altLang="en-US" sz="1600" dirty="0">
                <a:solidFill>
                  <a:schemeClr val="tx1"/>
                </a:solidFill>
                <a:latin typeface="微软雅黑" panose="020B0503020204020204" pitchFamily="34" charset="-122"/>
                <a:ea typeface="微软雅黑" panose="020B0503020204020204" pitchFamily="34" charset="-122"/>
              </a:rPr>
              <a:t>后续研究中，二线及以后接受奥希替尼的中位治疗时间为</a:t>
            </a:r>
            <a:r>
              <a:rPr lang="en-US" altLang="zh-CN" sz="1600" dirty="0">
                <a:solidFill>
                  <a:schemeClr val="tx1"/>
                </a:solidFill>
                <a:latin typeface="微软雅黑" panose="020B0503020204020204" pitchFamily="34" charset="-122"/>
                <a:ea typeface="微软雅黑" panose="020B0503020204020204" pitchFamily="34" charset="-122"/>
              </a:rPr>
              <a:t>20.2</a:t>
            </a:r>
            <a:r>
              <a:rPr lang="zh-CN" altLang="en-US" sz="1600" dirty="0">
                <a:solidFill>
                  <a:schemeClr val="tx1"/>
                </a:solidFill>
                <a:latin typeface="微软雅黑" panose="020B0503020204020204" pitchFamily="34" charset="-122"/>
                <a:ea typeface="微软雅黑" panose="020B0503020204020204" pitchFamily="34" charset="-122"/>
              </a:rPr>
              <a:t>个月</a:t>
            </a:r>
            <a:r>
              <a:rPr lang="en-US" altLang="zh-CN" sz="1600" baseline="30000" dirty="0">
                <a:solidFill>
                  <a:schemeClr val="tx1"/>
                </a:solidFill>
                <a:latin typeface="微软雅黑" panose="020B0503020204020204" pitchFamily="34" charset="-122"/>
                <a:ea typeface="微软雅黑" panose="020B0503020204020204" pitchFamily="34" charset="-122"/>
              </a:rPr>
              <a:t>1</a:t>
            </a:r>
            <a:r>
              <a:rPr lang="zh-CN" altLang="en-US" sz="1600" dirty="0">
                <a:solidFill>
                  <a:schemeClr val="tx1"/>
                </a:solidFill>
                <a:latin typeface="微软雅黑" panose="020B0503020204020204" pitchFamily="34" charset="-122"/>
                <a:ea typeface="微软雅黑" panose="020B0503020204020204" pitchFamily="34" charset="-122"/>
              </a:rPr>
              <a:t>（</a:t>
            </a:r>
            <a:r>
              <a:rPr lang="en-US" altLang="zh-CN" sz="1600" dirty="0">
                <a:solidFill>
                  <a:schemeClr val="tx1"/>
                </a:solidFill>
                <a:latin typeface="微软雅黑" panose="020B0503020204020204" pitchFamily="34" charset="-122"/>
                <a:ea typeface="微软雅黑" panose="020B0503020204020204" pitchFamily="34" charset="-122"/>
              </a:rPr>
              <a:t>95% CI 12.8–31.5</a:t>
            </a:r>
            <a:r>
              <a:rPr lang="zh-CN" altLang="en-US" sz="1600" dirty="0">
                <a:solidFill>
                  <a:schemeClr val="tx1"/>
                </a:solidFill>
                <a:latin typeface="微软雅黑" panose="020B0503020204020204" pitchFamily="34" charset="-122"/>
                <a:ea typeface="微软雅黑" panose="020B0503020204020204" pitchFamily="34" charset="-122"/>
              </a:rPr>
              <a:t>）</a:t>
            </a:r>
            <a:endParaRPr kumimoji="0" lang="en-US" altLang="zh-CN"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endParaRPr>
          </a:p>
          <a:p>
            <a:pPr lvl="0">
              <a:lnSpc>
                <a:spcPct val="100000"/>
              </a:lnSpc>
              <a:buClr>
                <a:srgbClr val="C3B600"/>
              </a:buClr>
            </a:pPr>
            <a:r>
              <a:rPr kumimoji="0" lang="en-US" altLang="zh-CN" sz="1600" b="0" i="0" u="none" strike="noStrike" kern="1200" cap="none" spc="0" normalizeH="0" baseline="0" noProof="0" dirty="0" err="1">
                <a:ln>
                  <a:noFill/>
                </a:ln>
                <a:solidFill>
                  <a:schemeClr val="tx1"/>
                </a:solidFill>
                <a:effectLst/>
                <a:uLnTx/>
                <a:uFillTx/>
                <a:latin typeface="微软雅黑" panose="020B0503020204020204" pitchFamily="34" charset="-122"/>
                <a:ea typeface="微软雅黑" panose="020B0503020204020204" pitchFamily="34" charset="-122"/>
              </a:rPr>
              <a:t>GioTag</a:t>
            </a:r>
            <a:r>
              <a:rPr kumimoji="0" lang="zh-CN" altLang="en-US"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研究中，亚洲患者二线使用奥希替尼的中位至治疗失败时间（</a:t>
            </a:r>
            <a:r>
              <a:rPr kumimoji="0" lang="en-US" altLang="zh-CN"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TTF</a:t>
            </a:r>
            <a:r>
              <a:rPr kumimoji="0" lang="zh-CN" altLang="en-US"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为</a:t>
            </a:r>
            <a:r>
              <a:rPr kumimoji="0" lang="en-US" altLang="zh-CN"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19.6</a:t>
            </a:r>
            <a:r>
              <a:rPr kumimoji="0" lang="zh-CN" altLang="en-US"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个月</a:t>
            </a:r>
            <a:r>
              <a:rPr lang="en-US" altLang="zh-CN" sz="1600" baseline="30000" dirty="0">
                <a:solidFill>
                  <a:schemeClr val="tx1"/>
                </a:solidFill>
                <a:latin typeface="微软雅黑" panose="020B0503020204020204" pitchFamily="34" charset="-122"/>
                <a:ea typeface="微软雅黑" panose="020B0503020204020204" pitchFamily="34" charset="-122"/>
              </a:rPr>
              <a:t>2</a:t>
            </a:r>
            <a:r>
              <a:rPr kumimoji="0" lang="zh-CN" altLang="en-US"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a:t>
            </a:r>
            <a:r>
              <a:rPr kumimoji="0" lang="en-US" altLang="zh-CN"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95% </a:t>
            </a:r>
            <a:r>
              <a:rPr lang="en-US" altLang="zh-CN" sz="1600" dirty="0">
                <a:solidFill>
                  <a:schemeClr val="tx1"/>
                </a:solidFill>
                <a:latin typeface="微软雅黑" panose="020B0503020204020204" pitchFamily="34" charset="-122"/>
                <a:ea typeface="微软雅黑" panose="020B0503020204020204" pitchFamily="34" charset="-122"/>
              </a:rPr>
              <a:t>CI 13.5–NR</a:t>
            </a:r>
            <a:r>
              <a:rPr kumimoji="0" lang="zh-CN" altLang="en-US"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a:t>
            </a:r>
            <a:endParaRPr kumimoji="0" lang="en-US" altLang="zh-CN"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endParaRPr>
          </a:p>
          <a:p>
            <a:pPr lvl="0">
              <a:lnSpc>
                <a:spcPct val="100000"/>
              </a:lnSpc>
              <a:buClr>
                <a:srgbClr val="C3B600"/>
              </a:buClr>
            </a:pPr>
            <a:r>
              <a:rPr kumimoji="0" lang="en-US" altLang="zh-CN"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FLAURA</a:t>
            </a:r>
            <a:r>
              <a:rPr kumimoji="0" lang="zh-CN" altLang="en-US"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研究中，一线使用奥希替尼的中位治疗暴露时间为</a:t>
            </a:r>
            <a:r>
              <a:rPr lang="en-US" altLang="zh-CN" sz="1600" dirty="0">
                <a:solidFill>
                  <a:schemeClr val="tx1"/>
                </a:solidFill>
                <a:latin typeface="微软雅黑" panose="020B0503020204020204" pitchFamily="34" charset="-122"/>
                <a:ea typeface="微软雅黑" panose="020B0503020204020204" pitchFamily="34" charset="-122"/>
              </a:rPr>
              <a:t>20.7</a:t>
            </a:r>
            <a:r>
              <a:rPr kumimoji="0" lang="zh-CN" altLang="en-US" sz="1600" b="0"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rPr>
              <a:t>个月</a:t>
            </a:r>
            <a:r>
              <a:rPr kumimoji="0" lang="en-US" altLang="zh-CN" sz="1600" b="0" i="0" u="none" strike="noStrike" kern="1200" cap="none" spc="0" normalizeH="0" baseline="30000" noProof="0" dirty="0">
                <a:ln>
                  <a:noFill/>
                </a:ln>
                <a:solidFill>
                  <a:schemeClr val="tx1"/>
                </a:solidFill>
                <a:effectLst/>
                <a:uLnTx/>
                <a:uFillTx/>
                <a:latin typeface="微软雅黑" panose="020B0503020204020204" pitchFamily="34" charset="-122"/>
                <a:ea typeface="微软雅黑" panose="020B0503020204020204" pitchFamily="34" charset="-122"/>
              </a:rPr>
              <a:t>3</a:t>
            </a:r>
            <a:r>
              <a:rPr lang="en-US" altLang="zh-CN" sz="1600" dirty="0">
                <a:solidFill>
                  <a:schemeClr val="tx1"/>
                </a:solidFill>
                <a:latin typeface="微软雅黑" panose="020B0503020204020204" pitchFamily="34" charset="-122"/>
                <a:ea typeface="微软雅黑" panose="020B0503020204020204" pitchFamily="34" charset="-122"/>
              </a:rPr>
              <a:t>(range, 0.1- 49.8)</a:t>
            </a:r>
            <a:r>
              <a:rPr lang="zh-CN" altLang="en-US" sz="1600" dirty="0">
                <a:solidFill>
                  <a:schemeClr val="tx1"/>
                </a:solidFill>
                <a:latin typeface="微软雅黑" panose="020B0503020204020204" pitchFamily="34" charset="-122"/>
                <a:ea typeface="微软雅黑" panose="020B0503020204020204" pitchFamily="34" charset="-122"/>
              </a:rPr>
              <a:t>，亚洲亚组的中位治疗暴露时间为</a:t>
            </a:r>
            <a:r>
              <a:rPr lang="en-US" altLang="zh-CN" sz="1600" dirty="0">
                <a:solidFill>
                  <a:schemeClr val="tx1"/>
                </a:solidFill>
                <a:latin typeface="微软雅黑" panose="020B0503020204020204" pitchFamily="34" charset="-122"/>
                <a:ea typeface="微软雅黑" panose="020B0503020204020204" pitchFamily="34" charset="-122"/>
              </a:rPr>
              <a:t>15.5</a:t>
            </a:r>
            <a:r>
              <a:rPr lang="zh-CN" altLang="en-US" sz="1600" dirty="0">
                <a:solidFill>
                  <a:schemeClr val="tx1"/>
                </a:solidFill>
                <a:latin typeface="微软雅黑" panose="020B0503020204020204" pitchFamily="34" charset="-122"/>
                <a:ea typeface="微软雅黑" panose="020B0503020204020204" pitchFamily="34" charset="-122"/>
              </a:rPr>
              <a:t>个月</a:t>
            </a:r>
            <a:r>
              <a:rPr lang="en-US" altLang="zh-CN" sz="1600" dirty="0">
                <a:solidFill>
                  <a:schemeClr val="tx1"/>
                </a:solidFill>
                <a:latin typeface="微软雅黑" panose="020B0503020204020204" pitchFamily="34" charset="-122"/>
                <a:ea typeface="微软雅黑" panose="020B0503020204020204" pitchFamily="34" charset="-122"/>
              </a:rPr>
              <a:t>(range,0.5-25.5)</a:t>
            </a:r>
            <a:r>
              <a:rPr lang="en-US" altLang="zh-CN" sz="1600" baseline="30000" dirty="0">
                <a:solidFill>
                  <a:schemeClr val="tx1"/>
                </a:solidFill>
                <a:latin typeface="微软雅黑" panose="020B0503020204020204" pitchFamily="34" charset="-122"/>
                <a:ea typeface="微软雅黑" panose="020B0503020204020204" pitchFamily="34" charset="-122"/>
              </a:rPr>
              <a:t>4</a:t>
            </a:r>
            <a:endParaRPr kumimoji="0" lang="en-US" altLang="zh-CN" sz="1600" b="0" i="0" u="none" strike="noStrike" kern="1200" cap="none" spc="0" normalizeH="0" baseline="30000" noProof="0" dirty="0">
              <a:ln>
                <a:noFill/>
              </a:ln>
              <a:solidFill>
                <a:schemeClr val="tx1"/>
              </a:solidFill>
              <a:effectLst/>
              <a:uLnTx/>
              <a:uFillTx/>
              <a:latin typeface="微软雅黑" panose="020B0503020204020204" pitchFamily="34" charset="-122"/>
              <a:ea typeface="微软雅黑" panose="020B0503020204020204" pitchFamily="34" charset="-122"/>
            </a:endParaRPr>
          </a:p>
        </p:txBody>
      </p:sp>
      <p:sp>
        <p:nvSpPr>
          <p:cNvPr id="33" name="矩形 32"/>
          <p:cNvSpPr/>
          <p:nvPr/>
        </p:nvSpPr>
        <p:spPr>
          <a:xfrm>
            <a:off x="202103" y="6183561"/>
            <a:ext cx="6096000" cy="707886"/>
          </a:xfrm>
          <a:prstGeom prst="rect">
            <a:avLst/>
          </a:prstGeom>
        </p:spPr>
        <p:txBody>
          <a:bodyPr>
            <a:spAutoFit/>
          </a:bodyPr>
          <a:lstStyle/>
          <a:p>
            <a:pPr marL="228600" indent="-228600">
              <a:buFont typeface="+mj-lt"/>
              <a:buAutoNum type="arabicPeriod"/>
            </a:pPr>
            <a:r>
              <a:rPr lang="en-US" altLang="zh-CN" sz="1000" dirty="0">
                <a:latin typeface="Arial" panose="020B0604020202020204" pitchFamily="34" charset="0"/>
                <a:cs typeface="Arial" panose="020B0604020202020204" pitchFamily="34" charset="0"/>
              </a:rPr>
              <a:t>Park K et al. Lung Cancer. 2019 Jun;132:126-131</a:t>
            </a:r>
          </a:p>
          <a:p>
            <a:pPr marL="228600" indent="-228600">
              <a:buFont typeface="+mj-lt"/>
              <a:buAutoNum type="arabicPeriod"/>
            </a:pPr>
            <a:r>
              <a:rPr lang="en-US" altLang="zh-CN" sz="1000" dirty="0" err="1">
                <a:latin typeface="Arial" panose="020B0604020202020204" pitchFamily="34" charset="0"/>
                <a:cs typeface="Arial" panose="020B0604020202020204" pitchFamily="34" charset="0"/>
              </a:rPr>
              <a:t>Hochmair</a:t>
            </a:r>
            <a:r>
              <a:rPr lang="en-US" altLang="zh-CN" sz="1000" dirty="0">
                <a:latin typeface="Arial" panose="020B0604020202020204" pitchFamily="34" charset="0"/>
                <a:cs typeface="Arial" panose="020B0604020202020204" pitchFamily="34" charset="0"/>
              </a:rPr>
              <a:t> M et al. Future </a:t>
            </a:r>
            <a:r>
              <a:rPr lang="en-US" altLang="zh-CN" sz="1000" dirty="0" err="1">
                <a:latin typeface="Arial" panose="020B0604020202020204" pitchFamily="34" charset="0"/>
                <a:cs typeface="Arial" panose="020B0604020202020204" pitchFamily="34" charset="0"/>
              </a:rPr>
              <a:t>Oncol</a:t>
            </a:r>
            <a:r>
              <a:rPr lang="en-US" altLang="zh-CN" sz="1000" dirty="0">
                <a:latin typeface="Arial" panose="020B0604020202020204" pitchFamily="34" charset="0"/>
                <a:cs typeface="Arial" panose="020B0604020202020204" pitchFamily="34" charset="0"/>
              </a:rPr>
              <a:t>. 2018 Oct 19; doi:10.2217/fon-2018-0711. </a:t>
            </a:r>
          </a:p>
          <a:p>
            <a:pPr marL="228600" indent="-228600">
              <a:buFont typeface="+mj-lt"/>
              <a:buAutoNum type="arabicPeriod"/>
            </a:pPr>
            <a:r>
              <a:rPr lang="da-DK" altLang="zh-CN" sz="1000" dirty="0">
                <a:latin typeface="Arial" panose="020B0604020202020204" pitchFamily="34" charset="0"/>
                <a:cs typeface="Arial" panose="020B0604020202020204" pitchFamily="34" charset="0"/>
              </a:rPr>
              <a:t>Ramalingam et al. N Engl J Med 2019; Epub ahead of print</a:t>
            </a:r>
          </a:p>
          <a:p>
            <a:pPr marL="228600" indent="-228600">
              <a:buFont typeface="+mj-lt"/>
              <a:buAutoNum type="arabicPeriod"/>
            </a:pPr>
            <a:r>
              <a:rPr lang="da-DK" altLang="zh-CN" sz="1000" dirty="0">
                <a:latin typeface="Arial" panose="020B0604020202020204" pitchFamily="34" charset="0"/>
                <a:cs typeface="Arial" panose="020B0604020202020204" pitchFamily="34" charset="0"/>
              </a:rPr>
              <a:t>Cho BC et al. </a:t>
            </a:r>
            <a:r>
              <a:rPr lang="en-US" altLang="zh-CN" sz="1000" dirty="0">
                <a:latin typeface="Arial" panose="020B0604020202020204" pitchFamily="34" charset="0"/>
                <a:cs typeface="Arial" panose="020B0604020202020204" pitchFamily="34" charset="0"/>
              </a:rPr>
              <a:t>J </a:t>
            </a:r>
            <a:r>
              <a:rPr lang="en-US" altLang="zh-CN" sz="1000" dirty="0" err="1">
                <a:latin typeface="Arial" panose="020B0604020202020204" pitchFamily="34" charset="0"/>
                <a:cs typeface="Arial" panose="020B0604020202020204" pitchFamily="34" charset="0"/>
              </a:rPr>
              <a:t>Thorac</a:t>
            </a:r>
            <a:r>
              <a:rPr lang="en-US" altLang="zh-CN" sz="1000" dirty="0">
                <a:latin typeface="Arial" panose="020B0604020202020204" pitchFamily="34" charset="0"/>
                <a:cs typeface="Arial" panose="020B0604020202020204" pitchFamily="34" charset="0"/>
              </a:rPr>
              <a:t> </a:t>
            </a:r>
            <a:r>
              <a:rPr lang="en-US" altLang="zh-CN" sz="1000" dirty="0" err="1">
                <a:latin typeface="Arial" panose="020B0604020202020204" pitchFamily="34" charset="0"/>
                <a:cs typeface="Arial" panose="020B0604020202020204" pitchFamily="34" charset="0"/>
              </a:rPr>
              <a:t>Oncol</a:t>
            </a:r>
            <a:r>
              <a:rPr lang="en-US" altLang="zh-CN" sz="1000" dirty="0">
                <a:latin typeface="Arial" panose="020B0604020202020204" pitchFamily="34" charset="0"/>
                <a:cs typeface="Arial" panose="020B0604020202020204" pitchFamily="34" charset="0"/>
              </a:rPr>
              <a:t>. 2019 Jan;14(1):99-106.</a:t>
            </a:r>
            <a:endParaRPr lang="da-DK" altLang="zh-CN" sz="1000" dirty="0">
              <a:latin typeface="Arial" panose="020B0604020202020204" pitchFamily="34" charset="0"/>
              <a:cs typeface="Arial" panose="020B0604020202020204" pitchFamily="34" charset="0"/>
            </a:endParaRPr>
          </a:p>
        </p:txBody>
      </p:sp>
      <p:grpSp>
        <p:nvGrpSpPr>
          <p:cNvPr id="4" name="组合 3"/>
          <p:cNvGrpSpPr/>
          <p:nvPr/>
        </p:nvGrpSpPr>
        <p:grpSpPr>
          <a:xfrm>
            <a:off x="4858939" y="2193556"/>
            <a:ext cx="3914623" cy="4120129"/>
            <a:chOff x="4858939" y="2193556"/>
            <a:chExt cx="3914623" cy="4120129"/>
          </a:xfrm>
        </p:grpSpPr>
        <p:graphicFrame>
          <p:nvGraphicFramePr>
            <p:cNvPr id="6" name="图表 5"/>
            <p:cNvGraphicFramePr/>
            <p:nvPr>
              <p:extLst>
                <p:ext uri="{D42A27DB-BD31-4B8C-83A1-F6EECF244321}">
                  <p14:modId xmlns:p14="http://schemas.microsoft.com/office/powerpoint/2010/main" val="2061178475"/>
                </p:ext>
              </p:extLst>
            </p:nvPr>
          </p:nvGraphicFramePr>
          <p:xfrm>
            <a:off x="4858939" y="2193556"/>
            <a:ext cx="3914623" cy="3781575"/>
          </p:xfrm>
          <a:graphic>
            <a:graphicData uri="http://schemas.openxmlformats.org/drawingml/2006/chart">
              <c:chart xmlns:c="http://schemas.openxmlformats.org/drawingml/2006/chart" xmlns:r="http://schemas.openxmlformats.org/officeDocument/2006/relationships" r:id="rId3"/>
            </a:graphicData>
          </a:graphic>
        </p:graphicFrame>
        <p:sp>
          <p:nvSpPr>
            <p:cNvPr id="7" name="文本框 6"/>
            <p:cNvSpPr txBox="1"/>
            <p:nvPr/>
          </p:nvSpPr>
          <p:spPr>
            <a:xfrm>
              <a:off x="5785945" y="5975131"/>
              <a:ext cx="2017986" cy="338554"/>
            </a:xfrm>
            <a:prstGeom prst="rect">
              <a:avLst/>
            </a:prstGeom>
            <a:noFill/>
          </p:spPr>
          <p:txBody>
            <a:bodyPr wrap="square" rtlCol="0">
              <a:spAutoFit/>
            </a:bodyPr>
            <a:lstStyle/>
            <a:p>
              <a:pPr algn="ctr"/>
              <a:r>
                <a:rPr lang="en-US" altLang="zh-CN" sz="1600" dirty="0" err="1">
                  <a:latin typeface="微软雅黑" panose="020B0503020204020204" pitchFamily="34" charset="-122"/>
                  <a:ea typeface="微软雅黑" panose="020B0503020204020204" pitchFamily="34" charset="-122"/>
                </a:rPr>
                <a:t>mTTF</a:t>
              </a:r>
              <a:r>
                <a:rPr lang="zh-CN" altLang="en-US" sz="1600" dirty="0">
                  <a:latin typeface="微软雅黑" panose="020B0503020204020204" pitchFamily="34" charset="-122"/>
                  <a:ea typeface="微软雅黑" panose="020B0503020204020204" pitchFamily="34" charset="-122"/>
                </a:rPr>
                <a:t>（月）</a:t>
              </a:r>
            </a:p>
          </p:txBody>
        </p:sp>
        <p:sp>
          <p:nvSpPr>
            <p:cNvPr id="34" name="文本框 1"/>
            <p:cNvSpPr txBox="1"/>
            <p:nvPr/>
          </p:nvSpPr>
          <p:spPr>
            <a:xfrm>
              <a:off x="6848538" y="3157605"/>
              <a:ext cx="788940" cy="319642"/>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altLang="zh-CN" sz="1800" b="1" dirty="0">
                  <a:solidFill>
                    <a:schemeClr val="bg1"/>
                  </a:solidFill>
                </a:rPr>
                <a:t>15.6</a:t>
              </a:r>
              <a:endParaRPr lang="zh-CN" altLang="en-US" sz="1800" b="1" dirty="0">
                <a:solidFill>
                  <a:schemeClr val="bg1"/>
                </a:solidFill>
              </a:endParaRPr>
            </a:p>
          </p:txBody>
        </p:sp>
        <p:sp>
          <p:nvSpPr>
            <p:cNvPr id="35" name="文本框 1"/>
            <p:cNvSpPr txBox="1"/>
            <p:nvPr/>
          </p:nvSpPr>
          <p:spPr>
            <a:xfrm>
              <a:off x="7583878" y="3817863"/>
              <a:ext cx="788940" cy="319642"/>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altLang="zh-CN" sz="1800" b="1" dirty="0">
                  <a:solidFill>
                    <a:schemeClr val="bg1"/>
                  </a:solidFill>
                </a:rPr>
                <a:t>19.6</a:t>
              </a:r>
              <a:endParaRPr lang="zh-CN" altLang="en-US" sz="1800" b="1" dirty="0">
                <a:solidFill>
                  <a:schemeClr val="bg1"/>
                </a:solidFill>
              </a:endParaRPr>
            </a:p>
          </p:txBody>
        </p:sp>
        <p:sp>
          <p:nvSpPr>
            <p:cNvPr id="36" name="文本框 1"/>
            <p:cNvSpPr txBox="1"/>
            <p:nvPr/>
          </p:nvSpPr>
          <p:spPr>
            <a:xfrm>
              <a:off x="7807081" y="4454863"/>
              <a:ext cx="788940" cy="319642"/>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altLang="zh-CN" sz="1800" b="1" dirty="0">
                  <a:solidFill>
                    <a:schemeClr val="bg1"/>
                  </a:solidFill>
                </a:rPr>
                <a:t>20.7</a:t>
              </a:r>
              <a:endParaRPr lang="zh-CN" altLang="en-US" sz="1800" b="1" dirty="0">
                <a:solidFill>
                  <a:schemeClr val="bg1"/>
                </a:solidFill>
              </a:endParaRPr>
            </a:p>
          </p:txBody>
        </p:sp>
        <p:sp>
          <p:nvSpPr>
            <p:cNvPr id="37" name="文本框 1"/>
            <p:cNvSpPr txBox="1"/>
            <p:nvPr/>
          </p:nvSpPr>
          <p:spPr>
            <a:xfrm>
              <a:off x="6912734" y="5121021"/>
              <a:ext cx="788940" cy="319642"/>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altLang="zh-CN" sz="1800" b="1" dirty="0">
                  <a:solidFill>
                    <a:schemeClr val="bg1"/>
                  </a:solidFill>
                </a:rPr>
                <a:t>15.5</a:t>
              </a:r>
              <a:endParaRPr lang="zh-CN" altLang="en-US" sz="1800" b="1" dirty="0">
                <a:solidFill>
                  <a:schemeClr val="bg1"/>
                </a:solidFill>
              </a:endParaRPr>
            </a:p>
          </p:txBody>
        </p:sp>
        <p:sp>
          <p:nvSpPr>
            <p:cNvPr id="8" name="文本框 7"/>
            <p:cNvSpPr txBox="1"/>
            <p:nvPr/>
          </p:nvSpPr>
          <p:spPr>
            <a:xfrm>
              <a:off x="4973747" y="4494972"/>
              <a:ext cx="2061680" cy="307777"/>
            </a:xfrm>
            <a:prstGeom prst="rect">
              <a:avLst/>
            </a:prstGeom>
            <a:noFill/>
          </p:spPr>
          <p:txBody>
            <a:bodyPr wrap="square" rtlCol="0">
              <a:spAutoFit/>
            </a:bodyPr>
            <a:lstStyle/>
            <a:p>
              <a:r>
                <a:rPr lang="en-US" altLang="zh-CN" sz="1400" dirty="0">
                  <a:solidFill>
                    <a:schemeClr val="bg1"/>
                  </a:solidFill>
                  <a:latin typeface="微软雅黑" panose="020B0503020204020204" pitchFamily="34" charset="-122"/>
                  <a:ea typeface="微软雅黑" panose="020B0503020204020204" pitchFamily="34" charset="-122"/>
                </a:rPr>
                <a:t>FLAURA 1L </a:t>
              </a:r>
              <a:r>
                <a:rPr lang="en-US" altLang="zh-CN" sz="1400" dirty="0" err="1">
                  <a:solidFill>
                    <a:schemeClr val="bg1"/>
                  </a:solidFill>
                  <a:latin typeface="微软雅黑" panose="020B0503020204020204" pitchFamily="34" charset="-122"/>
                  <a:ea typeface="微软雅黑" panose="020B0503020204020204" pitchFamily="34" charset="-122"/>
                </a:rPr>
                <a:t>Osi</a:t>
              </a:r>
              <a:r>
                <a:rPr lang="en-US" altLang="zh-CN" sz="1400" dirty="0">
                  <a:solidFill>
                    <a:schemeClr val="bg1"/>
                  </a:solidFill>
                  <a:latin typeface="微软雅黑" panose="020B0503020204020204" pitchFamily="34" charset="-122"/>
                  <a:ea typeface="微软雅黑" panose="020B0503020204020204" pitchFamily="34" charset="-122"/>
                </a:rPr>
                <a:t> </a:t>
              </a:r>
              <a:r>
                <a:rPr lang="zh-CN" altLang="en-US" sz="1400" dirty="0">
                  <a:solidFill>
                    <a:schemeClr val="bg1"/>
                  </a:solidFill>
                  <a:latin typeface="微软雅黑" panose="020B0503020204020204" pitchFamily="34" charset="-122"/>
                  <a:ea typeface="微软雅黑" panose="020B0503020204020204" pitchFamily="34" charset="-122"/>
                </a:rPr>
                <a:t>全组</a:t>
              </a:r>
            </a:p>
          </p:txBody>
        </p:sp>
        <p:sp>
          <p:nvSpPr>
            <p:cNvPr id="38" name="文本框 37"/>
            <p:cNvSpPr txBox="1"/>
            <p:nvPr/>
          </p:nvSpPr>
          <p:spPr>
            <a:xfrm>
              <a:off x="4961715" y="5169710"/>
              <a:ext cx="2398565" cy="307777"/>
            </a:xfrm>
            <a:prstGeom prst="rect">
              <a:avLst/>
            </a:prstGeom>
            <a:noFill/>
          </p:spPr>
          <p:txBody>
            <a:bodyPr wrap="square" rtlCol="0">
              <a:spAutoFit/>
            </a:bodyPr>
            <a:lstStyle/>
            <a:p>
              <a:r>
                <a:rPr lang="en-US" altLang="zh-CN" sz="1400" dirty="0">
                  <a:solidFill>
                    <a:schemeClr val="bg1"/>
                  </a:solidFill>
                  <a:latin typeface="微软雅黑" panose="020B0503020204020204" pitchFamily="34" charset="-122"/>
                  <a:ea typeface="微软雅黑" panose="020B0503020204020204" pitchFamily="34" charset="-122"/>
                </a:rPr>
                <a:t>FLAURA 1L </a:t>
              </a:r>
              <a:r>
                <a:rPr lang="en-US" altLang="zh-CN" sz="1400" dirty="0" err="1">
                  <a:solidFill>
                    <a:schemeClr val="bg1"/>
                  </a:solidFill>
                  <a:latin typeface="微软雅黑" panose="020B0503020204020204" pitchFamily="34" charset="-122"/>
                  <a:ea typeface="微软雅黑" panose="020B0503020204020204" pitchFamily="34" charset="-122"/>
                </a:rPr>
                <a:t>Osi</a:t>
              </a:r>
              <a:r>
                <a:rPr lang="en-US" altLang="zh-CN" sz="1400" dirty="0">
                  <a:solidFill>
                    <a:schemeClr val="bg1"/>
                  </a:solidFill>
                  <a:latin typeface="微软雅黑" panose="020B0503020204020204" pitchFamily="34" charset="-122"/>
                  <a:ea typeface="微软雅黑" panose="020B0503020204020204" pitchFamily="34" charset="-122"/>
                </a:rPr>
                <a:t> </a:t>
              </a:r>
              <a:r>
                <a:rPr lang="zh-CN" altLang="en-US" sz="1400" dirty="0">
                  <a:solidFill>
                    <a:schemeClr val="bg1"/>
                  </a:solidFill>
                  <a:latin typeface="微软雅黑" panose="020B0503020204020204" pitchFamily="34" charset="-122"/>
                  <a:ea typeface="微软雅黑" panose="020B0503020204020204" pitchFamily="34" charset="-122"/>
                </a:rPr>
                <a:t>亚洲亚组</a:t>
              </a:r>
            </a:p>
          </p:txBody>
        </p:sp>
        <p:sp>
          <p:nvSpPr>
            <p:cNvPr id="39" name="文本框 38"/>
            <p:cNvSpPr txBox="1"/>
            <p:nvPr/>
          </p:nvSpPr>
          <p:spPr>
            <a:xfrm>
              <a:off x="4973747" y="2506849"/>
              <a:ext cx="2061680" cy="307777"/>
            </a:xfrm>
            <a:prstGeom prst="rect">
              <a:avLst/>
            </a:prstGeom>
            <a:noFill/>
          </p:spPr>
          <p:txBody>
            <a:bodyPr wrap="square" rtlCol="0">
              <a:spAutoFit/>
            </a:bodyPr>
            <a:lstStyle/>
            <a:p>
              <a:r>
                <a:rPr lang="en-US" altLang="zh-CN" sz="1400" dirty="0">
                  <a:solidFill>
                    <a:schemeClr val="bg1"/>
                  </a:solidFill>
                  <a:latin typeface="微软雅黑" panose="020B0503020204020204" pitchFamily="34" charset="-122"/>
                  <a:ea typeface="微软雅黑" panose="020B0503020204020204" pitchFamily="34" charset="-122"/>
                </a:rPr>
                <a:t>LL3,6&amp;7 2L+ </a:t>
              </a:r>
              <a:r>
                <a:rPr lang="en-US" altLang="zh-CN" sz="1400" dirty="0" err="1">
                  <a:solidFill>
                    <a:schemeClr val="bg1"/>
                  </a:solidFill>
                  <a:latin typeface="微软雅黑" panose="020B0503020204020204" pitchFamily="34" charset="-122"/>
                  <a:ea typeface="微软雅黑" panose="020B0503020204020204" pitchFamily="34" charset="-122"/>
                </a:rPr>
                <a:t>Osi</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40" name="文本框 39"/>
            <p:cNvSpPr txBox="1"/>
            <p:nvPr/>
          </p:nvSpPr>
          <p:spPr>
            <a:xfrm>
              <a:off x="4980124" y="3169470"/>
              <a:ext cx="2061680" cy="307777"/>
            </a:xfrm>
            <a:prstGeom prst="rect">
              <a:avLst/>
            </a:prstGeom>
            <a:noFill/>
          </p:spPr>
          <p:txBody>
            <a:bodyPr wrap="square" rtlCol="0">
              <a:spAutoFit/>
            </a:bodyPr>
            <a:lstStyle/>
            <a:p>
              <a:r>
                <a:rPr lang="en-US" altLang="zh-CN" sz="1400" dirty="0" err="1">
                  <a:solidFill>
                    <a:schemeClr val="bg1"/>
                  </a:solidFill>
                  <a:latin typeface="微软雅黑" panose="020B0503020204020204" pitchFamily="34" charset="-122"/>
                  <a:ea typeface="微软雅黑" panose="020B0503020204020204" pitchFamily="34" charset="-122"/>
                </a:rPr>
                <a:t>Giotag</a:t>
              </a:r>
              <a:r>
                <a:rPr lang="en-US" altLang="zh-CN" sz="1400" dirty="0">
                  <a:solidFill>
                    <a:schemeClr val="bg1"/>
                  </a:solidFill>
                  <a:latin typeface="微软雅黑" panose="020B0503020204020204" pitchFamily="34" charset="-122"/>
                  <a:ea typeface="微软雅黑" panose="020B0503020204020204" pitchFamily="34" charset="-122"/>
                </a:rPr>
                <a:t> 2L </a:t>
              </a:r>
              <a:r>
                <a:rPr lang="en-US" altLang="zh-CN" sz="1400" dirty="0" err="1">
                  <a:solidFill>
                    <a:schemeClr val="bg1"/>
                  </a:solidFill>
                  <a:latin typeface="微软雅黑" panose="020B0503020204020204" pitchFamily="34" charset="-122"/>
                  <a:ea typeface="微软雅黑" panose="020B0503020204020204" pitchFamily="34" charset="-122"/>
                </a:rPr>
                <a:t>Osi</a:t>
              </a:r>
              <a:r>
                <a:rPr lang="en-US" altLang="zh-CN" sz="1400" dirty="0">
                  <a:solidFill>
                    <a:schemeClr val="bg1"/>
                  </a:solidFill>
                  <a:latin typeface="微软雅黑" panose="020B0503020204020204" pitchFamily="34" charset="-122"/>
                  <a:ea typeface="微软雅黑" panose="020B0503020204020204" pitchFamily="34" charset="-122"/>
                </a:rPr>
                <a:t> </a:t>
              </a:r>
              <a:r>
                <a:rPr lang="zh-CN" altLang="en-US" sz="1400" dirty="0">
                  <a:solidFill>
                    <a:schemeClr val="bg1"/>
                  </a:solidFill>
                  <a:latin typeface="微软雅黑" panose="020B0503020204020204" pitchFamily="34" charset="-122"/>
                  <a:ea typeface="微软雅黑" panose="020B0503020204020204" pitchFamily="34" charset="-122"/>
                </a:rPr>
                <a:t>全组</a:t>
              </a:r>
            </a:p>
          </p:txBody>
        </p:sp>
        <p:sp>
          <p:nvSpPr>
            <p:cNvPr id="41" name="文本框 40"/>
            <p:cNvSpPr txBox="1"/>
            <p:nvPr/>
          </p:nvSpPr>
          <p:spPr>
            <a:xfrm>
              <a:off x="4980124" y="3853232"/>
              <a:ext cx="2262884" cy="307777"/>
            </a:xfrm>
            <a:prstGeom prst="rect">
              <a:avLst/>
            </a:prstGeom>
            <a:noFill/>
          </p:spPr>
          <p:txBody>
            <a:bodyPr wrap="square" rtlCol="0">
              <a:spAutoFit/>
            </a:bodyPr>
            <a:lstStyle/>
            <a:p>
              <a:r>
                <a:rPr lang="en-US" altLang="zh-CN" sz="1400" dirty="0" err="1">
                  <a:solidFill>
                    <a:schemeClr val="bg1"/>
                  </a:solidFill>
                  <a:latin typeface="微软雅黑" panose="020B0503020204020204" pitchFamily="34" charset="-122"/>
                  <a:ea typeface="微软雅黑" panose="020B0503020204020204" pitchFamily="34" charset="-122"/>
                </a:rPr>
                <a:t>Giotag</a:t>
              </a:r>
              <a:r>
                <a:rPr lang="en-US" altLang="zh-CN" sz="1400" dirty="0">
                  <a:solidFill>
                    <a:schemeClr val="bg1"/>
                  </a:solidFill>
                  <a:latin typeface="微软雅黑" panose="020B0503020204020204" pitchFamily="34" charset="-122"/>
                  <a:ea typeface="微软雅黑" panose="020B0503020204020204" pitchFamily="34" charset="-122"/>
                </a:rPr>
                <a:t> 2L </a:t>
              </a:r>
              <a:r>
                <a:rPr lang="en-US" altLang="zh-CN" sz="1400" dirty="0" err="1">
                  <a:solidFill>
                    <a:schemeClr val="bg1"/>
                  </a:solidFill>
                  <a:latin typeface="微软雅黑" panose="020B0503020204020204" pitchFamily="34" charset="-122"/>
                  <a:ea typeface="微软雅黑" panose="020B0503020204020204" pitchFamily="34" charset="-122"/>
                </a:rPr>
                <a:t>Osi</a:t>
              </a:r>
              <a:r>
                <a:rPr lang="en-US" altLang="zh-CN" sz="1400" dirty="0">
                  <a:solidFill>
                    <a:schemeClr val="bg1"/>
                  </a:solidFill>
                  <a:latin typeface="微软雅黑" panose="020B0503020204020204" pitchFamily="34" charset="-122"/>
                  <a:ea typeface="微软雅黑" panose="020B0503020204020204" pitchFamily="34" charset="-122"/>
                </a:rPr>
                <a:t> </a:t>
              </a:r>
              <a:r>
                <a:rPr lang="zh-CN" altLang="en-US" sz="1400" dirty="0">
                  <a:solidFill>
                    <a:schemeClr val="bg1"/>
                  </a:solidFill>
                  <a:latin typeface="微软雅黑" panose="020B0503020204020204" pitchFamily="34" charset="-122"/>
                  <a:ea typeface="微软雅黑" panose="020B0503020204020204" pitchFamily="34" charset="-122"/>
                </a:rPr>
                <a:t>亚洲亚组</a:t>
              </a:r>
            </a:p>
          </p:txBody>
        </p:sp>
      </p:grpSp>
    </p:spTree>
    <p:extLst>
      <p:ext uri="{BB962C8B-B14F-4D97-AF65-F5344CB8AC3E}">
        <p14:creationId xmlns:p14="http://schemas.microsoft.com/office/powerpoint/2010/main" val="17708697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31697" y="302449"/>
            <a:ext cx="7903361" cy="720197"/>
          </a:xfrm>
        </p:spPr>
        <p:txBody>
          <a:bodyPr anchor="ctr"/>
          <a:lstStyle/>
          <a:p>
            <a:r>
              <a:rPr lang="en-US" altLang="zh-CN" sz="2400" b="1" dirty="0">
                <a:latin typeface="Microsoft YaHei" panose="020B0503020204020204" pitchFamily="34" charset="-122"/>
                <a:ea typeface="Microsoft YaHei" panose="020B0503020204020204" pitchFamily="34" charset="-122"/>
              </a:rPr>
              <a:t>FLAURA</a:t>
            </a:r>
            <a:r>
              <a:rPr lang="zh-CN" altLang="en-US" sz="2400" b="1" dirty="0">
                <a:latin typeface="Microsoft YaHei" panose="020B0503020204020204" pitchFamily="34" charset="-122"/>
                <a:ea typeface="Microsoft YaHei" panose="020B0503020204020204" pitchFamily="34" charset="-122"/>
              </a:rPr>
              <a:t>研究显示：亚裔人群接受一线奥希替尼治疗 </a:t>
            </a:r>
            <a:r>
              <a:rPr lang="en-US" altLang="zh-CN" sz="2400" b="1" dirty="0">
                <a:latin typeface="Microsoft YaHei" panose="020B0503020204020204" pitchFamily="34" charset="-122"/>
                <a:ea typeface="Microsoft YaHei" panose="020B0503020204020204" pitchFamily="34" charset="-122"/>
              </a:rPr>
              <a:t>vs </a:t>
            </a:r>
            <a:br>
              <a:rPr lang="en-US" altLang="zh-CN" sz="2400" b="1" dirty="0">
                <a:latin typeface="Microsoft YaHei" panose="020B0503020204020204" pitchFamily="34" charset="-122"/>
                <a:ea typeface="Microsoft YaHei" panose="020B0503020204020204" pitchFamily="34" charset="-122"/>
              </a:rPr>
            </a:br>
            <a:r>
              <a:rPr lang="zh-CN" altLang="en-US" sz="2400" b="1" dirty="0">
                <a:latin typeface="Microsoft YaHei" panose="020B0503020204020204" pitchFamily="34" charset="-122"/>
                <a:ea typeface="Microsoft YaHei" panose="020B0503020204020204" pitchFamily="34" charset="-122"/>
              </a:rPr>
              <a:t>一代</a:t>
            </a:r>
            <a:r>
              <a:rPr lang="en-US" altLang="zh-CN" sz="2400" b="1" dirty="0">
                <a:latin typeface="Microsoft YaHei" panose="020B0503020204020204" pitchFamily="34" charset="-122"/>
                <a:ea typeface="Microsoft YaHei" panose="020B0503020204020204" pitchFamily="34" charset="-122"/>
              </a:rPr>
              <a:t>TKI</a:t>
            </a:r>
            <a:r>
              <a:rPr lang="zh-CN" altLang="en-US" sz="2400" b="1" dirty="0">
                <a:latin typeface="Microsoft YaHei" panose="020B0503020204020204" pitchFamily="34" charset="-122"/>
                <a:ea typeface="Microsoft YaHei" panose="020B0503020204020204" pitchFamily="34" charset="-122"/>
              </a:rPr>
              <a:t>治疗</a:t>
            </a:r>
            <a:r>
              <a:rPr lang="zh-CN" altLang="en-US" sz="2400" b="1" dirty="0">
                <a:solidFill>
                  <a:schemeClr val="accent2">
                    <a:lumMod val="60000"/>
                    <a:lumOff val="40000"/>
                  </a:schemeClr>
                </a:solidFill>
                <a:latin typeface="Microsoft YaHei" panose="020B0503020204020204" pitchFamily="34" charset="-122"/>
                <a:ea typeface="Microsoft YaHei" panose="020B0503020204020204" pitchFamily="34" charset="-122"/>
              </a:rPr>
              <a:t>无生存获益</a:t>
            </a:r>
          </a:p>
        </p:txBody>
      </p:sp>
      <p:pic>
        <p:nvPicPr>
          <p:cNvPr id="3" name="图片 2"/>
          <p:cNvPicPr>
            <a:picLocks noChangeAspect="1"/>
          </p:cNvPicPr>
          <p:nvPr/>
        </p:nvPicPr>
        <p:blipFill>
          <a:blip r:embed="rId3"/>
          <a:stretch>
            <a:fillRect/>
          </a:stretch>
        </p:blipFill>
        <p:spPr>
          <a:xfrm>
            <a:off x="769290" y="1597731"/>
            <a:ext cx="7685392" cy="4582730"/>
          </a:xfrm>
          <a:prstGeom prst="rect">
            <a:avLst/>
          </a:prstGeom>
        </p:spPr>
      </p:pic>
      <p:sp>
        <p:nvSpPr>
          <p:cNvPr id="17" name="矩形 16"/>
          <p:cNvSpPr/>
          <p:nvPr/>
        </p:nvSpPr>
        <p:spPr>
          <a:xfrm>
            <a:off x="0" y="6609557"/>
            <a:ext cx="7923894" cy="230832"/>
          </a:xfrm>
          <a:prstGeom prst="rect">
            <a:avLst/>
          </a:prstGeom>
        </p:spPr>
        <p:txBody>
          <a:bodyPr wrap="square">
            <a:spAutoFit/>
          </a:bodyPr>
          <a:lstStyle/>
          <a:p>
            <a:r>
              <a:rPr lang="en-US" altLang="zh-CN" sz="900" dirty="0" err="1">
                <a:latin typeface="Arial" panose="020B0604020202020204" pitchFamily="34" charset="0"/>
                <a:cs typeface="Arial" panose="020B0604020202020204" pitchFamily="34" charset="0"/>
              </a:rPr>
              <a:t>Ramalingam</a:t>
            </a:r>
            <a:r>
              <a:rPr lang="en-US" altLang="zh-CN" sz="900" dirty="0">
                <a:latin typeface="Arial" panose="020B0604020202020204" pitchFamily="34" charset="0"/>
                <a:cs typeface="Arial" panose="020B0604020202020204" pitchFamily="34" charset="0"/>
              </a:rPr>
              <a:t> et al. Ann </a:t>
            </a:r>
            <a:r>
              <a:rPr lang="en-US" altLang="zh-CN" sz="900" dirty="0" err="1">
                <a:latin typeface="Arial" panose="020B0604020202020204" pitchFamily="34" charset="0"/>
                <a:cs typeface="Arial" panose="020B0604020202020204" pitchFamily="34" charset="0"/>
              </a:rPr>
              <a:t>Oncol</a:t>
            </a:r>
            <a:r>
              <a:rPr lang="en-US" altLang="zh-CN" sz="900" dirty="0">
                <a:latin typeface="Arial" panose="020B0604020202020204" pitchFamily="34" charset="0"/>
                <a:cs typeface="Arial" panose="020B0604020202020204" pitchFamily="34" charset="0"/>
              </a:rPr>
              <a:t> 2019;30(suppl_5):v851-v934</a:t>
            </a:r>
          </a:p>
        </p:txBody>
      </p:sp>
      <p:sp>
        <p:nvSpPr>
          <p:cNvPr id="5" name="文本框 4"/>
          <p:cNvSpPr txBox="1"/>
          <p:nvPr/>
        </p:nvSpPr>
        <p:spPr>
          <a:xfrm>
            <a:off x="2396814" y="1542646"/>
            <a:ext cx="1011382" cy="369332"/>
          </a:xfrm>
          <a:prstGeom prst="rect">
            <a:avLst/>
          </a:prstGeom>
          <a:solidFill>
            <a:schemeClr val="bg1"/>
          </a:solid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亚裔</a:t>
            </a:r>
          </a:p>
        </p:txBody>
      </p:sp>
      <p:sp>
        <p:nvSpPr>
          <p:cNvPr id="6" name="文本框 5"/>
          <p:cNvSpPr txBox="1"/>
          <p:nvPr/>
        </p:nvSpPr>
        <p:spPr>
          <a:xfrm>
            <a:off x="6128306" y="1531914"/>
            <a:ext cx="1275028" cy="369332"/>
          </a:xfrm>
          <a:prstGeom prst="rect">
            <a:avLst/>
          </a:prstGeom>
          <a:solidFill>
            <a:schemeClr val="bg1"/>
          </a:solid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非亚裔</a:t>
            </a:r>
          </a:p>
        </p:txBody>
      </p:sp>
    </p:spTree>
    <p:extLst>
      <p:ext uri="{BB962C8B-B14F-4D97-AF65-F5344CB8AC3E}">
        <p14:creationId xmlns:p14="http://schemas.microsoft.com/office/powerpoint/2010/main" val="19113557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30214" y="414405"/>
            <a:ext cx="8550275" cy="406265"/>
          </a:xfrm>
        </p:spPr>
        <p:txBody>
          <a:bodyPr/>
          <a:lstStyle/>
          <a:p>
            <a:r>
              <a:rPr lang="zh-CN" altLang="en-US" sz="2400" b="1" dirty="0">
                <a:latin typeface="Microsoft YaHei" panose="020B0503020204020204" pitchFamily="34" charset="-122"/>
                <a:ea typeface="Microsoft YaHei" panose="020B0503020204020204" pitchFamily="34" charset="-122"/>
              </a:rPr>
              <a:t>且亚洲</a:t>
            </a:r>
            <a:r>
              <a:rPr lang="en-US" altLang="zh-CN" sz="2400" b="1" dirty="0">
                <a:latin typeface="Microsoft YaHei" panose="020B0503020204020204" pitchFamily="34" charset="-122"/>
                <a:ea typeface="Microsoft YaHei" panose="020B0503020204020204" pitchFamily="34" charset="-122"/>
              </a:rPr>
              <a:t>/</a:t>
            </a:r>
            <a:r>
              <a:rPr lang="zh-CN" altLang="en-US" sz="2400" b="1" dirty="0">
                <a:latin typeface="Microsoft YaHei" panose="020B0503020204020204" pitchFamily="34" charset="-122"/>
                <a:ea typeface="Microsoft YaHei" panose="020B0503020204020204" pitchFamily="34" charset="-122"/>
              </a:rPr>
              <a:t>中国亚组的</a:t>
            </a:r>
            <a:r>
              <a:rPr lang="en-US" altLang="zh-CN" sz="2400" b="1" dirty="0">
                <a:latin typeface="Microsoft YaHei" panose="020B0503020204020204" pitchFamily="34" charset="-122"/>
                <a:ea typeface="Microsoft YaHei" panose="020B0503020204020204" pitchFamily="34" charset="-122"/>
              </a:rPr>
              <a:t>PFS</a:t>
            </a:r>
            <a:r>
              <a:rPr lang="zh-CN" altLang="en-US" sz="2400" b="1" dirty="0">
                <a:latin typeface="Microsoft YaHei" panose="020B0503020204020204" pitchFamily="34" charset="-122"/>
                <a:ea typeface="Microsoft YaHei" panose="020B0503020204020204" pitchFamily="34" charset="-122"/>
              </a:rPr>
              <a:t>就显示出不及全球数据的趋势</a:t>
            </a:r>
            <a:endParaRPr lang="en-US" sz="2400" b="1" dirty="0">
              <a:latin typeface="Microsoft YaHei" panose="020B0503020204020204" pitchFamily="34" charset="-122"/>
              <a:ea typeface="Microsoft YaHei" panose="020B0503020204020204" pitchFamily="34" charset="-122"/>
            </a:endParaRPr>
          </a:p>
        </p:txBody>
      </p:sp>
      <p:graphicFrame>
        <p:nvGraphicFramePr>
          <p:cNvPr id="6" name="图表 5"/>
          <p:cNvGraphicFramePr/>
          <p:nvPr/>
        </p:nvGraphicFramePr>
        <p:xfrm>
          <a:off x="692331" y="1410789"/>
          <a:ext cx="6753498" cy="4429034"/>
        </p:xfrm>
        <a:graphic>
          <a:graphicData uri="http://schemas.openxmlformats.org/drawingml/2006/chart">
            <c:chart xmlns:c="http://schemas.openxmlformats.org/drawingml/2006/chart" xmlns:r="http://schemas.openxmlformats.org/officeDocument/2006/relationships" r:id="rId3"/>
          </a:graphicData>
        </a:graphic>
      </p:graphicFrame>
      <p:sp>
        <p:nvSpPr>
          <p:cNvPr id="7" name="文本框 6"/>
          <p:cNvSpPr txBox="1"/>
          <p:nvPr/>
        </p:nvSpPr>
        <p:spPr>
          <a:xfrm>
            <a:off x="6021977" y="2429691"/>
            <a:ext cx="1031966" cy="4001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prstClr val="white"/>
                </a:solidFill>
                <a:effectLst/>
                <a:uLnTx/>
                <a:uFillTx/>
                <a:latin typeface="Arial" panose="020B0604020202020204" pitchFamily="34" charset="0"/>
                <a:ea typeface="黑体" panose="02010609060101010101" pitchFamily="49" charset="-122"/>
                <a:cs typeface="Arial" panose="020B0604020202020204" pitchFamily="34" charset="0"/>
              </a:rPr>
              <a:t>18.9</a:t>
            </a:r>
            <a:r>
              <a:rPr kumimoji="0" lang="zh-CN" altLang="en-US" sz="1400"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Arial" panose="020B0604020202020204" pitchFamily="34" charset="0"/>
              </a:rPr>
              <a:t>月</a:t>
            </a:r>
            <a:endParaRPr kumimoji="0" lang="en-US" sz="1400"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8" name="文本框 7"/>
          <p:cNvSpPr txBox="1"/>
          <p:nvPr/>
        </p:nvSpPr>
        <p:spPr>
          <a:xfrm>
            <a:off x="4705351" y="3529755"/>
            <a:ext cx="1031966" cy="4001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prstClr val="white"/>
                </a:solidFill>
                <a:effectLst/>
                <a:uLnTx/>
                <a:uFillTx/>
                <a:latin typeface="Arial" panose="020B0604020202020204" pitchFamily="34" charset="0"/>
                <a:ea typeface="黑体" panose="02010609060101010101" pitchFamily="49" charset="-122"/>
                <a:cs typeface="Arial" panose="020B0604020202020204" pitchFamily="34" charset="0"/>
              </a:rPr>
              <a:t>17.8</a:t>
            </a:r>
            <a:r>
              <a:rPr kumimoji="0" lang="zh-CN" altLang="en-US" sz="1400"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Arial" panose="020B0604020202020204" pitchFamily="34" charset="0"/>
              </a:rPr>
              <a:t>月</a:t>
            </a:r>
            <a:endParaRPr kumimoji="0" lang="en-US" sz="1400"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0" name="文本框 9"/>
          <p:cNvSpPr txBox="1"/>
          <p:nvPr/>
        </p:nvSpPr>
        <p:spPr>
          <a:xfrm>
            <a:off x="3037114" y="4609618"/>
            <a:ext cx="1031966" cy="4001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prstClr val="white"/>
                </a:solidFill>
                <a:effectLst/>
                <a:uLnTx/>
                <a:uFillTx/>
                <a:latin typeface="Arial" panose="020B0604020202020204" pitchFamily="34" charset="0"/>
                <a:ea typeface="黑体" panose="02010609060101010101" pitchFamily="49" charset="-122"/>
                <a:cs typeface="Arial" panose="020B0604020202020204" pitchFamily="34" charset="0"/>
              </a:rPr>
              <a:t>16.5</a:t>
            </a:r>
            <a:r>
              <a:rPr kumimoji="0" lang="zh-CN" altLang="en-US" sz="1400"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Arial" panose="020B0604020202020204" pitchFamily="34" charset="0"/>
              </a:rPr>
              <a:t>月</a:t>
            </a:r>
            <a:endParaRPr kumimoji="0" lang="en-US" sz="1400"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Arial" panose="020B0604020202020204" pitchFamily="34" charset="0"/>
            </a:endParaRPr>
          </a:p>
        </p:txBody>
      </p:sp>
      <p:sp>
        <p:nvSpPr>
          <p:cNvPr id="11" name="文本框 10"/>
          <p:cNvSpPr txBox="1"/>
          <p:nvPr/>
        </p:nvSpPr>
        <p:spPr>
          <a:xfrm>
            <a:off x="7236822" y="2429691"/>
            <a:ext cx="129322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HR:0.46</a:t>
            </a: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文本框 11"/>
          <p:cNvSpPr txBox="1"/>
          <p:nvPr/>
        </p:nvSpPr>
        <p:spPr>
          <a:xfrm>
            <a:off x="5891348" y="3529755"/>
            <a:ext cx="129322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HR:0.56</a:t>
            </a: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p:txBody>
      </p:sp>
      <p:sp>
        <p:nvSpPr>
          <p:cNvPr id="13" name="文本框 12"/>
          <p:cNvSpPr txBox="1"/>
          <p:nvPr/>
        </p:nvSpPr>
        <p:spPr>
          <a:xfrm>
            <a:off x="4254137" y="4625007"/>
            <a:ext cx="129322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HR:0.54</a:t>
            </a: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p:txBody>
      </p:sp>
      <p:sp>
        <p:nvSpPr>
          <p:cNvPr id="14" name="文本框 13"/>
          <p:cNvSpPr txBox="1"/>
          <p:nvPr/>
        </p:nvSpPr>
        <p:spPr>
          <a:xfrm>
            <a:off x="1915886" y="4609618"/>
            <a:ext cx="44413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3</a:t>
            </a:r>
          </a:p>
        </p:txBody>
      </p:sp>
      <p:sp>
        <p:nvSpPr>
          <p:cNvPr id="15" name="文本框 14"/>
          <p:cNvSpPr txBox="1"/>
          <p:nvPr/>
        </p:nvSpPr>
        <p:spPr>
          <a:xfrm>
            <a:off x="1928948" y="2442401"/>
            <a:ext cx="44413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1</a:t>
            </a:r>
          </a:p>
        </p:txBody>
      </p:sp>
      <p:sp>
        <p:nvSpPr>
          <p:cNvPr id="16" name="文本框 15"/>
          <p:cNvSpPr txBox="1"/>
          <p:nvPr/>
        </p:nvSpPr>
        <p:spPr>
          <a:xfrm>
            <a:off x="1915886" y="3498790"/>
            <a:ext cx="44413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2</a:t>
            </a:r>
          </a:p>
        </p:txBody>
      </p:sp>
      <p:sp>
        <p:nvSpPr>
          <p:cNvPr id="17" name="矩形 16"/>
          <p:cNvSpPr/>
          <p:nvPr/>
        </p:nvSpPr>
        <p:spPr>
          <a:xfrm>
            <a:off x="263979" y="6152943"/>
            <a:ext cx="5888626" cy="5539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1. JC </a:t>
            </a:r>
            <a:r>
              <a:rPr kumimoji="0" lang="en-US" sz="1000" b="0" i="0" u="none" strike="noStrike" kern="1200" cap="none" spc="0" normalizeH="0" baseline="0" noProof="0" dirty="0" err="1">
                <a:ln>
                  <a:noFill/>
                </a:ln>
                <a:solidFill>
                  <a:prstClr val="black"/>
                </a:solidFill>
                <a:effectLst/>
                <a:uLnTx/>
                <a:uFillTx/>
                <a:latin typeface="Arial"/>
                <a:ea typeface="+mn-ea"/>
                <a:cs typeface="+mn-cs"/>
              </a:rPr>
              <a:t>Soira</a:t>
            </a:r>
            <a:r>
              <a:rPr kumimoji="0" lang="en-US" sz="1000" b="0" i="0" u="none" strike="noStrike" kern="1200" cap="none" spc="0" normalizeH="0" baseline="0" noProof="0" dirty="0">
                <a:ln>
                  <a:noFill/>
                </a:ln>
                <a:solidFill>
                  <a:prstClr val="black"/>
                </a:solidFill>
                <a:effectLst/>
                <a:uLnTx/>
                <a:uFillTx/>
                <a:latin typeface="Arial"/>
                <a:ea typeface="+mn-ea"/>
                <a:cs typeface="+mn-cs"/>
              </a:rPr>
              <a:t>, et al., N </a:t>
            </a:r>
            <a:r>
              <a:rPr kumimoji="0" lang="en-US" sz="1000" b="0" i="0" u="none" strike="noStrike" kern="1200" cap="none" spc="0" normalizeH="0" baseline="0" noProof="0" dirty="0" err="1">
                <a:ln>
                  <a:noFill/>
                </a:ln>
                <a:solidFill>
                  <a:prstClr val="black"/>
                </a:solidFill>
                <a:effectLst/>
                <a:uLnTx/>
                <a:uFillTx/>
                <a:latin typeface="Arial"/>
                <a:ea typeface="+mn-ea"/>
                <a:cs typeface="+mn-cs"/>
              </a:rPr>
              <a:t>Engl</a:t>
            </a:r>
            <a:r>
              <a:rPr kumimoji="0" lang="en-US" sz="1000" b="0" i="0" u="none" strike="noStrike" kern="1200" cap="none" spc="0" normalizeH="0" baseline="0" noProof="0" dirty="0">
                <a:ln>
                  <a:noFill/>
                </a:ln>
                <a:solidFill>
                  <a:prstClr val="black"/>
                </a:solidFill>
                <a:effectLst/>
                <a:uLnTx/>
                <a:uFillTx/>
                <a:latin typeface="Arial"/>
                <a:ea typeface="+mn-ea"/>
                <a:cs typeface="+mn-cs"/>
              </a:rPr>
              <a:t> J Med 2018;378:113-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2. Zhou CC, et al., P1.01-112, 2018 WCL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3. </a:t>
            </a:r>
            <a:r>
              <a:rPr kumimoji="0" lang="en-US" sz="1000" b="0" i="0" u="none" strike="noStrike" kern="1200" cap="none" spc="0" normalizeH="0" baseline="0" noProof="0" dirty="0" err="1">
                <a:ln>
                  <a:noFill/>
                </a:ln>
                <a:solidFill>
                  <a:prstClr val="black"/>
                </a:solidFill>
                <a:effectLst/>
                <a:uLnTx/>
                <a:uFillTx/>
                <a:latin typeface="Arial"/>
                <a:ea typeface="+mn-ea"/>
                <a:cs typeface="+mn-cs"/>
              </a:rPr>
              <a:t>Byoung</a:t>
            </a:r>
            <a:r>
              <a:rPr kumimoji="0" lang="en-US" sz="1000" b="0" i="0" u="none" strike="noStrike" kern="1200" cap="none" spc="0" normalizeH="0" baseline="0" noProof="0" dirty="0">
                <a:ln>
                  <a:noFill/>
                </a:ln>
                <a:solidFill>
                  <a:prstClr val="black"/>
                </a:solidFill>
                <a:effectLst/>
                <a:uLnTx/>
                <a:uFillTx/>
                <a:latin typeface="Arial"/>
                <a:ea typeface="+mn-ea"/>
                <a:cs typeface="+mn-cs"/>
              </a:rPr>
              <a:t> </a:t>
            </a:r>
            <a:r>
              <a:rPr kumimoji="0" lang="en-US" sz="1000" b="0" i="0" u="none" strike="noStrike" kern="1200" cap="none" spc="0" normalizeH="0" baseline="0" noProof="0" dirty="0" err="1">
                <a:ln>
                  <a:noFill/>
                </a:ln>
                <a:solidFill>
                  <a:prstClr val="black"/>
                </a:solidFill>
                <a:effectLst/>
                <a:uLnTx/>
                <a:uFillTx/>
                <a:latin typeface="Arial"/>
                <a:ea typeface="+mn-ea"/>
                <a:cs typeface="+mn-cs"/>
              </a:rPr>
              <a:t>Chul</a:t>
            </a:r>
            <a:r>
              <a:rPr kumimoji="0" lang="en-US" sz="1000" b="0" i="0" u="none" strike="noStrike" kern="1200" cap="none" spc="0" normalizeH="0" baseline="0" noProof="0" dirty="0">
                <a:ln>
                  <a:noFill/>
                </a:ln>
                <a:solidFill>
                  <a:prstClr val="black"/>
                </a:solidFill>
                <a:effectLst/>
                <a:uLnTx/>
                <a:uFillTx/>
                <a:latin typeface="Arial"/>
                <a:ea typeface="+mn-ea"/>
                <a:cs typeface="+mn-cs"/>
              </a:rPr>
              <a:t> Cho, et al., JTO Vol. 14 No. 1: 99-106</a:t>
            </a:r>
          </a:p>
        </p:txBody>
      </p:sp>
    </p:spTree>
    <p:extLst>
      <p:ext uri="{BB962C8B-B14F-4D97-AF65-F5344CB8AC3E}">
        <p14:creationId xmlns:p14="http://schemas.microsoft.com/office/powerpoint/2010/main" val="5030030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3"/>
          <a:stretch>
            <a:fillRect/>
          </a:stretch>
        </p:blipFill>
        <p:spPr>
          <a:xfrm>
            <a:off x="4339713" y="2815334"/>
            <a:ext cx="4605242" cy="3146156"/>
          </a:xfrm>
          <a:prstGeom prst="rect">
            <a:avLst/>
          </a:prstGeom>
        </p:spPr>
      </p:pic>
      <p:sp>
        <p:nvSpPr>
          <p:cNvPr id="2" name="标题 1"/>
          <p:cNvSpPr>
            <a:spLocks noGrp="1"/>
          </p:cNvSpPr>
          <p:nvPr>
            <p:ph type="title"/>
          </p:nvPr>
        </p:nvSpPr>
        <p:spPr>
          <a:xfrm>
            <a:off x="270736" y="318791"/>
            <a:ext cx="8550275" cy="667875"/>
          </a:xfrm>
        </p:spPr>
        <p:txBody>
          <a:bodyPr/>
          <a:lstStyle/>
          <a:p>
            <a:r>
              <a:rPr lang="en-US" altLang="zh-CN" sz="2400" b="1" dirty="0">
                <a:latin typeface="微软雅黑" panose="020B0503020204020204" pitchFamily="34" charset="-122"/>
                <a:ea typeface="微软雅黑" panose="020B0503020204020204" pitchFamily="34" charset="-122"/>
              </a:rPr>
              <a:t>FLAURA</a:t>
            </a:r>
            <a:r>
              <a:rPr lang="zh-CN" altLang="en-US" sz="2400" b="1" dirty="0">
                <a:latin typeface="微软雅黑" panose="020B0503020204020204" pitchFamily="34" charset="-122"/>
                <a:ea typeface="微软雅黑" panose="020B0503020204020204" pitchFamily="34" charset="-122"/>
              </a:rPr>
              <a:t>的日本亚组数据</a:t>
            </a:r>
            <a:r>
              <a:rPr lang="en-US" altLang="zh-CN" sz="2400" b="1" dirty="0">
                <a:solidFill>
                  <a:srgbClr val="FFFF00"/>
                </a:solidFill>
                <a:latin typeface="微软雅黑" panose="020B0503020204020204" pitchFamily="34" charset="-122"/>
                <a:ea typeface="微软雅黑" panose="020B0503020204020204" pitchFamily="34" charset="-122"/>
              </a:rPr>
              <a:t>1L</a:t>
            </a:r>
            <a:r>
              <a:rPr lang="zh-CN" altLang="en-US" sz="2400" b="1" dirty="0">
                <a:solidFill>
                  <a:srgbClr val="FFFF00"/>
                </a:solidFill>
                <a:latin typeface="微软雅黑" panose="020B0503020204020204" pitchFamily="34" charset="-122"/>
                <a:ea typeface="微软雅黑" panose="020B0503020204020204" pitchFamily="34" charset="-122"/>
              </a:rPr>
              <a:t>吉非替尼组中位</a:t>
            </a:r>
            <a:r>
              <a:rPr lang="en-US" altLang="zh-CN" sz="2400" b="1" dirty="0">
                <a:solidFill>
                  <a:srgbClr val="FFFF00"/>
                </a:solidFill>
                <a:latin typeface="微软雅黑" panose="020B0503020204020204" pitchFamily="34" charset="-122"/>
                <a:ea typeface="微软雅黑" panose="020B0503020204020204" pitchFamily="34" charset="-122"/>
              </a:rPr>
              <a:t>OS</a:t>
            </a:r>
            <a:r>
              <a:rPr lang="zh-CN" altLang="en-US" sz="2400" b="1" dirty="0">
                <a:solidFill>
                  <a:srgbClr val="FFFF00"/>
                </a:solidFill>
                <a:latin typeface="微软雅黑" panose="020B0503020204020204" pitchFamily="34" charset="-122"/>
                <a:ea typeface="微软雅黑" panose="020B0503020204020204" pitchFamily="34" charset="-122"/>
              </a:rPr>
              <a:t>更优</a:t>
            </a:r>
            <a:br>
              <a:rPr lang="en-US" altLang="zh-CN" sz="2400" b="1" dirty="0">
                <a:solidFill>
                  <a:srgbClr val="FFFF00"/>
                </a:solidFill>
                <a:latin typeface="微软雅黑" panose="020B0503020204020204" pitchFamily="34" charset="-122"/>
                <a:ea typeface="微软雅黑" panose="020B0503020204020204" pitchFamily="34" charset="-122"/>
              </a:rPr>
            </a:br>
            <a:r>
              <a:rPr lang="zh-CN" altLang="en-US" sz="2000" b="1" dirty="0">
                <a:latin typeface="微软雅黑" panose="020B0503020204020204" pitchFamily="34" charset="-122"/>
                <a:ea typeface="微软雅黑" panose="020B0503020204020204" pitchFamily="34" charset="-122"/>
              </a:rPr>
              <a:t>排除日本亚组的亚洲数据</a:t>
            </a:r>
            <a:r>
              <a:rPr lang="en-US" altLang="zh-CN" sz="2000" b="1" dirty="0">
                <a:solidFill>
                  <a:srgbClr val="FFFF00"/>
                </a:solidFill>
                <a:latin typeface="微软雅黑" panose="020B0503020204020204" pitchFamily="34" charset="-122"/>
                <a:ea typeface="微软雅黑" panose="020B0503020204020204" pitchFamily="34" charset="-122"/>
              </a:rPr>
              <a:t>HR: 0.89(0.64,1.24)</a:t>
            </a:r>
            <a:r>
              <a:rPr lang="zh-CN" altLang="en-US" sz="2000" b="1" dirty="0">
                <a:latin typeface="微软雅黑" panose="020B0503020204020204" pitchFamily="34" charset="-122"/>
                <a:ea typeface="微软雅黑" panose="020B0503020204020204" pitchFamily="34" charset="-122"/>
              </a:rPr>
              <a:t>，临床获益不明显</a:t>
            </a:r>
          </a:p>
        </p:txBody>
      </p:sp>
      <p:pic>
        <p:nvPicPr>
          <p:cNvPr id="4" name="图片 3"/>
          <p:cNvPicPr>
            <a:picLocks noChangeAspect="1"/>
          </p:cNvPicPr>
          <p:nvPr/>
        </p:nvPicPr>
        <p:blipFill>
          <a:blip r:embed="rId4"/>
          <a:stretch>
            <a:fillRect/>
          </a:stretch>
        </p:blipFill>
        <p:spPr>
          <a:xfrm>
            <a:off x="0" y="2628709"/>
            <a:ext cx="4794803" cy="3332781"/>
          </a:xfrm>
          <a:prstGeom prst="rect">
            <a:avLst/>
          </a:prstGeom>
        </p:spPr>
      </p:pic>
      <p:sp>
        <p:nvSpPr>
          <p:cNvPr id="6" name="文本框 5"/>
          <p:cNvSpPr txBox="1"/>
          <p:nvPr/>
        </p:nvSpPr>
        <p:spPr>
          <a:xfrm>
            <a:off x="3202835" y="1636955"/>
            <a:ext cx="2717075" cy="369332"/>
          </a:xfrm>
          <a:prstGeom prst="rect">
            <a:avLst/>
          </a:prstGeom>
          <a:noFill/>
        </p:spPr>
        <p:txBody>
          <a:bodyPr wrap="square" rtlCol="0">
            <a:spAutoFit/>
          </a:bodyPr>
          <a:lstStyle/>
          <a:p>
            <a:pPr algn="ctr"/>
            <a:r>
              <a:rPr lang="zh-CN" altLang="en-US" dirty="0">
                <a:latin typeface="微软雅黑" panose="020B0503020204020204" pitchFamily="34" charset="-122"/>
                <a:ea typeface="微软雅黑" panose="020B0503020204020204" pitchFamily="34" charset="-122"/>
              </a:rPr>
              <a:t>探索性事后分析</a:t>
            </a:r>
          </a:p>
        </p:txBody>
      </p:sp>
      <p:sp>
        <p:nvSpPr>
          <p:cNvPr id="7" name="文本框 6"/>
          <p:cNvSpPr txBox="1"/>
          <p:nvPr/>
        </p:nvSpPr>
        <p:spPr>
          <a:xfrm>
            <a:off x="1843403" y="2266855"/>
            <a:ext cx="1107996" cy="369332"/>
          </a:xfrm>
          <a:prstGeom prst="rect">
            <a:avLst/>
          </a:prstGeom>
          <a:noFill/>
        </p:spPr>
        <p:txBody>
          <a:bodyPr wrap="none" rtlCol="0">
            <a:spAutoFit/>
          </a:bodyPr>
          <a:lstStyle/>
          <a:p>
            <a:r>
              <a:rPr lang="zh-CN" altLang="en-US" b="1" dirty="0">
                <a:latin typeface="微软雅黑" panose="020B0503020204020204" pitchFamily="34" charset="-122"/>
                <a:ea typeface="微软雅黑" panose="020B0503020204020204" pitchFamily="34" charset="-122"/>
              </a:rPr>
              <a:t>日本亚组</a:t>
            </a:r>
          </a:p>
        </p:txBody>
      </p:sp>
      <p:sp>
        <p:nvSpPr>
          <p:cNvPr id="8" name="文本框 7"/>
          <p:cNvSpPr txBox="1"/>
          <p:nvPr/>
        </p:nvSpPr>
        <p:spPr>
          <a:xfrm>
            <a:off x="5392146" y="2275430"/>
            <a:ext cx="2723823" cy="369332"/>
          </a:xfrm>
          <a:prstGeom prst="rect">
            <a:avLst/>
          </a:prstGeom>
          <a:noFill/>
        </p:spPr>
        <p:txBody>
          <a:bodyPr wrap="none" rtlCol="0">
            <a:spAutoFit/>
          </a:bodyPr>
          <a:lstStyle/>
          <a:p>
            <a:r>
              <a:rPr lang="zh-CN" altLang="en-US" b="1" dirty="0">
                <a:latin typeface="微软雅黑" panose="020B0503020204020204" pitchFamily="34" charset="-122"/>
                <a:ea typeface="微软雅黑" panose="020B0503020204020204" pitchFamily="34" charset="-122"/>
              </a:rPr>
              <a:t>排除日本数据的亚洲亚组</a:t>
            </a:r>
          </a:p>
        </p:txBody>
      </p:sp>
      <p:sp>
        <p:nvSpPr>
          <p:cNvPr id="10" name="矩形 9"/>
          <p:cNvSpPr/>
          <p:nvPr/>
        </p:nvSpPr>
        <p:spPr>
          <a:xfrm>
            <a:off x="0" y="6611779"/>
            <a:ext cx="5120312" cy="246221"/>
          </a:xfrm>
          <a:prstGeom prst="rect">
            <a:avLst/>
          </a:prstGeom>
        </p:spPr>
        <p:txBody>
          <a:bodyPr wrap="none">
            <a:spAutoFit/>
          </a:bodyPr>
          <a:lstStyle/>
          <a:p>
            <a:r>
              <a:rPr lang="en-US" altLang="zh-CN" sz="1000" dirty="0" err="1"/>
              <a:t>Naoyuki</a:t>
            </a:r>
            <a:r>
              <a:rPr lang="en-US" altLang="zh-CN" sz="1000" dirty="0"/>
              <a:t> </a:t>
            </a:r>
            <a:r>
              <a:rPr lang="en-US" altLang="zh-CN" sz="1000" dirty="0" err="1"/>
              <a:t>Nogami</a:t>
            </a:r>
            <a:r>
              <a:rPr lang="en-US" altLang="zh-CN" sz="1000" dirty="0"/>
              <a:t> et al. the 60</a:t>
            </a:r>
            <a:r>
              <a:rPr lang="en-US" altLang="zh-CN" sz="1000" baseline="30000" dirty="0"/>
              <a:t>th</a:t>
            </a:r>
            <a:r>
              <a:rPr lang="en-US" altLang="zh-CN" sz="1000" dirty="0"/>
              <a:t> Annual Meeting of the Japan Lung Cancer Society, PS-1</a:t>
            </a:r>
            <a:endParaRPr lang="zh-CN" altLang="en-US" sz="1000" dirty="0"/>
          </a:p>
        </p:txBody>
      </p:sp>
    </p:spTree>
    <p:extLst>
      <p:ext uri="{BB962C8B-B14F-4D97-AF65-F5344CB8AC3E}">
        <p14:creationId xmlns:p14="http://schemas.microsoft.com/office/powerpoint/2010/main" val="6637376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a:xfrm>
            <a:off x="443277" y="375216"/>
            <a:ext cx="8550275" cy="406265"/>
          </a:xfrm>
        </p:spPr>
        <p:txBody>
          <a:bodyPr/>
          <a:lstStyle/>
          <a:p>
            <a:r>
              <a:rPr lang="zh-CN" altLang="en-US" sz="2400" b="1" dirty="0">
                <a:latin typeface="Microsoft YaHei" panose="020B0503020204020204" pitchFamily="34" charset="-122"/>
                <a:ea typeface="Microsoft YaHei" panose="020B0503020204020204" pitchFamily="34" charset="-122"/>
              </a:rPr>
              <a:t>主要内容</a:t>
            </a:r>
            <a:endParaRPr lang="en-US" sz="2400" b="1" dirty="0">
              <a:latin typeface="Microsoft YaHei" panose="020B0503020204020204" pitchFamily="34" charset="-122"/>
              <a:ea typeface="Microsoft YaHei" panose="020B0503020204020204" pitchFamily="34" charset="-122"/>
            </a:endParaRPr>
          </a:p>
        </p:txBody>
      </p:sp>
      <p:cxnSp>
        <p:nvCxnSpPr>
          <p:cNvPr id="8" name="直接连接符 7"/>
          <p:cNvCxnSpPr/>
          <p:nvPr/>
        </p:nvCxnSpPr>
        <p:spPr>
          <a:xfrm>
            <a:off x="443277" y="1998617"/>
            <a:ext cx="0" cy="3487783"/>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6" name="文本框 5"/>
          <p:cNvSpPr txBox="1"/>
          <p:nvPr/>
        </p:nvSpPr>
        <p:spPr>
          <a:xfrm>
            <a:off x="443277" y="1998617"/>
            <a:ext cx="8700723" cy="4247317"/>
          </a:xfrm>
          <a:prstGeom prst="rect">
            <a:avLst/>
          </a:prstGeom>
          <a:noFill/>
        </p:spPr>
        <p:txBody>
          <a:bodyPr wrap="square" rtlCol="0">
            <a:spAutoFit/>
          </a:bodyPr>
          <a:lstStyle/>
          <a:p>
            <a:pPr marL="285750" marR="0" lvl="0" indent="-285750" algn="l" defTabSz="914400" rtl="0" eaLnBrk="1" fontAlgn="auto" latinLnBrk="0" hangingPunct="1">
              <a:lnSpc>
                <a:spcPct val="150000"/>
              </a:lnSpc>
              <a:spcBef>
                <a:spcPts val="0"/>
              </a:spcBef>
              <a:spcAft>
                <a:spcPts val="0"/>
              </a:spcAft>
              <a:buClr>
                <a:srgbClr val="C3B600"/>
              </a:buClr>
              <a:buSzTx/>
              <a:buFont typeface="Wingdings" panose="05000000000000000000" pitchFamily="2" charset="2"/>
              <a:buChar char="§"/>
              <a:tabLst/>
              <a:defRPr/>
            </a:pPr>
            <a:r>
              <a:rPr kumimoji="0" lang="zh-CN" alt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吉泰瑞</a:t>
            </a:r>
            <a:r>
              <a:rPr kumimoji="0" lang="en-US" altLang="zh-CN" sz="2000" b="0" i="0" u="none" strike="noStrike" kern="1200" cap="none" spc="0" normalizeH="0" baseline="30000" noProof="0" dirty="0">
                <a:ln>
                  <a:noFill/>
                </a:ln>
                <a:effectLst/>
                <a:uLnTx/>
                <a:uFillTx/>
                <a:latin typeface="Microsoft YaHei" panose="020B0503020204020204" pitchFamily="34" charset="-122"/>
                <a:ea typeface="Microsoft YaHei" panose="020B0503020204020204" pitchFamily="34" charset="-122"/>
                <a:cs typeface="+mn-cs"/>
              </a:rPr>
              <a:t>®</a:t>
            </a:r>
            <a:r>
              <a:rPr kumimoji="0" lang="zh-CN" alt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首个证实在一线治疗</a:t>
            </a:r>
            <a:r>
              <a:rPr kumimoji="0" lang="en-US" altLang="zh-CN"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EGFR</a:t>
            </a:r>
            <a:r>
              <a:rPr kumimoji="0" lang="zh-CN" alt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常见突变患者中有</a:t>
            </a:r>
            <a:r>
              <a:rPr kumimoji="0" lang="en-US" altLang="zh-CN"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OS</a:t>
            </a:r>
            <a:r>
              <a:rPr kumimoji="0" lang="zh-CN" alt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获益的</a:t>
            </a:r>
            <a:r>
              <a:rPr kumimoji="0" lang="en-US" altLang="zh-CN"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EGFR-TKI</a:t>
            </a:r>
          </a:p>
          <a:p>
            <a:pPr marL="285750" marR="0" lvl="0" indent="-285750" algn="l" defTabSz="914400" rtl="0" eaLnBrk="1" fontAlgn="auto" latinLnBrk="0" hangingPunct="1">
              <a:lnSpc>
                <a:spcPct val="150000"/>
              </a:lnSpc>
              <a:spcBef>
                <a:spcPts val="0"/>
              </a:spcBef>
              <a:spcAft>
                <a:spcPts val="0"/>
              </a:spcAft>
              <a:buClr>
                <a:srgbClr val="C3B600"/>
              </a:buClr>
              <a:buSzTx/>
              <a:buFont typeface="Wingdings" panose="05000000000000000000" pitchFamily="2" charset="2"/>
              <a:buChar char="§"/>
              <a:tabLst/>
              <a:defRPr/>
            </a:pPr>
            <a:endParaRPr kumimoji="0" 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endParaRPr>
          </a:p>
          <a:p>
            <a:pPr marL="285750" lvl="0" indent="-285750" defTabSz="914400">
              <a:lnSpc>
                <a:spcPct val="150000"/>
              </a:lnSpc>
              <a:buClr>
                <a:srgbClr val="C3B600"/>
              </a:buClr>
              <a:buFont typeface="Wingdings" panose="05000000000000000000" pitchFamily="2" charset="2"/>
              <a:buChar char="§"/>
              <a:defRPr/>
            </a:pPr>
            <a:r>
              <a:rPr kumimoji="0" lang="zh-CN" alt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吉泰瑞</a:t>
            </a:r>
            <a:r>
              <a:rPr kumimoji="0" lang="en-US" altLang="zh-CN" sz="2000" b="0" i="0" u="none" strike="noStrike" kern="1200" cap="none" spc="0" normalizeH="0" baseline="30000" noProof="0" dirty="0">
                <a:ln>
                  <a:noFill/>
                </a:ln>
                <a:effectLst/>
                <a:uLnTx/>
                <a:uFillTx/>
                <a:latin typeface="Microsoft YaHei" panose="020B0503020204020204" pitchFamily="34" charset="-122"/>
                <a:ea typeface="Microsoft YaHei" panose="020B0503020204020204" pitchFamily="34" charset="-122"/>
                <a:cs typeface="+mn-cs"/>
              </a:rPr>
              <a:t>®</a:t>
            </a:r>
            <a:r>
              <a:rPr lang="zh-CN" altLang="en-US" sz="2000" dirty="0">
                <a:latin typeface="Microsoft YaHei" panose="020B0503020204020204" pitchFamily="34" charset="-122"/>
                <a:ea typeface="Microsoft YaHei" panose="020B0503020204020204" pitchFamily="34" charset="-122"/>
              </a:rPr>
              <a:t>一线治疗较</a:t>
            </a:r>
            <a:r>
              <a:rPr kumimoji="0" lang="zh-CN" alt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一代</a:t>
            </a:r>
            <a:r>
              <a:rPr kumimoji="0" lang="en-US" altLang="zh-CN"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TKI</a:t>
            </a:r>
            <a:r>
              <a:rPr kumimoji="0" lang="zh-CN" alt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显著延长</a:t>
            </a:r>
            <a:r>
              <a:rPr kumimoji="0" lang="en-US" altLang="zh-CN"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EGFR</a:t>
            </a:r>
            <a:r>
              <a:rPr kumimoji="0" lang="zh-CN" alt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常见突变患者</a:t>
            </a:r>
            <a:r>
              <a:rPr kumimoji="0" lang="en-US" altLang="zh-CN"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PFS</a:t>
            </a:r>
          </a:p>
          <a:p>
            <a:pPr marL="285750" marR="0" lvl="0" indent="-285750" algn="l" defTabSz="914400" rtl="0" eaLnBrk="1" fontAlgn="auto" latinLnBrk="0" hangingPunct="1">
              <a:lnSpc>
                <a:spcPct val="150000"/>
              </a:lnSpc>
              <a:spcBef>
                <a:spcPts val="0"/>
              </a:spcBef>
              <a:spcAft>
                <a:spcPts val="0"/>
              </a:spcAft>
              <a:buClr>
                <a:srgbClr val="C3B600"/>
              </a:buClr>
              <a:buSzTx/>
              <a:buFont typeface="Wingdings" panose="05000000000000000000" pitchFamily="2" charset="2"/>
              <a:buChar char="§"/>
              <a:tabLst/>
              <a:defRPr/>
            </a:pPr>
            <a:endParaRPr kumimoji="0" lang="en-US" altLang="zh-CN"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endParaRPr>
          </a:p>
          <a:p>
            <a:pPr marL="285750" marR="0" lvl="0" indent="-285750" algn="l" defTabSz="914400" rtl="0" eaLnBrk="1" fontAlgn="auto" latinLnBrk="0" hangingPunct="1">
              <a:lnSpc>
                <a:spcPct val="150000"/>
              </a:lnSpc>
              <a:spcBef>
                <a:spcPts val="0"/>
              </a:spcBef>
              <a:spcAft>
                <a:spcPts val="0"/>
              </a:spcAft>
              <a:buClr>
                <a:srgbClr val="C3B600"/>
              </a:buClr>
              <a:buSzTx/>
              <a:buFont typeface="Wingdings" panose="05000000000000000000" pitchFamily="2" charset="2"/>
              <a:buChar char="§"/>
              <a:tabLst/>
              <a:defRPr/>
            </a:pPr>
            <a:r>
              <a:rPr kumimoji="0" lang="zh-CN" alt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吉泰瑞</a:t>
            </a:r>
            <a:r>
              <a:rPr kumimoji="0" lang="en-US" altLang="zh-CN" sz="2000" b="0" i="0" u="none" strike="noStrike" kern="1200" cap="none" spc="0" normalizeH="0" baseline="30000" noProof="0" dirty="0">
                <a:ln>
                  <a:noFill/>
                </a:ln>
                <a:effectLst/>
                <a:uLnTx/>
                <a:uFillTx/>
                <a:latin typeface="Microsoft YaHei" panose="020B0503020204020204" pitchFamily="34" charset="-122"/>
                <a:ea typeface="Microsoft YaHei" panose="020B0503020204020204" pitchFamily="34" charset="-122"/>
                <a:cs typeface="+mn-cs"/>
              </a:rPr>
              <a:t>®</a:t>
            </a:r>
            <a:r>
              <a:rPr kumimoji="0" lang="zh-CN" alt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一线治疗让患者有更多接受后续治疗的机会，带来长生存的希望</a:t>
            </a:r>
            <a:endParaRPr kumimoji="0" lang="en-US" altLang="zh-CN"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endParaRPr>
          </a:p>
          <a:p>
            <a:pPr marL="285750" marR="0" lvl="0" indent="-285750" algn="l" defTabSz="914400" rtl="0" eaLnBrk="1" fontAlgn="auto" latinLnBrk="0" hangingPunct="1">
              <a:lnSpc>
                <a:spcPct val="150000"/>
              </a:lnSpc>
              <a:spcBef>
                <a:spcPts val="0"/>
              </a:spcBef>
              <a:spcAft>
                <a:spcPts val="0"/>
              </a:spcAft>
              <a:buClr>
                <a:srgbClr val="C3B600"/>
              </a:buClr>
              <a:buSzTx/>
              <a:buFont typeface="Wingdings" panose="05000000000000000000" pitchFamily="2" charset="2"/>
              <a:buChar char="§"/>
              <a:tabLst/>
              <a:defRPr/>
            </a:pPr>
            <a:endParaRPr kumimoji="0" lang="en-US" altLang="zh-CN"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endParaRPr>
          </a:p>
          <a:p>
            <a:pPr marL="285750" indent="-285750" defTabSz="914400">
              <a:lnSpc>
                <a:spcPct val="150000"/>
              </a:lnSpc>
              <a:buClr>
                <a:srgbClr val="C3B600"/>
              </a:buClr>
              <a:buFont typeface="Wingdings" panose="05000000000000000000" pitchFamily="2" charset="2"/>
              <a:buChar char="§"/>
              <a:defRPr/>
            </a:pPr>
            <a:r>
              <a:rPr lang="zh-CN" altLang="en-US" sz="2000" dirty="0">
                <a:latin typeface="Microsoft YaHei" panose="020B0503020204020204" pitchFamily="34" charset="-122"/>
                <a:ea typeface="Microsoft YaHei" panose="020B0503020204020204" pitchFamily="34" charset="-122"/>
              </a:rPr>
              <a:t>吉泰瑞</a:t>
            </a:r>
            <a:r>
              <a:rPr lang="en-US" altLang="zh-CN" sz="2000" dirty="0">
                <a:latin typeface="Microsoft YaHei" panose="020B0503020204020204" pitchFamily="34" charset="-122"/>
                <a:ea typeface="Microsoft YaHei" panose="020B0503020204020204" pitchFamily="34" charset="-122"/>
              </a:rPr>
              <a:t>®</a:t>
            </a:r>
            <a:r>
              <a:rPr lang="zh-CN" altLang="en-US" sz="2000" dirty="0">
                <a:latin typeface="Microsoft YaHei" panose="020B0503020204020204" pitchFamily="34" charset="-122"/>
                <a:ea typeface="Microsoft YaHei" panose="020B0503020204020204" pitchFamily="34" charset="-122"/>
              </a:rPr>
              <a:t>一线治疗是</a:t>
            </a:r>
            <a:r>
              <a:rPr lang="en-US" altLang="zh-CN" sz="2000" dirty="0">
                <a:latin typeface="Microsoft YaHei" panose="020B0503020204020204" pitchFamily="34" charset="-122"/>
                <a:ea typeface="Microsoft YaHei" panose="020B0503020204020204" pitchFamily="34" charset="-122"/>
              </a:rPr>
              <a:t>EGFR</a:t>
            </a:r>
            <a:r>
              <a:rPr lang="zh-CN" altLang="en-US" sz="2000" dirty="0">
                <a:latin typeface="Microsoft YaHei" panose="020B0503020204020204" pitchFamily="34" charset="-122"/>
                <a:ea typeface="Microsoft YaHei" panose="020B0503020204020204" pitchFamily="34" charset="-122"/>
              </a:rPr>
              <a:t>突变患者经济的治疗选择</a:t>
            </a:r>
            <a:endParaRPr lang="en-US" altLang="zh-CN" sz="2000" dirty="0">
              <a:latin typeface="Microsoft YaHei" panose="020B0503020204020204" pitchFamily="34" charset="-122"/>
              <a:ea typeface="Microsoft YaHei" panose="020B0503020204020204" pitchFamily="34" charset="-122"/>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endParaRPr>
          </a:p>
        </p:txBody>
      </p:sp>
    </p:spTree>
    <p:extLst>
      <p:ext uri="{BB962C8B-B14F-4D97-AF65-F5344CB8AC3E}">
        <p14:creationId xmlns:p14="http://schemas.microsoft.com/office/powerpoint/2010/main" val="33811703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89014" y="220664"/>
            <a:ext cx="7427077" cy="784830"/>
          </a:xfrm>
        </p:spPr>
        <p:txBody>
          <a:bodyPr/>
          <a:lstStyle/>
          <a:p>
            <a:pPr>
              <a:lnSpc>
                <a:spcPts val="2700"/>
              </a:lnSpc>
            </a:pPr>
            <a:r>
              <a:rPr lang="zh-CN" altLang="en-US" sz="2400" b="1" dirty="0">
                <a:latin typeface="Microsoft YaHei" panose="020B0503020204020204" pitchFamily="34" charset="-122"/>
                <a:ea typeface="Microsoft YaHei" panose="020B0503020204020204" pitchFamily="34" charset="-122"/>
                <a:cs typeface="Arial" panose="020B0604020202020204" pitchFamily="34" charset="0"/>
              </a:rPr>
              <a:t>一线突变患者使用奥希替尼，耐药机制复杂不明，</a:t>
            </a:r>
            <a:br>
              <a:rPr lang="en-US" altLang="zh-CN" sz="2400" b="1" dirty="0">
                <a:latin typeface="Microsoft YaHei" panose="020B0503020204020204" pitchFamily="34" charset="-122"/>
                <a:ea typeface="Microsoft YaHei" panose="020B0503020204020204" pitchFamily="34" charset="-122"/>
                <a:cs typeface="Arial" panose="020B0604020202020204" pitchFamily="34" charset="0"/>
              </a:rPr>
            </a:br>
            <a:r>
              <a:rPr lang="zh-CN" altLang="en-US" sz="2400" b="1" dirty="0">
                <a:latin typeface="Microsoft YaHei" panose="020B0503020204020204" pitchFamily="34" charset="-122"/>
                <a:ea typeface="Microsoft YaHei" panose="020B0503020204020204" pitchFamily="34" charset="-122"/>
                <a:cs typeface="Arial" panose="020B0604020202020204" pitchFamily="34" charset="0"/>
              </a:rPr>
              <a:t>后续使用有效靶向药物机会小</a:t>
            </a:r>
            <a:endParaRPr lang="en-US" sz="2400" dirty="0"/>
          </a:p>
        </p:txBody>
      </p:sp>
      <p:pic>
        <p:nvPicPr>
          <p:cNvPr id="4" name="图片 3"/>
          <p:cNvPicPr>
            <a:picLocks noChangeAspect="1"/>
          </p:cNvPicPr>
          <p:nvPr/>
        </p:nvPicPr>
        <p:blipFill>
          <a:blip r:embed="rId3"/>
          <a:stretch>
            <a:fillRect/>
          </a:stretch>
        </p:blipFill>
        <p:spPr>
          <a:xfrm>
            <a:off x="869379" y="2353983"/>
            <a:ext cx="7832031" cy="3231527"/>
          </a:xfrm>
          <a:prstGeom prst="rect">
            <a:avLst/>
          </a:prstGeom>
        </p:spPr>
      </p:pic>
      <p:sp>
        <p:nvSpPr>
          <p:cNvPr id="5" name="文本框 4"/>
          <p:cNvSpPr txBox="1"/>
          <p:nvPr/>
        </p:nvSpPr>
        <p:spPr>
          <a:xfrm>
            <a:off x="1138102" y="1671699"/>
            <a:ext cx="295057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奥希替尼</a:t>
            </a:r>
            <a:r>
              <a:rPr kumimoji="0" lang="zh-CN" altLang="en-US" sz="1800" b="1" i="0" u="none" strike="noStrike" kern="1200" cap="none" spc="0" normalizeH="0" baseline="0" noProof="0" dirty="0">
                <a:ln>
                  <a:noFill/>
                </a:ln>
                <a:solidFill>
                  <a:srgbClr val="FF0000"/>
                </a:solidFill>
                <a:effectLst/>
                <a:uLnTx/>
                <a:uFillTx/>
                <a:latin typeface="Microsoft YaHei" panose="020B0503020204020204" pitchFamily="34" charset="-122"/>
                <a:ea typeface="Microsoft YaHei" panose="020B0503020204020204" pitchFamily="34" charset="-122"/>
                <a:cs typeface="+mn-cs"/>
              </a:rPr>
              <a:t>一线</a:t>
            </a:r>
            <a:r>
              <a:rPr kumimoji="0" lang="zh-CN" altLang="en-US" sz="1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治疗耐药图谱</a:t>
            </a:r>
            <a:endParaRPr kumimoji="0" lang="en-US" sz="1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p:sp>
        <p:nvSpPr>
          <p:cNvPr id="6" name="文本框 5"/>
          <p:cNvSpPr txBox="1"/>
          <p:nvPr/>
        </p:nvSpPr>
        <p:spPr>
          <a:xfrm>
            <a:off x="4931228" y="1671699"/>
            <a:ext cx="298486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奥希替尼</a:t>
            </a:r>
            <a:r>
              <a:rPr kumimoji="0" lang="zh-CN" altLang="en-US" sz="1800" b="1" i="0" u="none" strike="noStrike" kern="1200" cap="none" spc="0" normalizeH="0" baseline="0" noProof="0" dirty="0">
                <a:ln>
                  <a:noFill/>
                </a:ln>
                <a:solidFill>
                  <a:srgbClr val="FF0000"/>
                </a:solidFill>
                <a:effectLst/>
                <a:uLnTx/>
                <a:uFillTx/>
                <a:latin typeface="Microsoft YaHei" panose="020B0503020204020204" pitchFamily="34" charset="-122"/>
                <a:ea typeface="Microsoft YaHei" panose="020B0503020204020204" pitchFamily="34" charset="-122"/>
                <a:cs typeface="+mn-cs"/>
              </a:rPr>
              <a:t>二线</a:t>
            </a:r>
            <a:r>
              <a:rPr kumimoji="0" lang="zh-CN" altLang="en-US" sz="1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治疗耐药图谱</a:t>
            </a:r>
            <a:endParaRPr kumimoji="0" lang="en-US" sz="1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p:sp>
        <p:nvSpPr>
          <p:cNvPr id="7" name="文本框 6"/>
          <p:cNvSpPr txBox="1"/>
          <p:nvPr/>
        </p:nvSpPr>
        <p:spPr>
          <a:xfrm>
            <a:off x="2718707" y="3420721"/>
            <a:ext cx="652966" cy="584775"/>
          </a:xfrm>
          <a:prstGeom prst="rect">
            <a:avLst/>
          </a:prstGeom>
          <a:solidFill>
            <a:srgbClr val="D2D3D5"/>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未知</a:t>
            </a:r>
            <a:r>
              <a:rPr kumimoji="0" lang="en-US" altLang="zh-CN" sz="1600" b="1"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59%</a:t>
            </a:r>
            <a:endParaRPr kumimoji="0" lang="en-US" sz="1600" b="1" i="0" u="none" strike="noStrike" kern="1200" cap="none" spc="0" normalizeH="0" baseline="0" noProof="0" dirty="0">
              <a:ln>
                <a:noFill/>
              </a:ln>
              <a:solidFill>
                <a:prstClr val="black"/>
              </a:solidFill>
              <a:effectLst/>
              <a:uLnTx/>
              <a:uFillTx/>
              <a:latin typeface="Arial"/>
              <a:ea typeface="+mn-ea"/>
              <a:cs typeface="+mn-cs"/>
            </a:endParaRPr>
          </a:p>
        </p:txBody>
      </p:sp>
      <p:sp>
        <p:nvSpPr>
          <p:cNvPr id="8" name="文本框 7"/>
          <p:cNvSpPr txBox="1"/>
          <p:nvPr/>
        </p:nvSpPr>
        <p:spPr>
          <a:xfrm>
            <a:off x="6369776" y="3599255"/>
            <a:ext cx="684167" cy="584775"/>
          </a:xfrm>
          <a:prstGeom prst="rect">
            <a:avLst/>
          </a:prstGeom>
          <a:solidFill>
            <a:srgbClr val="D2D3D5"/>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未知</a:t>
            </a:r>
            <a:r>
              <a:rPr kumimoji="0" lang="en-US" altLang="zh-CN" sz="1600" b="1"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29%</a:t>
            </a:r>
            <a:endParaRPr kumimoji="0" lang="en-US" sz="1600" b="1" i="0" u="none" strike="noStrike" kern="1200" cap="none" spc="0" normalizeH="0" baseline="0" noProof="0" dirty="0">
              <a:ln>
                <a:noFill/>
              </a:ln>
              <a:solidFill>
                <a:prstClr val="black"/>
              </a:solidFill>
              <a:effectLst/>
              <a:uLnTx/>
              <a:uFillTx/>
              <a:latin typeface="Arial"/>
              <a:ea typeface="+mn-ea"/>
              <a:cs typeface="+mn-cs"/>
            </a:endParaRPr>
          </a:p>
        </p:txBody>
      </p:sp>
      <p:sp>
        <p:nvSpPr>
          <p:cNvPr id="9" name="文本框 8"/>
          <p:cNvSpPr txBox="1"/>
          <p:nvPr/>
        </p:nvSpPr>
        <p:spPr>
          <a:xfrm>
            <a:off x="62049" y="3255039"/>
            <a:ext cx="781068"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FF0000"/>
                </a:solidFill>
                <a:effectLst/>
                <a:uLnTx/>
                <a:uFillTx/>
                <a:latin typeface="Arial"/>
                <a:ea typeface="黑体" panose="02010609060101010101" pitchFamily="49" charset="-122"/>
                <a:cs typeface="+mn-cs"/>
              </a:rPr>
              <a:t>~18%</a:t>
            </a:r>
            <a:r>
              <a:rPr kumimoji="0" lang="zh-CN" altLang="en-US" sz="1800" b="1" i="0" u="none" strike="noStrike" kern="1200" cap="none" spc="0" normalizeH="0" baseline="0" noProof="0" dirty="0">
                <a:ln>
                  <a:noFill/>
                </a:ln>
                <a:solidFill>
                  <a:srgbClr val="FF0000"/>
                </a:solidFill>
                <a:effectLst/>
                <a:uLnTx/>
                <a:uFillTx/>
                <a:latin typeface="Arial"/>
                <a:ea typeface="黑体" panose="02010609060101010101" pitchFamily="49" charset="-122"/>
                <a:cs typeface="+mn-cs"/>
              </a:rPr>
              <a:t> </a:t>
            </a:r>
            <a:r>
              <a:rPr kumimoji="0" lang="zh-CN" altLang="en-US" sz="12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有效靶向治疗</a:t>
            </a:r>
            <a:endParaRPr kumimoji="0" lang="en-US" sz="12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p:sp>
        <p:nvSpPr>
          <p:cNvPr id="11" name="左大括号 10"/>
          <p:cNvSpPr/>
          <p:nvPr/>
        </p:nvSpPr>
        <p:spPr>
          <a:xfrm>
            <a:off x="919090" y="2353983"/>
            <a:ext cx="54937" cy="2374771"/>
          </a:xfrm>
          <a:prstGeom prst="leftBrace">
            <a:avLst/>
          </a:prstGeom>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a:ea typeface="+mn-ea"/>
              <a:cs typeface="+mn-cs"/>
            </a:endParaRPr>
          </a:p>
        </p:txBody>
      </p:sp>
      <p:sp>
        <p:nvSpPr>
          <p:cNvPr id="12" name="文本框 11"/>
          <p:cNvSpPr txBox="1"/>
          <p:nvPr/>
        </p:nvSpPr>
        <p:spPr>
          <a:xfrm>
            <a:off x="8374554" y="3384465"/>
            <a:ext cx="781068"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FF0000"/>
                </a:solidFill>
                <a:effectLst/>
                <a:uLnTx/>
                <a:uFillTx/>
                <a:latin typeface="Arial"/>
                <a:ea typeface="黑体" panose="02010609060101010101" pitchFamily="49" charset="-122"/>
                <a:cs typeface="+mn-cs"/>
              </a:rPr>
              <a:t>~46%</a:t>
            </a:r>
            <a:r>
              <a:rPr kumimoji="0" lang="zh-CN" altLang="en-US" sz="1800" b="1" i="0" u="none" strike="noStrike" kern="1200" cap="none" spc="0" normalizeH="0" baseline="0" noProof="0" dirty="0">
                <a:ln>
                  <a:noFill/>
                </a:ln>
                <a:solidFill>
                  <a:srgbClr val="FF0000"/>
                </a:solidFill>
                <a:effectLst/>
                <a:uLnTx/>
                <a:uFillTx/>
                <a:latin typeface="Arial"/>
                <a:ea typeface="黑体" panose="02010609060101010101" pitchFamily="49" charset="-122"/>
                <a:cs typeface="+mn-cs"/>
              </a:rPr>
              <a:t> </a:t>
            </a:r>
            <a:r>
              <a:rPr kumimoji="0" lang="zh-CN" altLang="en-US" sz="12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有效靶向治疗</a:t>
            </a:r>
            <a:endParaRPr kumimoji="0" lang="en-US" sz="12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p:sp>
        <p:nvSpPr>
          <p:cNvPr id="13" name="右大括号 12"/>
          <p:cNvSpPr/>
          <p:nvPr/>
        </p:nvSpPr>
        <p:spPr>
          <a:xfrm>
            <a:off x="8312980" y="2353983"/>
            <a:ext cx="45719" cy="2560651"/>
          </a:xfrm>
          <a:prstGeom prst="rightBrace">
            <a:avLst/>
          </a:prstGeom>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a:ea typeface="+mn-ea"/>
              <a:cs typeface="+mn-cs"/>
            </a:endParaRPr>
          </a:p>
        </p:txBody>
      </p:sp>
      <p:sp>
        <p:nvSpPr>
          <p:cNvPr id="14" name="文本框 13"/>
          <p:cNvSpPr txBox="1"/>
          <p:nvPr/>
        </p:nvSpPr>
        <p:spPr>
          <a:xfrm>
            <a:off x="497179" y="5849336"/>
            <a:ext cx="7935686" cy="369332"/>
          </a:xfrm>
          <a:prstGeom prst="rect">
            <a:avLst/>
          </a:prstGeom>
          <a:noFill/>
        </p:spPr>
        <p:txBody>
          <a:bodyPr wrap="square" rtlCol="0">
            <a:spAutoFit/>
          </a:bodyPr>
          <a:lstStyle/>
          <a:p>
            <a:pPr marL="214313" marR="0" lvl="0" indent="-214313"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8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有靶向治疗的靶点：</a:t>
            </a:r>
            <a:r>
              <a:rPr kumimoji="0" lang="en-US" altLang="zh-CN" sz="18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EGFR</a:t>
            </a:r>
            <a:r>
              <a:rPr kumimoji="0" lang="zh-CN" altLang="en-US" sz="18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a:t>
            </a:r>
            <a:r>
              <a:rPr kumimoji="0" lang="en-US" altLang="zh-CN" sz="18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MET</a:t>
            </a:r>
            <a:r>
              <a:rPr kumimoji="0" lang="zh-CN" altLang="en-US" sz="18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a:t>
            </a:r>
            <a:r>
              <a:rPr kumimoji="0" lang="en-US" altLang="zh-CN" sz="18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BRAF</a:t>
            </a:r>
            <a:r>
              <a:rPr kumimoji="0" lang="zh-CN" altLang="en-US" sz="18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a:t>
            </a:r>
            <a:r>
              <a:rPr kumimoji="0" lang="en-US" altLang="zh-CN" sz="18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HER</a:t>
            </a:r>
            <a:r>
              <a:rPr kumimoji="0" lang="zh-CN" altLang="en-US" sz="18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a:t>
            </a:r>
            <a:r>
              <a:rPr kumimoji="0" lang="en-US" altLang="zh-CN" sz="18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RET</a:t>
            </a:r>
            <a:r>
              <a:rPr kumimoji="0" lang="zh-CN" altLang="en-US" sz="18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及</a:t>
            </a:r>
            <a:r>
              <a:rPr kumimoji="0" lang="en-US" altLang="zh-CN" sz="18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ALK</a:t>
            </a: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 name="文本框 14"/>
          <p:cNvSpPr txBox="1"/>
          <p:nvPr/>
        </p:nvSpPr>
        <p:spPr>
          <a:xfrm>
            <a:off x="87168" y="3003048"/>
            <a:ext cx="70623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二线</a:t>
            </a:r>
            <a:endParaRPr kumimoji="0" lang="en-US" sz="16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p:sp>
        <p:nvSpPr>
          <p:cNvPr id="16" name="文本框 15"/>
          <p:cNvSpPr txBox="1"/>
          <p:nvPr/>
        </p:nvSpPr>
        <p:spPr>
          <a:xfrm>
            <a:off x="8374553" y="3120639"/>
            <a:ext cx="70623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三线</a:t>
            </a:r>
            <a:endParaRPr kumimoji="0" lang="en-US" sz="16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p:sp>
        <p:nvSpPr>
          <p:cNvPr id="17" name="页脚占位符 3"/>
          <p:cNvSpPr txBox="1">
            <a:spLocks/>
          </p:cNvSpPr>
          <p:nvPr/>
        </p:nvSpPr>
        <p:spPr>
          <a:xfrm>
            <a:off x="205740" y="6420723"/>
            <a:ext cx="2171700" cy="20557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2019 ASCO abstract 9028</a:t>
            </a:r>
            <a:endParaRPr kumimoji="0" lang="en-US" sz="1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985682513"/>
      </p:ext>
    </p:extLst>
  </p:cSld>
  <p:clrMapOvr>
    <a:masterClrMapping/>
  </p:clrMapOvr>
  <p:transition spd="med">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253220" y="315144"/>
            <a:ext cx="7804094" cy="720197"/>
          </a:xfrm>
        </p:spPr>
        <p:txBody>
          <a:bodyPr anchor="ctr"/>
          <a:lstStyle/>
          <a:p>
            <a:r>
              <a:rPr lang="en-US" altLang="zh-CN" sz="2400" b="1" dirty="0">
                <a:latin typeface="Microsoft YaHei" panose="020B0503020204020204" pitchFamily="34" charset="-122"/>
                <a:ea typeface="Microsoft YaHei" panose="020B0503020204020204" pitchFamily="34" charset="-122"/>
              </a:rPr>
              <a:t>LUX-LUNG7</a:t>
            </a:r>
            <a:r>
              <a:rPr lang="zh-CN" altLang="en-US" sz="2400" b="1" dirty="0">
                <a:latin typeface="Microsoft YaHei" panose="020B0503020204020204" pitchFamily="34" charset="-122"/>
                <a:ea typeface="Microsoft YaHei" panose="020B0503020204020204" pitchFamily="34" charset="-122"/>
              </a:rPr>
              <a:t>研究中：一线使用吉泰瑞</a:t>
            </a:r>
            <a:r>
              <a:rPr lang="en-US" altLang="zh-CN" sz="2400" b="1" baseline="30000" dirty="0">
                <a:latin typeface="Microsoft YaHei" panose="020B0503020204020204" pitchFamily="34" charset="-122"/>
                <a:ea typeface="Microsoft YaHei" panose="020B0503020204020204" pitchFamily="34" charset="-122"/>
              </a:rPr>
              <a:t>®</a:t>
            </a:r>
            <a:r>
              <a:rPr lang="zh-CN" altLang="en-US" sz="2400" b="1" dirty="0">
                <a:latin typeface="Microsoft YaHei" panose="020B0503020204020204" pitchFamily="34" charset="-122"/>
                <a:ea typeface="Microsoft YaHei" panose="020B0503020204020204" pitchFamily="34" charset="-122"/>
              </a:rPr>
              <a:t>的患者，后线接受奥希替尼治疗较一代</a:t>
            </a:r>
            <a:r>
              <a:rPr lang="en-US" altLang="zh-CN" sz="2400" b="1" dirty="0">
                <a:latin typeface="Microsoft YaHei" panose="020B0503020204020204" pitchFamily="34" charset="-122"/>
                <a:ea typeface="Microsoft YaHei" panose="020B0503020204020204" pitchFamily="34" charset="-122"/>
              </a:rPr>
              <a:t>TKI</a:t>
            </a:r>
            <a:r>
              <a:rPr lang="zh-CN" altLang="en-US" sz="2400" b="1" dirty="0">
                <a:latin typeface="Microsoft YaHei" panose="020B0503020204020204" pitchFamily="34" charset="-122"/>
                <a:ea typeface="Microsoft YaHei" panose="020B0503020204020204" pitchFamily="34" charset="-122"/>
              </a:rPr>
              <a:t>更能延长</a:t>
            </a:r>
            <a:r>
              <a:rPr lang="en-US" altLang="zh-CN" sz="2400" b="1" dirty="0">
                <a:latin typeface="Microsoft YaHei" panose="020B0503020204020204" pitchFamily="34" charset="-122"/>
                <a:ea typeface="Microsoft YaHei" panose="020B0503020204020204" pitchFamily="34" charset="-122"/>
              </a:rPr>
              <a:t>OS</a:t>
            </a:r>
            <a:endParaRPr lang="zh-CN" altLang="en-US" sz="2400" b="1" dirty="0">
              <a:latin typeface="Microsoft YaHei" panose="020B0503020204020204" pitchFamily="34" charset="-122"/>
              <a:ea typeface="Microsoft YaHei" panose="020B0503020204020204" pitchFamily="34" charset="-122"/>
            </a:endParaRPr>
          </a:p>
        </p:txBody>
      </p:sp>
      <p:sp>
        <p:nvSpPr>
          <p:cNvPr id="8" name="Footer Placeholder 2"/>
          <p:cNvSpPr txBox="1">
            <a:spLocks/>
          </p:cNvSpPr>
          <p:nvPr/>
        </p:nvSpPr>
        <p:spPr>
          <a:xfrm>
            <a:off x="565431" y="6348702"/>
            <a:ext cx="7970412" cy="364332"/>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sz="1200" kern="0">
                <a:solidFill>
                  <a:sysClr val="windowText" lastClr="000000"/>
                </a:solidFill>
              </a:rPr>
              <a:t>Corral J, et al. Annals of Oncology. 2017;28 (suppl 2):ii28-ii51.</a:t>
            </a:r>
          </a:p>
          <a:p>
            <a:pPr>
              <a:defRPr/>
            </a:pPr>
            <a:endParaRPr lang="en-US" sz="1200" kern="0" dirty="0">
              <a:solidFill>
                <a:sysClr val="windowText" lastClr="000000"/>
              </a:solidFill>
            </a:endParaRPr>
          </a:p>
        </p:txBody>
      </p:sp>
      <p:pic>
        <p:nvPicPr>
          <p:cNvPr id="12" name="Picture 4"/>
          <p:cNvPicPr>
            <a:picLocks noChangeAspect="1"/>
          </p:cNvPicPr>
          <p:nvPr/>
        </p:nvPicPr>
        <p:blipFill>
          <a:blip r:embed="rId3"/>
          <a:stretch>
            <a:fillRect/>
          </a:stretch>
        </p:blipFill>
        <p:spPr>
          <a:xfrm>
            <a:off x="574984" y="1516925"/>
            <a:ext cx="8031558" cy="4350193"/>
          </a:xfrm>
          <a:prstGeom prst="rect">
            <a:avLst/>
          </a:prstGeom>
        </p:spPr>
      </p:pic>
      <p:sp>
        <p:nvSpPr>
          <p:cNvPr id="11" name="文本框 10"/>
          <p:cNvSpPr txBox="1"/>
          <p:nvPr/>
        </p:nvSpPr>
        <p:spPr>
          <a:xfrm>
            <a:off x="565431" y="5597815"/>
            <a:ext cx="695811" cy="24622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吉非替尼</a:t>
            </a:r>
            <a:endParaRPr kumimoji="0" lang="en-US" sz="10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p:sp>
        <p:nvSpPr>
          <p:cNvPr id="10" name="文本框 9"/>
          <p:cNvSpPr txBox="1"/>
          <p:nvPr/>
        </p:nvSpPr>
        <p:spPr>
          <a:xfrm>
            <a:off x="590750" y="5373920"/>
            <a:ext cx="670492" cy="26161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100" b="1" i="0" u="none" strike="noStrike" kern="1200" cap="none" spc="0" normalizeH="0" baseline="0" noProof="0" dirty="0">
                <a:ln>
                  <a:noFill/>
                </a:ln>
                <a:solidFill>
                  <a:srgbClr val="F79646">
                    <a:lumMod val="50000"/>
                  </a:srgbClr>
                </a:solidFill>
                <a:effectLst/>
                <a:uLnTx/>
                <a:uFillTx/>
                <a:latin typeface="Microsoft YaHei" panose="020B0503020204020204" pitchFamily="34" charset="-122"/>
                <a:ea typeface="Microsoft YaHei" panose="020B0503020204020204" pitchFamily="34" charset="-122"/>
                <a:cs typeface="+mn-cs"/>
              </a:rPr>
              <a:t>吉泰瑞</a:t>
            </a:r>
            <a:endParaRPr kumimoji="0" lang="en-US" sz="1100" b="1" i="0" u="none" strike="noStrike" kern="1200" cap="none" spc="0" normalizeH="0" baseline="0" noProof="0" dirty="0">
              <a:ln>
                <a:noFill/>
              </a:ln>
              <a:solidFill>
                <a:srgbClr val="F79646">
                  <a:lumMod val="50000"/>
                </a:srgbClr>
              </a:solidFill>
              <a:effectLst/>
              <a:uLnTx/>
              <a:uFillTx/>
              <a:latin typeface="Microsoft YaHei" panose="020B0503020204020204" pitchFamily="34" charset="-122"/>
              <a:ea typeface="Microsoft YaHei" panose="020B0503020204020204" pitchFamily="34" charset="-122"/>
              <a:cs typeface="+mn-cs"/>
            </a:endParaRPr>
          </a:p>
        </p:txBody>
      </p:sp>
    </p:spTree>
    <p:extLst>
      <p:ext uri="{BB962C8B-B14F-4D97-AF65-F5344CB8AC3E}">
        <p14:creationId xmlns:p14="http://schemas.microsoft.com/office/powerpoint/2010/main" val="5016821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a:xfrm>
            <a:off x="443277" y="375216"/>
            <a:ext cx="8550275" cy="406265"/>
          </a:xfrm>
        </p:spPr>
        <p:txBody>
          <a:bodyPr/>
          <a:lstStyle/>
          <a:p>
            <a:r>
              <a:rPr lang="zh-CN" altLang="en-US" sz="2400" b="1" dirty="0">
                <a:latin typeface="Microsoft YaHei" panose="020B0503020204020204" pitchFamily="34" charset="-122"/>
                <a:ea typeface="Microsoft YaHei" panose="020B0503020204020204" pitchFamily="34" charset="-122"/>
              </a:rPr>
              <a:t>主要内容</a:t>
            </a:r>
            <a:endParaRPr lang="en-US" sz="2400" b="1" dirty="0">
              <a:latin typeface="Microsoft YaHei" panose="020B0503020204020204" pitchFamily="34" charset="-122"/>
              <a:ea typeface="Microsoft YaHei" panose="020B0503020204020204" pitchFamily="34" charset="-122"/>
            </a:endParaRPr>
          </a:p>
        </p:txBody>
      </p:sp>
      <p:cxnSp>
        <p:nvCxnSpPr>
          <p:cNvPr id="8" name="直接连接符 7"/>
          <p:cNvCxnSpPr/>
          <p:nvPr/>
        </p:nvCxnSpPr>
        <p:spPr>
          <a:xfrm>
            <a:off x="443277" y="1998617"/>
            <a:ext cx="0" cy="3487783"/>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6" name="文本框 5"/>
          <p:cNvSpPr txBox="1"/>
          <p:nvPr/>
        </p:nvSpPr>
        <p:spPr>
          <a:xfrm>
            <a:off x="443277" y="1998617"/>
            <a:ext cx="8700723" cy="4247317"/>
          </a:xfrm>
          <a:prstGeom prst="rect">
            <a:avLst/>
          </a:prstGeom>
          <a:noFill/>
        </p:spPr>
        <p:txBody>
          <a:bodyPr wrap="square" rtlCol="0">
            <a:spAutoFit/>
          </a:bodyPr>
          <a:lstStyle/>
          <a:p>
            <a:pPr marL="285750" marR="0" lvl="0" indent="-285750" algn="l" defTabSz="914400" rtl="0" eaLnBrk="1" fontAlgn="auto" latinLnBrk="0" hangingPunct="1">
              <a:lnSpc>
                <a:spcPct val="150000"/>
              </a:lnSpc>
              <a:spcBef>
                <a:spcPts val="0"/>
              </a:spcBef>
              <a:spcAft>
                <a:spcPts val="0"/>
              </a:spcAft>
              <a:buClr>
                <a:srgbClr val="C3B600"/>
              </a:buClr>
              <a:buSzTx/>
              <a:buFont typeface="Wingdings" panose="05000000000000000000" pitchFamily="2" charset="2"/>
              <a:buChar char="§"/>
              <a:tabLst/>
              <a:defRPr/>
            </a:pPr>
            <a:r>
              <a:rPr kumimoji="0" lang="zh-CN" altLang="en-US"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吉泰瑞</a:t>
            </a:r>
            <a:r>
              <a:rPr kumimoji="0" lang="en-US" altLang="zh-CN" sz="2000" b="0" i="0" u="none" strike="noStrike" kern="1200" cap="none" spc="0" normalizeH="0" baseline="3000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a:t>
            </a:r>
            <a:r>
              <a:rPr kumimoji="0" lang="zh-CN" altLang="en-US"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首个证实在一线治疗</a:t>
            </a:r>
            <a:r>
              <a:rPr kumimoji="0" lang="en-US" altLang="zh-CN"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EGFR</a:t>
            </a:r>
            <a:r>
              <a:rPr kumimoji="0" lang="zh-CN" altLang="en-US"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常见突变患者中有</a:t>
            </a:r>
            <a:r>
              <a:rPr kumimoji="0" lang="en-US" altLang="zh-CN"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OS</a:t>
            </a:r>
            <a:r>
              <a:rPr kumimoji="0" lang="zh-CN" altLang="en-US"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获益的</a:t>
            </a:r>
            <a:r>
              <a:rPr kumimoji="0" lang="en-US" altLang="zh-CN"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EGFR-TKI</a:t>
            </a:r>
          </a:p>
          <a:p>
            <a:pPr marL="285750" marR="0" lvl="0" indent="-285750" algn="l" defTabSz="914400" rtl="0" eaLnBrk="1" fontAlgn="auto" latinLnBrk="0" hangingPunct="1">
              <a:lnSpc>
                <a:spcPct val="150000"/>
              </a:lnSpc>
              <a:spcBef>
                <a:spcPts val="0"/>
              </a:spcBef>
              <a:spcAft>
                <a:spcPts val="0"/>
              </a:spcAft>
              <a:buClr>
                <a:srgbClr val="C3B600"/>
              </a:buClr>
              <a:buSzTx/>
              <a:buFont typeface="Wingdings" panose="05000000000000000000" pitchFamily="2" charset="2"/>
              <a:buChar char="§"/>
              <a:tabLst/>
              <a:defRPr/>
            </a:pPr>
            <a:endParaRPr kumimoji="0" lang="en-US"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endParaRPr>
          </a:p>
          <a:p>
            <a:pPr marL="285750" marR="0" lvl="0" indent="-285750" algn="l" defTabSz="914400" rtl="0" eaLnBrk="1" fontAlgn="auto" latinLnBrk="0" hangingPunct="1">
              <a:lnSpc>
                <a:spcPct val="150000"/>
              </a:lnSpc>
              <a:spcBef>
                <a:spcPts val="0"/>
              </a:spcBef>
              <a:spcAft>
                <a:spcPts val="0"/>
              </a:spcAft>
              <a:buClr>
                <a:srgbClr val="C3B600"/>
              </a:buClr>
              <a:buSzTx/>
              <a:buFont typeface="Wingdings" panose="05000000000000000000" pitchFamily="2" charset="2"/>
              <a:buChar char="§"/>
              <a:tabLst/>
              <a:defRPr/>
            </a:pPr>
            <a:r>
              <a:rPr kumimoji="0" lang="zh-CN" altLang="en-US"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吉泰瑞</a:t>
            </a:r>
            <a:r>
              <a:rPr kumimoji="0" lang="en-US" altLang="zh-CN" sz="2000" b="0" i="0" u="none" strike="noStrike" kern="1200" cap="none" spc="0" normalizeH="0" baseline="3000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a:t>
            </a:r>
            <a:r>
              <a:rPr kumimoji="0" lang="zh-CN" altLang="en-US"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一线治疗较一代</a:t>
            </a:r>
            <a:r>
              <a:rPr kumimoji="0" lang="en-US" altLang="zh-CN"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TKI</a:t>
            </a:r>
            <a:r>
              <a:rPr kumimoji="0" lang="zh-CN" altLang="en-US"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显著延长</a:t>
            </a:r>
            <a:r>
              <a:rPr kumimoji="0" lang="en-US" altLang="zh-CN"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EGFR</a:t>
            </a:r>
            <a:r>
              <a:rPr kumimoji="0" lang="zh-CN" altLang="en-US"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常见突变患者</a:t>
            </a:r>
            <a:r>
              <a:rPr kumimoji="0" lang="en-US" altLang="zh-CN"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PFS</a:t>
            </a:r>
          </a:p>
          <a:p>
            <a:pPr marL="285750" marR="0" lvl="0" indent="-285750" algn="l" defTabSz="914400" rtl="0" eaLnBrk="1" fontAlgn="auto" latinLnBrk="0" hangingPunct="1">
              <a:lnSpc>
                <a:spcPct val="150000"/>
              </a:lnSpc>
              <a:spcBef>
                <a:spcPts val="0"/>
              </a:spcBef>
              <a:spcAft>
                <a:spcPts val="0"/>
              </a:spcAft>
              <a:buClr>
                <a:srgbClr val="C3B600"/>
              </a:buClr>
              <a:buSzTx/>
              <a:buFont typeface="Wingdings" panose="05000000000000000000" pitchFamily="2" charset="2"/>
              <a:buChar char="§"/>
              <a:tabLst/>
              <a:defRPr/>
            </a:pPr>
            <a:endParaRPr kumimoji="0" lang="en-US" altLang="zh-CN"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endParaRPr>
          </a:p>
          <a:p>
            <a:pPr marL="285750" marR="0" lvl="0" indent="-285750" algn="l" defTabSz="914400" rtl="0" eaLnBrk="1" fontAlgn="auto" latinLnBrk="0" hangingPunct="1">
              <a:lnSpc>
                <a:spcPct val="150000"/>
              </a:lnSpc>
              <a:spcBef>
                <a:spcPts val="0"/>
              </a:spcBef>
              <a:spcAft>
                <a:spcPts val="0"/>
              </a:spcAft>
              <a:buClr>
                <a:srgbClr val="C3B600"/>
              </a:buClr>
              <a:buSzTx/>
              <a:buFont typeface="Wingdings" panose="05000000000000000000" pitchFamily="2" charset="2"/>
              <a:buChar char="§"/>
              <a:tabLst/>
              <a:defRPr/>
            </a:pPr>
            <a:r>
              <a:rPr kumimoji="0" lang="zh-CN" altLang="en-US"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吉泰瑞</a:t>
            </a:r>
            <a:r>
              <a:rPr kumimoji="0" lang="en-US" altLang="zh-CN" sz="2000" b="0" i="0" u="none" strike="noStrike" kern="1200" cap="none" spc="0" normalizeH="0" baseline="3000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a:t>
            </a:r>
            <a:r>
              <a:rPr kumimoji="0" lang="zh-CN" altLang="en-US"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一线治疗让患者有更多接受后续治疗的机会，带来长生存的希望</a:t>
            </a:r>
            <a:endParaRPr kumimoji="0" lang="en-US" altLang="zh-CN"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endParaRPr>
          </a:p>
          <a:p>
            <a:pPr marL="285750" marR="0" lvl="0" indent="-285750" algn="l" defTabSz="914400" rtl="0" eaLnBrk="1" fontAlgn="auto" latinLnBrk="0" hangingPunct="1">
              <a:lnSpc>
                <a:spcPct val="150000"/>
              </a:lnSpc>
              <a:spcBef>
                <a:spcPts val="0"/>
              </a:spcBef>
              <a:spcAft>
                <a:spcPts val="0"/>
              </a:spcAft>
              <a:buClr>
                <a:srgbClr val="C3B600"/>
              </a:buClr>
              <a:buSzTx/>
              <a:buFont typeface="Wingdings" panose="05000000000000000000" pitchFamily="2" charset="2"/>
              <a:buChar char="§"/>
              <a:tabLst/>
              <a:defRPr/>
            </a:pPr>
            <a:endParaRPr kumimoji="0" lang="en-US" altLang="zh-CN" sz="2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a:p>
            <a:pPr marL="285750" marR="0" lvl="0" indent="-285750" algn="l" defTabSz="914400" rtl="0" eaLnBrk="1" fontAlgn="auto" latinLnBrk="0" hangingPunct="1">
              <a:lnSpc>
                <a:spcPct val="150000"/>
              </a:lnSpc>
              <a:spcBef>
                <a:spcPts val="0"/>
              </a:spcBef>
              <a:spcAft>
                <a:spcPts val="0"/>
              </a:spcAft>
              <a:buClr>
                <a:srgbClr val="C3B600"/>
              </a:buClr>
              <a:buSzTx/>
              <a:buFont typeface="Wingdings" panose="05000000000000000000" pitchFamily="2" charset="2"/>
              <a:buChar char="§"/>
              <a:tabLst/>
              <a:defRPr/>
            </a:pPr>
            <a:r>
              <a:rPr kumimoji="0" lang="zh-CN" altLang="en-US" sz="2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吉泰瑞</a:t>
            </a:r>
            <a:r>
              <a:rPr kumimoji="0" lang="en-US" altLang="zh-CN" sz="2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a:t>
            </a:r>
            <a:r>
              <a:rPr kumimoji="0" lang="zh-CN" altLang="en-US" sz="2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一线治疗是</a:t>
            </a:r>
            <a:r>
              <a:rPr kumimoji="0" lang="en-US" altLang="zh-CN" sz="2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EGFR</a:t>
            </a:r>
            <a:r>
              <a:rPr kumimoji="0" lang="zh-CN" altLang="en-US" sz="2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突变患者经济的治疗选择</a:t>
            </a:r>
            <a:endParaRPr kumimoji="0" lang="en-US" altLang="zh-CN" sz="2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p:spTree>
    <p:extLst>
      <p:ext uri="{BB962C8B-B14F-4D97-AF65-F5344CB8AC3E}">
        <p14:creationId xmlns:p14="http://schemas.microsoft.com/office/powerpoint/2010/main" val="35024314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07387" y="446836"/>
            <a:ext cx="8640670" cy="406265"/>
          </a:xfrm>
        </p:spPr>
        <p:txBody>
          <a:bodyPr/>
          <a:lstStyle/>
          <a:p>
            <a:r>
              <a:rPr lang="zh-CN" altLang="en-US" sz="2400" b="1" dirty="0">
                <a:latin typeface="Microsoft YaHei" panose="020B0503020204020204" pitchFamily="34" charset="-122"/>
                <a:ea typeface="Microsoft YaHei" panose="020B0503020204020204" pitchFamily="34" charset="-122"/>
              </a:rPr>
              <a:t>不同治疗模式的费用</a:t>
            </a:r>
            <a:endParaRPr lang="en-US" sz="2400" b="1" dirty="0">
              <a:latin typeface="Microsoft YaHei" panose="020B0503020204020204" pitchFamily="34" charset="-122"/>
              <a:ea typeface="Microsoft YaHei" panose="020B0503020204020204" pitchFamily="34" charset="-122"/>
            </a:endParaRPr>
          </a:p>
        </p:txBody>
      </p:sp>
      <p:sp>
        <p:nvSpPr>
          <p:cNvPr id="6" name="矩形 5"/>
          <p:cNvSpPr/>
          <p:nvPr/>
        </p:nvSpPr>
        <p:spPr>
          <a:xfrm>
            <a:off x="587829" y="2599508"/>
            <a:ext cx="3108960" cy="770709"/>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n-cs"/>
              </a:rPr>
              <a:t>吉泰瑞 </a:t>
            </a:r>
            <a:r>
              <a:rPr kumimoji="0" lang="en-US" altLang="zh-CN" sz="1800"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n-cs"/>
              </a:rPr>
              <a:t>12</a:t>
            </a:r>
            <a:r>
              <a:rPr kumimoji="0" lang="zh-CN" altLang="en-US" sz="1800"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n-cs"/>
              </a:rPr>
              <a:t>个月</a:t>
            </a:r>
            <a:endParaRPr kumimoji="0" lang="en-US" sz="1800"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n-cs"/>
            </a:endParaRPr>
          </a:p>
        </p:txBody>
      </p:sp>
      <p:sp>
        <p:nvSpPr>
          <p:cNvPr id="8" name="矩形 7"/>
          <p:cNvSpPr/>
          <p:nvPr/>
        </p:nvSpPr>
        <p:spPr>
          <a:xfrm>
            <a:off x="3683727" y="2599508"/>
            <a:ext cx="2899953" cy="77070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n-cs"/>
              </a:rPr>
              <a:t>奥希替尼 </a:t>
            </a:r>
            <a:r>
              <a:rPr kumimoji="0" lang="en-US" altLang="zh-CN" sz="1800"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n-cs"/>
              </a:rPr>
              <a:t>10</a:t>
            </a:r>
            <a:r>
              <a:rPr kumimoji="0" lang="zh-CN" altLang="en-US" sz="1800"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n-cs"/>
              </a:rPr>
              <a:t>个月</a:t>
            </a:r>
            <a:endParaRPr kumimoji="0" lang="en-US" sz="1800"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n-cs"/>
            </a:endParaRPr>
          </a:p>
        </p:txBody>
      </p:sp>
      <p:sp>
        <p:nvSpPr>
          <p:cNvPr id="9" name="矩形 8"/>
          <p:cNvSpPr/>
          <p:nvPr/>
        </p:nvSpPr>
        <p:spPr>
          <a:xfrm>
            <a:off x="6583681" y="2599508"/>
            <a:ext cx="1920240" cy="77070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prstClr val="white"/>
                </a:solidFill>
                <a:effectLst/>
                <a:uLnTx/>
                <a:uFillTx/>
                <a:latin typeface="Arial"/>
                <a:ea typeface="黑体" panose="02010609060101010101" pitchFamily="49" charset="-122"/>
                <a:cs typeface="+mn-cs"/>
              </a:rPr>
              <a:t>化疗</a:t>
            </a: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0" name="矩形 9"/>
          <p:cNvSpPr/>
          <p:nvPr/>
        </p:nvSpPr>
        <p:spPr>
          <a:xfrm>
            <a:off x="587829" y="4685211"/>
            <a:ext cx="4898571" cy="77070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n-cs"/>
              </a:rPr>
              <a:t>奥希替尼 </a:t>
            </a:r>
            <a:r>
              <a:rPr kumimoji="0" lang="en-US" altLang="zh-CN" sz="1800"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n-cs"/>
              </a:rPr>
              <a:t>18</a:t>
            </a:r>
            <a:r>
              <a:rPr kumimoji="0" lang="zh-CN" altLang="en-US" sz="1800"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n-cs"/>
              </a:rPr>
              <a:t>个月</a:t>
            </a:r>
            <a:endParaRPr kumimoji="0" lang="en-US" sz="1800"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n-cs"/>
            </a:endParaRPr>
          </a:p>
        </p:txBody>
      </p:sp>
      <p:sp>
        <p:nvSpPr>
          <p:cNvPr id="11" name="矩形 10"/>
          <p:cNvSpPr/>
          <p:nvPr/>
        </p:nvSpPr>
        <p:spPr>
          <a:xfrm>
            <a:off x="5486400" y="4685211"/>
            <a:ext cx="1920240" cy="77070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prstClr val="white"/>
                </a:solidFill>
                <a:effectLst/>
                <a:uLnTx/>
                <a:uFillTx/>
                <a:latin typeface="Arial"/>
                <a:ea typeface="黑体" panose="02010609060101010101" pitchFamily="49" charset="-122"/>
                <a:cs typeface="+mn-cs"/>
              </a:rPr>
              <a:t>化疗</a:t>
            </a: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9" name="组合 18"/>
          <p:cNvGrpSpPr/>
          <p:nvPr/>
        </p:nvGrpSpPr>
        <p:grpSpPr>
          <a:xfrm>
            <a:off x="587829" y="2019685"/>
            <a:ext cx="818413" cy="1019176"/>
            <a:chOff x="587829" y="2019685"/>
            <a:chExt cx="818413" cy="1019176"/>
          </a:xfrm>
        </p:grpSpPr>
        <p:pic>
          <p:nvPicPr>
            <p:cNvPr id="12" name="图片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7829" y="2220448"/>
              <a:ext cx="818413" cy="818413"/>
            </a:xfrm>
            <a:prstGeom prst="rect">
              <a:avLst/>
            </a:prstGeom>
          </p:spPr>
        </p:pic>
        <p:sp>
          <p:nvSpPr>
            <p:cNvPr id="14" name="文本框 13"/>
            <p:cNvSpPr txBox="1"/>
            <p:nvPr/>
          </p:nvSpPr>
          <p:spPr>
            <a:xfrm>
              <a:off x="644337" y="2019685"/>
              <a:ext cx="70539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医保</a:t>
              </a:r>
              <a:endParaRPr kumimoji="0" lang="en-US" sz="14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p:grpSp>
      <p:cxnSp>
        <p:nvCxnSpPr>
          <p:cNvPr id="17" name="直接连接符 16"/>
          <p:cNvCxnSpPr/>
          <p:nvPr/>
        </p:nvCxnSpPr>
        <p:spPr>
          <a:xfrm>
            <a:off x="6583680" y="1554480"/>
            <a:ext cx="0" cy="1045027"/>
          </a:xfrm>
          <a:prstGeom prst="line">
            <a:avLst/>
          </a:prstGeom>
          <a:ln w="2857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20" name="组合 19"/>
          <p:cNvGrpSpPr/>
          <p:nvPr/>
        </p:nvGrpSpPr>
        <p:grpSpPr>
          <a:xfrm>
            <a:off x="3701048" y="2019685"/>
            <a:ext cx="818413" cy="1019176"/>
            <a:chOff x="587829" y="2019685"/>
            <a:chExt cx="818413" cy="1019176"/>
          </a:xfrm>
        </p:grpSpPr>
        <p:pic>
          <p:nvPicPr>
            <p:cNvPr id="21" name="图片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7829" y="2220448"/>
              <a:ext cx="818413" cy="818413"/>
            </a:xfrm>
            <a:prstGeom prst="rect">
              <a:avLst/>
            </a:prstGeom>
          </p:spPr>
        </p:pic>
        <p:sp>
          <p:nvSpPr>
            <p:cNvPr id="22" name="文本框 21"/>
            <p:cNvSpPr txBox="1"/>
            <p:nvPr/>
          </p:nvSpPr>
          <p:spPr>
            <a:xfrm>
              <a:off x="644337" y="2019685"/>
              <a:ext cx="70539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医保</a:t>
              </a:r>
              <a:endParaRPr kumimoji="0" lang="en-US" sz="14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p:grpSp>
      <p:sp>
        <p:nvSpPr>
          <p:cNvPr id="23" name="文本框 22"/>
          <p:cNvSpPr txBox="1"/>
          <p:nvPr/>
        </p:nvSpPr>
        <p:spPr>
          <a:xfrm>
            <a:off x="4003766" y="1554480"/>
            <a:ext cx="2579914" cy="83099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prstClr val="white">
                    <a:lumMod val="50000"/>
                  </a:prstClr>
                </a:solidFill>
                <a:effectLst/>
                <a:uLnTx/>
                <a:uFillTx/>
                <a:latin typeface="Microsoft YaHei" panose="020B0503020204020204" pitchFamily="34" charset="-122"/>
                <a:ea typeface="Microsoft YaHei" panose="020B0503020204020204" pitchFamily="34" charset="-122"/>
                <a:cs typeface="+mn-cs"/>
              </a:rPr>
              <a:t>患者自付</a:t>
            </a:r>
            <a:r>
              <a:rPr kumimoji="0" lang="en-US" sz="2400" b="1" i="0" u="none" strike="noStrike" kern="1200" cap="none" spc="0" normalizeH="0" baseline="0" noProof="0" dirty="0">
                <a:ln>
                  <a:noFill/>
                </a:ln>
                <a:solidFill>
                  <a:prstClr val="white">
                    <a:lumMod val="50000"/>
                  </a:prstClr>
                </a:solidFill>
                <a:effectLst/>
                <a:uLnTx/>
                <a:uFillTx/>
                <a:latin typeface="Microsoft YaHei" panose="020B0503020204020204" pitchFamily="34" charset="-122"/>
                <a:ea typeface="Microsoft YaHei" panose="020B0503020204020204" pitchFamily="34" charset="-122"/>
                <a:cs typeface="+mn-cs"/>
              </a:rPr>
              <a:t>~90,320</a:t>
            </a:r>
            <a:r>
              <a:rPr kumimoji="0" lang="zh-CN" altLang="en-US" sz="2400" b="1" i="0" u="none" strike="noStrike" kern="1200" cap="none" spc="0" normalizeH="0" baseline="0" noProof="0" dirty="0">
                <a:ln>
                  <a:noFill/>
                </a:ln>
                <a:solidFill>
                  <a:prstClr val="white">
                    <a:lumMod val="50000"/>
                  </a:prstClr>
                </a:solidFill>
                <a:effectLst/>
                <a:uLnTx/>
                <a:uFillTx/>
                <a:latin typeface="Microsoft YaHei" panose="020B0503020204020204" pitchFamily="34" charset="-122"/>
                <a:ea typeface="Microsoft YaHei" panose="020B0503020204020204" pitchFamily="34" charset="-122"/>
                <a:cs typeface="+mn-cs"/>
              </a:rPr>
              <a:t>元</a:t>
            </a:r>
            <a:endParaRPr kumimoji="0" lang="en-US" sz="2400" b="1" i="0" u="none" strike="noStrike" kern="1200" cap="none" spc="0" normalizeH="0" baseline="0" noProof="0" dirty="0">
              <a:ln>
                <a:noFill/>
              </a:ln>
              <a:solidFill>
                <a:prstClr val="white">
                  <a:lumMod val="50000"/>
                </a:prstClr>
              </a:solidFill>
              <a:effectLst/>
              <a:uLnTx/>
              <a:uFillTx/>
              <a:latin typeface="Microsoft YaHei" panose="020B0503020204020204" pitchFamily="34" charset="-122"/>
              <a:ea typeface="Microsoft YaHei" panose="020B0503020204020204" pitchFamily="34" charset="-122"/>
              <a:cs typeface="+mn-cs"/>
            </a:endParaRPr>
          </a:p>
        </p:txBody>
      </p:sp>
      <p:cxnSp>
        <p:nvCxnSpPr>
          <p:cNvPr id="24" name="直接连接符 23"/>
          <p:cNvCxnSpPr/>
          <p:nvPr/>
        </p:nvCxnSpPr>
        <p:spPr>
          <a:xfrm>
            <a:off x="5499463" y="3642263"/>
            <a:ext cx="0" cy="1045027"/>
          </a:xfrm>
          <a:prstGeom prst="line">
            <a:avLst/>
          </a:prstGeom>
          <a:ln w="2857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5" name="文本框 24"/>
          <p:cNvSpPr txBox="1"/>
          <p:nvPr/>
        </p:nvSpPr>
        <p:spPr>
          <a:xfrm>
            <a:off x="2919549" y="3642263"/>
            <a:ext cx="2579914" cy="83099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prstClr val="white">
                    <a:lumMod val="50000"/>
                  </a:prstClr>
                </a:solidFill>
                <a:effectLst/>
                <a:uLnTx/>
                <a:uFillTx/>
                <a:latin typeface="Microsoft YaHei" panose="020B0503020204020204" pitchFamily="34" charset="-122"/>
                <a:ea typeface="Microsoft YaHei" panose="020B0503020204020204" pitchFamily="34" charset="-122"/>
                <a:cs typeface="+mn-cs"/>
              </a:rPr>
              <a:t>患者自付</a:t>
            </a:r>
            <a:endParaRPr kumimoji="0" lang="en-US" altLang="zh-CN" sz="2400" b="1" i="0" u="none" strike="noStrike" kern="1200" cap="none" spc="0" normalizeH="0" baseline="0" noProof="0" dirty="0">
              <a:ln>
                <a:noFill/>
              </a:ln>
              <a:solidFill>
                <a:prstClr val="white">
                  <a:lumMod val="50000"/>
                </a:prstClr>
              </a:solidFill>
              <a:effectLst/>
              <a:uLnTx/>
              <a:uFillTx/>
              <a:latin typeface="Microsoft YaHei" panose="020B0503020204020204" pitchFamily="34" charset="-122"/>
              <a:ea typeface="Microsoft YaHei" panose="020B0503020204020204" pitchFamily="34" charset="-122"/>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prstClr val="white">
                    <a:lumMod val="50000"/>
                  </a:prstClr>
                </a:solidFill>
                <a:effectLst/>
                <a:uLnTx/>
                <a:uFillTx/>
                <a:latin typeface="Microsoft YaHei" panose="020B0503020204020204" pitchFamily="34" charset="-122"/>
                <a:ea typeface="Microsoft YaHei" panose="020B0503020204020204" pitchFamily="34" charset="-122"/>
                <a:cs typeface="+mn-cs"/>
              </a:rPr>
              <a:t>275,400</a:t>
            </a:r>
            <a:r>
              <a:rPr kumimoji="0" lang="zh-CN" altLang="en-US" sz="2400" b="1" i="0" u="none" strike="noStrike" kern="1200" cap="none" spc="0" normalizeH="0" baseline="0" noProof="0" dirty="0">
                <a:ln>
                  <a:noFill/>
                </a:ln>
                <a:solidFill>
                  <a:prstClr val="white">
                    <a:lumMod val="50000"/>
                  </a:prstClr>
                </a:solidFill>
                <a:effectLst/>
                <a:uLnTx/>
                <a:uFillTx/>
                <a:latin typeface="Microsoft YaHei" panose="020B0503020204020204" pitchFamily="34" charset="-122"/>
                <a:ea typeface="Microsoft YaHei" panose="020B0503020204020204" pitchFamily="34" charset="-122"/>
                <a:cs typeface="+mn-cs"/>
              </a:rPr>
              <a:t>元</a:t>
            </a:r>
            <a:endParaRPr kumimoji="0" lang="en-US" sz="2400" b="1" i="0" u="none" strike="noStrike" kern="1200" cap="none" spc="0" normalizeH="0" baseline="0" noProof="0" dirty="0">
              <a:ln>
                <a:noFill/>
              </a:ln>
              <a:solidFill>
                <a:prstClr val="white">
                  <a:lumMod val="50000"/>
                </a:prstClr>
              </a:solidFill>
              <a:effectLst/>
              <a:uLnTx/>
              <a:uFillTx/>
              <a:latin typeface="Microsoft YaHei" panose="020B0503020204020204" pitchFamily="34" charset="-122"/>
              <a:ea typeface="Microsoft YaHei" panose="020B0503020204020204" pitchFamily="34" charset="-122"/>
              <a:cs typeface="+mn-cs"/>
            </a:endParaRPr>
          </a:p>
        </p:txBody>
      </p:sp>
      <p:sp>
        <p:nvSpPr>
          <p:cNvPr id="26" name="文本框 25"/>
          <p:cNvSpPr txBox="1"/>
          <p:nvPr/>
        </p:nvSpPr>
        <p:spPr>
          <a:xfrm>
            <a:off x="5656217" y="3705279"/>
            <a:ext cx="1149531"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1F497D"/>
                </a:solidFill>
                <a:effectLst/>
                <a:uLnTx/>
                <a:uFillTx/>
                <a:latin typeface="Microsoft YaHei" panose="020B0503020204020204" pitchFamily="34" charset="-122"/>
                <a:ea typeface="Microsoft YaHei" panose="020B0503020204020204" pitchFamily="34" charset="-122"/>
                <a:cs typeface="+mn-cs"/>
              </a:rPr>
              <a:t>3</a:t>
            </a:r>
            <a:r>
              <a:rPr kumimoji="0" lang="zh-CN" altLang="en-US" sz="4000" b="1" i="0" u="none" strike="noStrike" kern="1200" cap="none" spc="0" normalizeH="0" baseline="0" noProof="0" dirty="0">
                <a:ln>
                  <a:noFill/>
                </a:ln>
                <a:solidFill>
                  <a:srgbClr val="1F497D"/>
                </a:solidFill>
                <a:effectLst/>
                <a:uLnTx/>
                <a:uFillTx/>
                <a:latin typeface="Microsoft YaHei" panose="020B0503020204020204" pitchFamily="34" charset="-122"/>
                <a:ea typeface="Microsoft YaHei" panose="020B0503020204020204" pitchFamily="34" charset="-122"/>
                <a:cs typeface="+mn-cs"/>
              </a:rPr>
              <a:t>倍</a:t>
            </a:r>
            <a:endParaRPr kumimoji="0" lang="en-US" sz="4000" b="1" i="0" u="none" strike="noStrike" kern="1200" cap="none" spc="0" normalizeH="0" baseline="0" noProof="0" dirty="0">
              <a:ln>
                <a:noFill/>
              </a:ln>
              <a:solidFill>
                <a:srgbClr val="1F497D"/>
              </a:solidFill>
              <a:effectLst/>
              <a:uLnTx/>
              <a:uFillTx/>
              <a:latin typeface="Microsoft YaHei" panose="020B0503020204020204" pitchFamily="34" charset="-122"/>
              <a:ea typeface="Microsoft YaHei" panose="020B0503020204020204" pitchFamily="34" charset="-122"/>
              <a:cs typeface="+mn-cs"/>
            </a:endParaRPr>
          </a:p>
        </p:txBody>
      </p:sp>
      <p:pic>
        <p:nvPicPr>
          <p:cNvPr id="27" name="图片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0879" y="4437210"/>
            <a:ext cx="532310" cy="445690"/>
          </a:xfrm>
          <a:prstGeom prst="rect">
            <a:avLst/>
          </a:prstGeom>
          <a:solidFill>
            <a:schemeClr val="bg1"/>
          </a:solidFill>
        </p:spPr>
      </p:pic>
      <p:sp>
        <p:nvSpPr>
          <p:cNvPr id="28" name="文本框 27"/>
          <p:cNvSpPr txBox="1"/>
          <p:nvPr/>
        </p:nvSpPr>
        <p:spPr>
          <a:xfrm>
            <a:off x="659675" y="4165483"/>
            <a:ext cx="70539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自费</a:t>
            </a:r>
            <a:endParaRPr kumimoji="0" lang="en-US" sz="14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p:sp>
        <p:nvSpPr>
          <p:cNvPr id="29" name="文本框 28"/>
          <p:cNvSpPr txBox="1"/>
          <p:nvPr/>
        </p:nvSpPr>
        <p:spPr>
          <a:xfrm>
            <a:off x="644337" y="5925848"/>
            <a:ext cx="720416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1"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吉泰瑞多个临床试验及真实世界研究显示中位</a:t>
            </a:r>
            <a:r>
              <a:rPr kumimoji="0" lang="en-US" altLang="zh-CN" sz="1200" b="0" i="1"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PFS</a:t>
            </a:r>
            <a:r>
              <a:rPr kumimoji="0" lang="zh-CN" altLang="en-US" sz="1200" b="0" i="1"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约</a:t>
            </a:r>
            <a:r>
              <a:rPr kumimoji="0" lang="en-US" altLang="zh-CN" sz="1200" b="0" i="1"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12</a:t>
            </a:r>
            <a:r>
              <a:rPr kumimoji="0" lang="zh-CN" altLang="en-US" sz="1200" b="0" i="1"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个月，奥希替尼二线三期临床</a:t>
            </a:r>
            <a:r>
              <a:rPr kumimoji="0" lang="en-US" altLang="zh-CN" sz="1200" b="0" i="1"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AURA3</a:t>
            </a:r>
            <a:r>
              <a:rPr kumimoji="0" lang="zh-CN" altLang="en-US" sz="1200" b="0" i="1"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研究中位</a:t>
            </a:r>
            <a:r>
              <a:rPr kumimoji="0" lang="en-US" altLang="zh-CN" sz="1200" b="0" i="1"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PFS</a:t>
            </a:r>
            <a:r>
              <a:rPr kumimoji="0" lang="zh-CN" altLang="en-US" sz="1200" b="0" i="1"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约</a:t>
            </a:r>
            <a:r>
              <a:rPr kumimoji="0" lang="en-US" altLang="zh-CN" sz="1200" b="0" i="1"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10</a:t>
            </a:r>
            <a:r>
              <a:rPr kumimoji="0" lang="zh-CN" altLang="en-US" sz="1200" b="0" i="1"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个月，一线</a:t>
            </a:r>
            <a:r>
              <a:rPr kumimoji="0" lang="en-US" altLang="zh-CN" sz="1200" b="0" i="1"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FLAURA</a:t>
            </a:r>
            <a:r>
              <a:rPr kumimoji="0" lang="zh-CN" altLang="en-US" sz="1200" b="0" i="1"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中国扩展研究中位</a:t>
            </a:r>
            <a:r>
              <a:rPr kumimoji="0" lang="en-US" altLang="zh-CN" sz="1200" b="0" i="1"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PFS</a:t>
            </a:r>
            <a:r>
              <a:rPr kumimoji="0" lang="zh-CN" altLang="en-US" sz="1200" b="0" i="1"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约</a:t>
            </a:r>
            <a:r>
              <a:rPr kumimoji="0" lang="en-US" altLang="zh-CN" sz="1200" b="0" i="1"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18</a:t>
            </a:r>
            <a:r>
              <a:rPr kumimoji="0" lang="zh-CN" altLang="en-US" sz="1200" b="0" i="1"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个月。医保患者各地报销比例不同，这里用报销</a:t>
            </a:r>
            <a:r>
              <a:rPr kumimoji="0" lang="en-US" altLang="zh-CN" sz="1200" b="0" i="1"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60%</a:t>
            </a:r>
            <a:r>
              <a:rPr kumimoji="0" lang="zh-CN" altLang="en-US" sz="1200" b="0" i="1"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测算。</a:t>
            </a:r>
            <a:endParaRPr kumimoji="0" lang="en-US" sz="1200" b="0" i="1"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p:spTree>
    <p:extLst>
      <p:ext uri="{BB962C8B-B14F-4D97-AF65-F5344CB8AC3E}">
        <p14:creationId xmlns:p14="http://schemas.microsoft.com/office/powerpoint/2010/main" val="440168524"/>
      </p:ext>
    </p:extLst>
  </p:cSld>
  <p:clrMapOvr>
    <a:masterClrMapping/>
  </p:clrMapOvr>
  <p:transition spd="med">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424953" y="446836"/>
            <a:ext cx="6589489" cy="406265"/>
          </a:xfrm>
        </p:spPr>
        <p:txBody>
          <a:bodyPr/>
          <a:lstStyle/>
          <a:p>
            <a:r>
              <a:rPr lang="zh-CN" altLang="en-US" sz="2400" b="1" dirty="0">
                <a:latin typeface="Microsoft YaHei" panose="020B0503020204020204" pitchFamily="34" charset="-122"/>
                <a:ea typeface="Microsoft YaHei" panose="020B0503020204020204" pitchFamily="34" charset="-122"/>
              </a:rPr>
              <a:t>总  结</a:t>
            </a:r>
            <a:endParaRPr lang="en-US" sz="2400" b="1" dirty="0">
              <a:latin typeface="Microsoft YaHei" panose="020B0503020204020204" pitchFamily="34" charset="-122"/>
              <a:ea typeface="Microsoft YaHei" panose="020B0503020204020204" pitchFamily="34" charset="-122"/>
            </a:endParaRPr>
          </a:p>
        </p:txBody>
      </p:sp>
      <p:sp>
        <p:nvSpPr>
          <p:cNvPr id="6" name="文本框 5"/>
          <p:cNvSpPr txBox="1"/>
          <p:nvPr/>
        </p:nvSpPr>
        <p:spPr>
          <a:xfrm>
            <a:off x="685898" y="1789611"/>
            <a:ext cx="8157656" cy="3000821"/>
          </a:xfrm>
          <a:prstGeom prst="rect">
            <a:avLst/>
          </a:prstGeom>
          <a:noFill/>
        </p:spPr>
        <p:txBody>
          <a:bodyPr wrap="square" rtlCol="0">
            <a:spAutoFit/>
          </a:bodyPr>
          <a:lstStyle/>
          <a:p>
            <a:pPr marL="285750" lvl="0" indent="-285750" defTabSz="914400">
              <a:lnSpc>
                <a:spcPct val="150000"/>
              </a:lnSpc>
              <a:buClr>
                <a:srgbClr val="C3B600"/>
              </a:buClr>
              <a:buFont typeface="Wingdings" panose="05000000000000000000" pitchFamily="2" charset="2"/>
              <a:buChar char="§"/>
              <a:defRPr/>
            </a:pPr>
            <a:r>
              <a:rPr kumimoji="0" lang="zh-CN" altLang="en-US" sz="1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吉泰瑞</a:t>
            </a:r>
            <a:r>
              <a:rPr kumimoji="0" lang="en-US" altLang="zh-CN" sz="1800" b="0" i="0" u="none" strike="noStrike" kern="1200" cap="none" spc="0" normalizeH="0" baseline="3000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a:t>
            </a:r>
            <a:r>
              <a:rPr kumimoji="0" lang="zh-CN" altLang="en-US" sz="1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第一个证实在</a:t>
            </a:r>
            <a:r>
              <a:rPr kumimoji="0" lang="en-US" altLang="zh-CN" sz="18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EGFR</a:t>
            </a:r>
            <a:r>
              <a:rPr kumimoji="0" lang="zh-CN" altLang="en-US" sz="18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常见突变</a:t>
            </a:r>
            <a:r>
              <a:rPr kumimoji="0" lang="zh-CN" altLang="en-US" sz="1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患者</a:t>
            </a:r>
            <a:r>
              <a:rPr lang="zh-CN" altLang="en-US" dirty="0">
                <a:solidFill>
                  <a:prstClr val="black"/>
                </a:solidFill>
                <a:latin typeface="Microsoft YaHei" panose="020B0503020204020204" pitchFamily="34" charset="-122"/>
                <a:ea typeface="Microsoft YaHei" panose="020B0503020204020204" pitchFamily="34" charset="-122"/>
              </a:rPr>
              <a:t>中一线治疗，</a:t>
            </a:r>
            <a:r>
              <a:rPr kumimoji="0" lang="zh-CN" altLang="en-US" sz="1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先使用吉泰瑞比先使用化疗的患者有</a:t>
            </a:r>
            <a:r>
              <a:rPr kumimoji="0" lang="zh-CN" altLang="en-US" sz="1800" b="1" i="0" u="none" strike="noStrike" kern="1200" cap="none" spc="0" normalizeH="0" baseline="0" noProof="0" dirty="0">
                <a:ln>
                  <a:noFill/>
                </a:ln>
                <a:solidFill>
                  <a:srgbClr val="C3B600"/>
                </a:solidFill>
                <a:effectLst/>
                <a:uLnTx/>
                <a:uFillTx/>
                <a:latin typeface="Microsoft YaHei" panose="020B0503020204020204" pitchFamily="34" charset="-122"/>
                <a:ea typeface="Microsoft YaHei" panose="020B0503020204020204" pitchFamily="34" charset="-122"/>
                <a:cs typeface="+mn-cs"/>
              </a:rPr>
              <a:t>显著的</a:t>
            </a:r>
            <a:r>
              <a:rPr kumimoji="0" lang="en-US" altLang="zh-CN" sz="1800" b="1" i="0" u="none" strike="noStrike" kern="1200" cap="none" spc="0" normalizeH="0" baseline="0" noProof="0" dirty="0">
                <a:ln>
                  <a:noFill/>
                </a:ln>
                <a:solidFill>
                  <a:srgbClr val="C3B600"/>
                </a:solidFill>
                <a:effectLst/>
                <a:uLnTx/>
                <a:uFillTx/>
                <a:latin typeface="Microsoft YaHei" panose="020B0503020204020204" pitchFamily="34" charset="-122"/>
                <a:ea typeface="Microsoft YaHei" panose="020B0503020204020204" pitchFamily="34" charset="-122"/>
                <a:cs typeface="+mn-cs"/>
              </a:rPr>
              <a:t>OS</a:t>
            </a:r>
            <a:r>
              <a:rPr kumimoji="0" lang="zh-CN" altLang="en-US" sz="1800" b="1" i="0" u="none" strike="noStrike" kern="1200" cap="none" spc="0" normalizeH="0" baseline="0" noProof="0" dirty="0">
                <a:ln>
                  <a:noFill/>
                </a:ln>
                <a:solidFill>
                  <a:srgbClr val="C3B600"/>
                </a:solidFill>
                <a:effectLst/>
                <a:uLnTx/>
                <a:uFillTx/>
                <a:latin typeface="Microsoft YaHei" panose="020B0503020204020204" pitchFamily="34" charset="-122"/>
                <a:ea typeface="Microsoft YaHei" panose="020B0503020204020204" pitchFamily="34" charset="-122"/>
                <a:cs typeface="+mn-cs"/>
              </a:rPr>
              <a:t>获益</a:t>
            </a:r>
            <a:r>
              <a:rPr kumimoji="0" lang="en-US" altLang="zh-CN" sz="1800" i="0" u="none" strike="noStrike" kern="1200" cap="none" spc="0" normalizeH="0" baseline="30000" noProof="0" dirty="0">
                <a:ln>
                  <a:noFill/>
                </a:ln>
                <a:effectLst/>
                <a:uLnTx/>
                <a:uFillTx/>
                <a:latin typeface="Microsoft YaHei" panose="020B0503020204020204" pitchFamily="34" charset="-122"/>
                <a:ea typeface="Microsoft YaHei" panose="020B0503020204020204" pitchFamily="34" charset="-122"/>
                <a:cs typeface="+mn-cs"/>
              </a:rPr>
              <a:t>1</a:t>
            </a:r>
            <a:r>
              <a:rPr kumimoji="0" lang="zh-CN" altLang="en-US" sz="1800" b="1" i="0" u="none" strike="noStrike" kern="1200" cap="none" spc="0" normalizeH="0" baseline="0" noProof="0" dirty="0">
                <a:ln>
                  <a:noFill/>
                </a:ln>
                <a:solidFill>
                  <a:srgbClr val="C3B600"/>
                </a:solidFill>
                <a:effectLst/>
                <a:uLnTx/>
                <a:uFillTx/>
                <a:latin typeface="Microsoft YaHei" panose="020B0503020204020204" pitchFamily="34" charset="-122"/>
                <a:ea typeface="Microsoft YaHei" panose="020B0503020204020204" pitchFamily="34" charset="-122"/>
                <a:cs typeface="+mn-cs"/>
              </a:rPr>
              <a:t>；</a:t>
            </a:r>
            <a:endParaRPr kumimoji="0" lang="en-US" altLang="zh-CN" sz="1800" b="1" i="0" u="none" strike="noStrike" kern="1200" cap="none" spc="0" normalizeH="0" baseline="0" noProof="0" dirty="0">
              <a:ln>
                <a:noFill/>
              </a:ln>
              <a:solidFill>
                <a:srgbClr val="C3B600"/>
              </a:solidFill>
              <a:effectLst/>
              <a:uLnTx/>
              <a:uFillTx/>
              <a:latin typeface="Microsoft YaHei" panose="020B0503020204020204" pitchFamily="34" charset="-122"/>
              <a:ea typeface="Microsoft YaHei" panose="020B0503020204020204" pitchFamily="34" charset="-122"/>
              <a:cs typeface="+mn-cs"/>
            </a:endParaRPr>
          </a:p>
          <a:p>
            <a:pPr marL="285750" lvl="0" indent="-285750" defTabSz="914400">
              <a:lnSpc>
                <a:spcPct val="150000"/>
              </a:lnSpc>
              <a:buClr>
                <a:srgbClr val="C3B600"/>
              </a:buClr>
              <a:buFont typeface="Wingdings" panose="05000000000000000000" pitchFamily="2" charset="2"/>
              <a:buChar char="§"/>
              <a:defRPr/>
            </a:pPr>
            <a:r>
              <a:rPr kumimoji="0" lang="zh-CN" altLang="en-US" sz="1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与一代</a:t>
            </a:r>
            <a:r>
              <a:rPr kumimoji="0" lang="en-US" altLang="zh-CN" sz="1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TKI</a:t>
            </a:r>
            <a:r>
              <a:rPr kumimoji="0" lang="zh-CN" altLang="en-US" sz="1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头对头的临床研究中证实，一线使用吉泰瑞</a:t>
            </a:r>
            <a:r>
              <a:rPr kumimoji="0" lang="en-US" altLang="zh-CN" sz="1800" b="0" i="0" u="none" strike="noStrike" kern="1200" cap="none" spc="0" normalizeH="0" baseline="3000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 </a:t>
            </a:r>
            <a:r>
              <a:rPr kumimoji="0" lang="en-US" altLang="zh-CN" sz="1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ORR</a:t>
            </a:r>
            <a:r>
              <a:rPr kumimoji="0" lang="zh-CN" altLang="en-US" sz="1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更高，</a:t>
            </a:r>
            <a:r>
              <a:rPr kumimoji="0" lang="en-US" altLang="zh-CN" sz="1800" b="0" i="0" u="none" strike="noStrike" kern="1200" cap="none" spc="0" normalizeH="0" baseline="0" noProof="0" dirty="0" err="1">
                <a:ln>
                  <a:noFill/>
                </a:ln>
                <a:solidFill>
                  <a:prstClr val="black"/>
                </a:solidFill>
                <a:effectLst/>
                <a:uLnTx/>
                <a:uFillTx/>
                <a:latin typeface="Microsoft YaHei" panose="020B0503020204020204" pitchFamily="34" charset="-122"/>
                <a:ea typeface="Microsoft YaHei" panose="020B0503020204020204" pitchFamily="34" charset="-122"/>
                <a:cs typeface="+mn-cs"/>
              </a:rPr>
              <a:t>DoR</a:t>
            </a:r>
            <a:r>
              <a:rPr kumimoji="0" lang="zh-CN" altLang="en-US" sz="1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更长，显著延长</a:t>
            </a:r>
            <a:r>
              <a:rPr kumimoji="0" lang="en-US" altLang="zh-CN" sz="1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EGFR</a:t>
            </a:r>
            <a:r>
              <a:rPr kumimoji="0" lang="zh-CN" altLang="en-US" sz="1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突变患者</a:t>
            </a:r>
            <a:r>
              <a:rPr kumimoji="0" lang="en-US" altLang="zh-CN" sz="1800" b="1" i="0" u="none" strike="noStrike" kern="1200" cap="none" spc="0" normalizeH="0" baseline="0" noProof="0" dirty="0">
                <a:ln>
                  <a:noFill/>
                </a:ln>
                <a:solidFill>
                  <a:srgbClr val="C3B600"/>
                </a:solidFill>
                <a:effectLst/>
                <a:uLnTx/>
                <a:uFillTx/>
                <a:latin typeface="Microsoft YaHei" panose="020B0503020204020204" pitchFamily="34" charset="-122"/>
                <a:ea typeface="Microsoft YaHei" panose="020B0503020204020204" pitchFamily="34" charset="-122"/>
                <a:cs typeface="+mn-cs"/>
              </a:rPr>
              <a:t>PFS</a:t>
            </a:r>
            <a:r>
              <a:rPr kumimoji="0" lang="zh-CN" altLang="en-US" sz="1800" b="1" i="0" u="none" strike="noStrike" kern="1200" cap="none" spc="0" normalizeH="0" baseline="0" noProof="0" dirty="0">
                <a:ln>
                  <a:noFill/>
                </a:ln>
                <a:solidFill>
                  <a:srgbClr val="C3B600"/>
                </a:solidFill>
                <a:effectLst/>
                <a:uLnTx/>
                <a:uFillTx/>
                <a:latin typeface="Microsoft YaHei" panose="020B0503020204020204" pitchFamily="34" charset="-122"/>
                <a:ea typeface="Microsoft YaHei" panose="020B0503020204020204" pitchFamily="34" charset="-122"/>
                <a:cs typeface="+mn-cs"/>
              </a:rPr>
              <a:t>获益</a:t>
            </a:r>
            <a:r>
              <a:rPr kumimoji="0" lang="zh-CN" altLang="en-US" sz="1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降低疾病进展风险</a:t>
            </a:r>
            <a:r>
              <a:rPr kumimoji="0" lang="en-US" altLang="zh-CN" sz="1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27%</a:t>
            </a:r>
            <a:r>
              <a:rPr kumimoji="0" lang="zh-CN" altLang="en-US" sz="1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两年</a:t>
            </a:r>
            <a:r>
              <a:rPr kumimoji="0" lang="en-US" altLang="zh-CN" sz="1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PFS</a:t>
            </a:r>
            <a:r>
              <a:rPr kumimoji="0" lang="zh-CN" altLang="en-US" sz="1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率翻倍</a:t>
            </a:r>
            <a:r>
              <a:rPr lang="en-US" altLang="zh-CN" baseline="30000" dirty="0">
                <a:latin typeface="Microsoft YaHei" panose="020B0503020204020204" pitchFamily="34" charset="-122"/>
                <a:ea typeface="Microsoft YaHei" panose="020B0503020204020204" pitchFamily="34" charset="-122"/>
              </a:rPr>
              <a:t>2</a:t>
            </a:r>
            <a:r>
              <a:rPr kumimoji="0" lang="zh-CN" altLang="en-US" sz="1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a:t>
            </a:r>
            <a:endParaRPr kumimoji="0" lang="en-US" altLang="zh-CN" sz="1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a:p>
            <a:pPr marL="285750" lvl="0" indent="-285750" defTabSz="914400">
              <a:lnSpc>
                <a:spcPct val="150000"/>
              </a:lnSpc>
              <a:buClr>
                <a:srgbClr val="C3B600"/>
              </a:buClr>
              <a:buFont typeface="Wingdings" panose="05000000000000000000" pitchFamily="2" charset="2"/>
              <a:buChar char="§"/>
              <a:defRPr/>
            </a:pPr>
            <a:r>
              <a:rPr kumimoji="0" lang="zh-CN" altLang="en-US" sz="1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一线吉泰瑞</a:t>
            </a:r>
            <a:r>
              <a:rPr kumimoji="0" lang="en-US" altLang="zh-CN" sz="1800" b="0" i="0" u="none" strike="noStrike" kern="1200" cap="none" spc="0" normalizeH="0" baseline="3000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a:t>
            </a:r>
            <a:r>
              <a:rPr kumimoji="0" lang="zh-CN" altLang="en-US" sz="1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治疗的患者</a:t>
            </a:r>
            <a:r>
              <a:rPr kumimoji="0" lang="zh-CN" altLang="en-US" sz="1800" b="1" i="0" u="none" strike="noStrike" kern="1200" cap="none" spc="0" normalizeH="0" baseline="0" noProof="0" dirty="0">
                <a:ln>
                  <a:noFill/>
                </a:ln>
                <a:solidFill>
                  <a:srgbClr val="C3B600"/>
                </a:solidFill>
                <a:effectLst/>
                <a:uLnTx/>
                <a:uFillTx/>
                <a:latin typeface="Microsoft YaHei" panose="020B0503020204020204" pitchFamily="34" charset="-122"/>
                <a:ea typeface="Microsoft YaHei" panose="020B0503020204020204" pitchFamily="34" charset="-122"/>
                <a:cs typeface="+mn-cs"/>
              </a:rPr>
              <a:t>约有</a:t>
            </a:r>
            <a:r>
              <a:rPr kumimoji="0" lang="en-US" altLang="zh-CN" sz="1800" b="1" i="0" u="none" strike="noStrike" kern="1200" cap="none" spc="0" normalizeH="0" baseline="0" noProof="0" dirty="0">
                <a:ln>
                  <a:noFill/>
                </a:ln>
                <a:solidFill>
                  <a:srgbClr val="C3B600"/>
                </a:solidFill>
                <a:effectLst/>
                <a:uLnTx/>
                <a:uFillTx/>
                <a:latin typeface="Microsoft YaHei" panose="020B0503020204020204" pitchFamily="34" charset="-122"/>
                <a:ea typeface="Microsoft YaHei" panose="020B0503020204020204" pitchFamily="34" charset="-122"/>
                <a:cs typeface="+mn-cs"/>
              </a:rPr>
              <a:t>2/3</a:t>
            </a:r>
            <a:r>
              <a:rPr kumimoji="0" lang="zh-CN" altLang="en-US" sz="1800" b="1" i="0" u="none" strike="noStrike" kern="1200" cap="none" spc="0" normalizeH="0" baseline="0" noProof="0" dirty="0">
                <a:ln>
                  <a:noFill/>
                </a:ln>
                <a:solidFill>
                  <a:srgbClr val="C3B600"/>
                </a:solidFill>
                <a:effectLst/>
                <a:uLnTx/>
                <a:uFillTx/>
                <a:latin typeface="Microsoft YaHei" panose="020B0503020204020204" pitchFamily="34" charset="-122"/>
                <a:ea typeface="Microsoft YaHei" panose="020B0503020204020204" pitchFamily="34" charset="-122"/>
                <a:cs typeface="+mn-cs"/>
              </a:rPr>
              <a:t>会出现</a:t>
            </a:r>
            <a:r>
              <a:rPr kumimoji="0" lang="en-US" altLang="zh-CN" sz="1800" b="1" i="0" u="none" strike="noStrike" kern="1200" cap="none" spc="0" normalizeH="0" baseline="0" noProof="0" dirty="0">
                <a:ln>
                  <a:noFill/>
                </a:ln>
                <a:solidFill>
                  <a:srgbClr val="C3B600"/>
                </a:solidFill>
                <a:effectLst/>
                <a:uLnTx/>
                <a:uFillTx/>
                <a:latin typeface="Microsoft YaHei" panose="020B0503020204020204" pitchFamily="34" charset="-122"/>
                <a:ea typeface="Microsoft YaHei" panose="020B0503020204020204" pitchFamily="34" charset="-122"/>
                <a:cs typeface="+mn-cs"/>
              </a:rPr>
              <a:t>T790M</a:t>
            </a:r>
            <a:r>
              <a:rPr kumimoji="0" lang="zh-CN" altLang="en-US" sz="1800" b="1" i="0" u="none" strike="noStrike" kern="1200" cap="none" spc="0" normalizeH="0" baseline="0" noProof="0" dirty="0">
                <a:ln>
                  <a:noFill/>
                </a:ln>
                <a:solidFill>
                  <a:srgbClr val="C3B600"/>
                </a:solidFill>
                <a:effectLst/>
                <a:uLnTx/>
                <a:uFillTx/>
                <a:latin typeface="Microsoft YaHei" panose="020B0503020204020204" pitchFamily="34" charset="-122"/>
                <a:ea typeface="Microsoft YaHei" panose="020B0503020204020204" pitchFamily="34" charset="-122"/>
                <a:cs typeface="+mn-cs"/>
              </a:rPr>
              <a:t>突变</a:t>
            </a:r>
            <a:r>
              <a:rPr kumimoji="0" lang="zh-CN" altLang="en-US" sz="1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有机会接受二线奥希替尼</a:t>
            </a:r>
            <a:r>
              <a:rPr kumimoji="0" lang="zh-CN" altLang="en-US" sz="180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治疗以获得</a:t>
            </a:r>
            <a:r>
              <a:rPr kumimoji="0" lang="zh-CN" altLang="en-US" sz="180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长生存的希望，是</a:t>
            </a:r>
            <a:r>
              <a:rPr lang="zh-CN" altLang="en-US" b="1" dirty="0">
                <a:solidFill>
                  <a:srgbClr val="C3B600"/>
                </a:solidFill>
                <a:latin typeface="Microsoft YaHei" panose="020B0503020204020204" pitchFamily="34" charset="-122"/>
                <a:ea typeface="Microsoft YaHei" panose="020B0503020204020204" pitchFamily="34" charset="-122"/>
              </a:rPr>
              <a:t>适合亚洲患者的选择</a:t>
            </a:r>
            <a:r>
              <a:rPr lang="en-US" altLang="zh-CN" baseline="30000" dirty="0">
                <a:latin typeface="Microsoft YaHei" panose="020B0503020204020204" pitchFamily="34" charset="-122"/>
                <a:ea typeface="Microsoft YaHei" panose="020B0503020204020204" pitchFamily="34" charset="-122"/>
              </a:rPr>
              <a:t>3</a:t>
            </a:r>
            <a:r>
              <a:rPr kumimoji="0" lang="zh-CN" altLang="en-US" sz="180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a:t>
            </a:r>
            <a:endParaRPr kumimoji="0" lang="en-US" altLang="zh-CN" sz="180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endParaRPr>
          </a:p>
          <a:p>
            <a:pPr marL="285750" lvl="0" indent="-285750" defTabSz="914400">
              <a:lnSpc>
                <a:spcPct val="150000"/>
              </a:lnSpc>
              <a:buClr>
                <a:srgbClr val="C3B600"/>
              </a:buClr>
              <a:buFont typeface="Wingdings" panose="05000000000000000000" pitchFamily="2" charset="2"/>
              <a:buChar char="§"/>
              <a:defRPr/>
            </a:pPr>
            <a:r>
              <a:rPr kumimoji="0" lang="zh-CN" altLang="en-US" sz="180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吉泰瑞</a:t>
            </a:r>
            <a:r>
              <a:rPr kumimoji="0" lang="en-US" altLang="zh-CN" sz="1800" i="0" u="none" strike="noStrike" kern="1200" cap="none" spc="0" normalizeH="0" baseline="30000" noProof="0" dirty="0">
                <a:ln>
                  <a:noFill/>
                </a:ln>
                <a:effectLst/>
                <a:uLnTx/>
                <a:uFillTx/>
                <a:latin typeface="Microsoft YaHei" panose="020B0503020204020204" pitchFamily="34" charset="-122"/>
                <a:ea typeface="Microsoft YaHei" panose="020B0503020204020204" pitchFamily="34" charset="-122"/>
                <a:cs typeface="+mn-cs"/>
              </a:rPr>
              <a:t>®</a:t>
            </a:r>
            <a:r>
              <a:rPr kumimoji="0" lang="zh-CN" altLang="en-US" sz="180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一线治疗是</a:t>
            </a:r>
            <a:r>
              <a:rPr kumimoji="0" lang="en-US" altLang="zh-CN" sz="180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EGFR</a:t>
            </a:r>
            <a:r>
              <a:rPr kumimoji="0" lang="zh-CN" altLang="en-US" sz="180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突变患者</a:t>
            </a:r>
            <a:r>
              <a:rPr lang="zh-CN" altLang="en-US" b="1" dirty="0">
                <a:solidFill>
                  <a:srgbClr val="C3B600"/>
                </a:solidFill>
                <a:latin typeface="Microsoft YaHei" panose="020B0503020204020204" pitchFamily="34" charset="-122"/>
                <a:ea typeface="Microsoft YaHei" panose="020B0503020204020204" pitchFamily="34" charset="-122"/>
              </a:rPr>
              <a:t>经济</a:t>
            </a:r>
            <a:r>
              <a:rPr kumimoji="0" lang="zh-CN" altLang="en-US" sz="180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的</a:t>
            </a:r>
            <a:r>
              <a:rPr kumimoji="0" lang="zh-CN" altLang="en-US" sz="1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治疗方案</a:t>
            </a:r>
            <a:r>
              <a:rPr lang="en-US" altLang="zh-CN" baseline="30000" dirty="0">
                <a:latin typeface="Microsoft YaHei" panose="020B0503020204020204" pitchFamily="34" charset="-122"/>
                <a:ea typeface="Microsoft YaHei" panose="020B0503020204020204" pitchFamily="34" charset="-122"/>
              </a:rPr>
              <a:t>4</a:t>
            </a:r>
            <a:r>
              <a:rPr kumimoji="0" lang="zh-CN" altLang="en-US" sz="1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a:t>
            </a:r>
            <a:endParaRPr kumimoji="0" lang="en-US" altLang="zh-CN" sz="1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p:cxnSp>
        <p:nvCxnSpPr>
          <p:cNvPr id="7" name="直接连接符 6"/>
          <p:cNvCxnSpPr/>
          <p:nvPr/>
        </p:nvCxnSpPr>
        <p:spPr>
          <a:xfrm>
            <a:off x="503018" y="1789611"/>
            <a:ext cx="0" cy="3487783"/>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3" name="矩形 2"/>
          <p:cNvSpPr/>
          <p:nvPr/>
        </p:nvSpPr>
        <p:spPr>
          <a:xfrm>
            <a:off x="57038" y="6150114"/>
            <a:ext cx="7325318" cy="707886"/>
          </a:xfrm>
          <a:prstGeom prst="rect">
            <a:avLst/>
          </a:prstGeom>
        </p:spPr>
        <p:txBody>
          <a:bodyPr wrap="square">
            <a:spAutoFit/>
          </a:bodyPr>
          <a:lstStyle/>
          <a:p>
            <a:pPr defTabSz="914400" eaLnBrk="0" fontAlgn="base" hangingPunct="0">
              <a:spcBef>
                <a:spcPct val="0"/>
              </a:spcBef>
              <a:spcAft>
                <a:spcPct val="0"/>
              </a:spcAft>
            </a:pPr>
            <a:r>
              <a:rPr lang="en-US" altLang="zh-CN" sz="1000" dirty="0">
                <a:latin typeface="+mj-lt"/>
                <a:ea typeface="等线" panose="02010600030101010101" pitchFamily="2" charset="-122"/>
                <a:cs typeface="Times New Roman" panose="02020603050405020304" pitchFamily="18" charset="0"/>
              </a:rPr>
              <a:t>1. </a:t>
            </a:r>
            <a:r>
              <a:rPr lang="en-US" altLang="zh-CN" sz="1000" dirty="0"/>
              <a:t>James </a:t>
            </a:r>
            <a:r>
              <a:rPr lang="en-US" altLang="zh-CN" sz="1000" dirty="0" err="1"/>
              <a:t>Chih-Hsin</a:t>
            </a:r>
            <a:r>
              <a:rPr lang="en-US" altLang="zh-CN" sz="1000" dirty="0"/>
              <a:t> Yang, Yi-Long Wu</a:t>
            </a:r>
            <a:r>
              <a:rPr lang="zh-CN" altLang="en-US" sz="1000" dirty="0"/>
              <a:t>，</a:t>
            </a:r>
            <a:r>
              <a:rPr lang="en-US" altLang="en-US" sz="1000" dirty="0"/>
              <a:t> Lancet </a:t>
            </a:r>
            <a:r>
              <a:rPr lang="en-US" altLang="en-US" sz="1000" dirty="0" err="1"/>
              <a:t>Oncol</a:t>
            </a:r>
            <a:r>
              <a:rPr lang="en-US" altLang="en-US" sz="1000" dirty="0"/>
              <a:t> </a:t>
            </a:r>
            <a:r>
              <a:rPr lang="zh-CN" altLang="en-US" sz="1000" dirty="0"/>
              <a:t>，</a:t>
            </a:r>
            <a:r>
              <a:rPr lang="en-US" altLang="zh-CN" sz="1000" dirty="0"/>
              <a:t>Vol 16 February 2015</a:t>
            </a:r>
            <a:r>
              <a:rPr lang="zh-CN" altLang="en-US" sz="1000" dirty="0"/>
              <a:t>，</a:t>
            </a:r>
            <a:r>
              <a:rPr lang="en-US" altLang="zh-CN" sz="1000" dirty="0"/>
              <a:t>p146</a:t>
            </a:r>
          </a:p>
          <a:p>
            <a:pPr defTabSz="914400" eaLnBrk="0" fontAlgn="base" hangingPunct="0">
              <a:spcBef>
                <a:spcPct val="0"/>
              </a:spcBef>
              <a:spcAft>
                <a:spcPct val="0"/>
              </a:spcAft>
            </a:pPr>
            <a:r>
              <a:rPr lang="es-ES" altLang="zh-CN" sz="1000" dirty="0">
                <a:latin typeface="微软雅黑" panose="020B0503020204020204" pitchFamily="34" charset="-122"/>
                <a:ea typeface="微软雅黑" panose="020B0503020204020204" pitchFamily="34" charset="-122"/>
              </a:rPr>
              <a:t>2.  Park et al. </a:t>
            </a:r>
            <a:r>
              <a:rPr lang="en-US" altLang="zh-CN" sz="1000" i="1" dirty="0">
                <a:latin typeface="微软雅黑" panose="020B0503020204020204" pitchFamily="34" charset="-122"/>
                <a:ea typeface="微软雅黑" panose="020B0503020204020204" pitchFamily="34" charset="-122"/>
              </a:rPr>
              <a:t>Lancet Oncology 2016</a:t>
            </a:r>
            <a:r>
              <a:rPr lang="zh-CN" altLang="en-US" sz="1000" i="1" dirty="0">
                <a:latin typeface="微软雅黑" panose="020B0503020204020204" pitchFamily="34" charset="-122"/>
                <a:ea typeface="微软雅黑" panose="020B0503020204020204" pitchFamily="34" charset="-122"/>
              </a:rPr>
              <a:t>；</a:t>
            </a:r>
            <a:r>
              <a:rPr lang="en-US" altLang="zh-CN" sz="1000" i="1" dirty="0">
                <a:latin typeface="微软雅黑" panose="020B0503020204020204" pitchFamily="34" charset="-122"/>
                <a:ea typeface="微软雅黑" panose="020B0503020204020204" pitchFamily="34" charset="-122"/>
              </a:rPr>
              <a:t>17</a:t>
            </a:r>
            <a:r>
              <a:rPr lang="zh-CN" altLang="en-US" sz="1000" i="1" dirty="0">
                <a:latin typeface="微软雅黑" panose="020B0503020204020204" pitchFamily="34" charset="-122"/>
                <a:ea typeface="微软雅黑" panose="020B0503020204020204" pitchFamily="34" charset="-122"/>
              </a:rPr>
              <a:t>：</a:t>
            </a:r>
            <a:r>
              <a:rPr lang="en-US" altLang="zh-CN" sz="1000" i="1" dirty="0">
                <a:latin typeface="微软雅黑" panose="020B0503020204020204" pitchFamily="34" charset="-122"/>
                <a:ea typeface="微软雅黑" panose="020B0503020204020204" pitchFamily="34" charset="-122"/>
              </a:rPr>
              <a:t>577-89</a:t>
            </a:r>
            <a:endParaRPr lang="es-ES" altLang="zh-CN" sz="1000" dirty="0">
              <a:latin typeface="微软雅黑" panose="020B0503020204020204" pitchFamily="34" charset="-122"/>
              <a:ea typeface="微软雅黑" panose="020B0503020204020204" pitchFamily="34" charset="-122"/>
            </a:endParaRPr>
          </a:p>
          <a:p>
            <a:pPr lvl="0" defTabSz="914400">
              <a:defRPr/>
            </a:pPr>
            <a:r>
              <a:rPr lang="fr-FR" altLang="zh-CN" sz="1000" kern="0" dirty="0">
                <a:solidFill>
                  <a:srgbClr val="333333"/>
                </a:solidFill>
                <a:latin typeface="Helvetica" panose="020B0604020202020204" pitchFamily="34" charset="0"/>
                <a:ea typeface="宋体" panose="02010600030101010101" pitchFamily="2" charset="-122"/>
              </a:rPr>
              <a:t>3.  J Clin </a:t>
            </a:r>
            <a:r>
              <a:rPr lang="fr-FR" altLang="zh-CN" sz="1000" kern="0" dirty="0" err="1">
                <a:solidFill>
                  <a:srgbClr val="333333"/>
                </a:solidFill>
                <a:latin typeface="Helvetica" panose="020B0604020202020204" pitchFamily="34" charset="0"/>
                <a:ea typeface="宋体" panose="02010600030101010101" pitchFamily="2" charset="-122"/>
              </a:rPr>
              <a:t>Oncol</a:t>
            </a:r>
            <a:r>
              <a:rPr lang="fr-FR" altLang="zh-CN" sz="1000" kern="0" dirty="0">
                <a:solidFill>
                  <a:srgbClr val="333333"/>
                </a:solidFill>
                <a:latin typeface="Helvetica" panose="020B0604020202020204" pitchFamily="34" charset="0"/>
                <a:ea typeface="宋体" panose="02010600030101010101" pitchFamily="2" charset="-122"/>
              </a:rPr>
              <a:t> 37, 2019 (</a:t>
            </a:r>
            <a:r>
              <a:rPr lang="fr-FR" altLang="zh-CN" sz="1000" kern="0" dirty="0" err="1">
                <a:solidFill>
                  <a:srgbClr val="333333"/>
                </a:solidFill>
                <a:latin typeface="Helvetica" panose="020B0604020202020204" pitchFamily="34" charset="0"/>
                <a:ea typeface="宋体" panose="02010600030101010101" pitchFamily="2" charset="-122"/>
              </a:rPr>
              <a:t>suppl</a:t>
            </a:r>
            <a:r>
              <a:rPr lang="fr-FR" altLang="zh-CN" sz="1000" kern="0" dirty="0">
                <a:solidFill>
                  <a:srgbClr val="333333"/>
                </a:solidFill>
                <a:latin typeface="Helvetica" panose="020B0604020202020204" pitchFamily="34" charset="0"/>
                <a:ea typeface="宋体" panose="02010600030101010101" pitchFamily="2" charset="-122"/>
              </a:rPr>
              <a:t>; </a:t>
            </a:r>
            <a:r>
              <a:rPr lang="fr-FR" altLang="zh-CN" sz="1000" kern="0" dirty="0" err="1">
                <a:solidFill>
                  <a:srgbClr val="333333"/>
                </a:solidFill>
                <a:latin typeface="Helvetica" panose="020B0604020202020204" pitchFamily="34" charset="0"/>
                <a:ea typeface="宋体" panose="02010600030101010101" pitchFamily="2" charset="-122"/>
              </a:rPr>
              <a:t>abstr</a:t>
            </a:r>
            <a:r>
              <a:rPr lang="fr-FR" altLang="zh-CN" sz="1000" kern="0" dirty="0">
                <a:solidFill>
                  <a:srgbClr val="333333"/>
                </a:solidFill>
                <a:latin typeface="Helvetica" panose="020B0604020202020204" pitchFamily="34" charset="0"/>
                <a:ea typeface="宋体" panose="02010600030101010101" pitchFamily="2" charset="-122"/>
              </a:rPr>
              <a:t> e20518)</a:t>
            </a:r>
            <a:endParaRPr lang="zh-CN" altLang="en-US" sz="1000" dirty="0">
              <a:solidFill>
                <a:prstClr val="black"/>
              </a:solidFill>
            </a:endParaRPr>
          </a:p>
          <a:p>
            <a:pPr lvl="0" defTabSz="914400" eaLnBrk="0" fontAlgn="base" hangingPunct="0">
              <a:spcBef>
                <a:spcPct val="0"/>
              </a:spcBef>
              <a:spcAft>
                <a:spcPct val="0"/>
              </a:spcAft>
            </a:pPr>
            <a:r>
              <a:rPr lang="en-US" altLang="zh-CN" sz="1000" dirty="0">
                <a:latin typeface="+mj-lt"/>
                <a:ea typeface="等线" panose="02010600030101010101" pitchFamily="2" charset="-122"/>
                <a:cs typeface="Times New Roman" panose="02020603050405020304" pitchFamily="18" charset="0"/>
              </a:rPr>
              <a:t>4.  Maximilian J </a:t>
            </a:r>
            <a:r>
              <a:rPr lang="en-US" altLang="zh-CN" sz="1000" dirty="0" err="1">
                <a:latin typeface="+mj-lt"/>
                <a:ea typeface="等线" panose="02010600030101010101" pitchFamily="2" charset="-122"/>
                <a:cs typeface="Arial" panose="020B0604020202020204" pitchFamily="34" charset="0"/>
              </a:rPr>
              <a:t>Hochmair</a:t>
            </a:r>
            <a:r>
              <a:rPr lang="en-US" altLang="zh-CN" sz="1000" dirty="0">
                <a:latin typeface="+mj-lt"/>
                <a:ea typeface="等线" panose="02010600030101010101" pitchFamily="2" charset="-122"/>
                <a:cs typeface="Arial" panose="020B0604020202020204" pitchFamily="34" charset="0"/>
              </a:rPr>
              <a:t>, et </a:t>
            </a:r>
            <a:r>
              <a:rPr lang="en-US" altLang="zh-CN" sz="1000" dirty="0" err="1">
                <a:latin typeface="+mj-lt"/>
                <a:ea typeface="等线" panose="02010600030101010101" pitchFamily="2" charset="-122"/>
                <a:cs typeface="Arial" panose="020B0604020202020204" pitchFamily="34" charset="0"/>
              </a:rPr>
              <a:t>al.Future</a:t>
            </a:r>
            <a:r>
              <a:rPr lang="en-US" altLang="zh-CN" sz="1000" dirty="0">
                <a:latin typeface="+mj-lt"/>
                <a:ea typeface="等线" panose="02010600030101010101" pitchFamily="2" charset="-122"/>
                <a:cs typeface="Arial" panose="020B0604020202020204" pitchFamily="34" charset="0"/>
              </a:rPr>
              <a:t> </a:t>
            </a:r>
            <a:r>
              <a:rPr lang="en-US" altLang="zh-CN" sz="1000" dirty="0" err="1">
                <a:latin typeface="+mj-lt"/>
                <a:ea typeface="等线" panose="02010600030101010101" pitchFamily="2" charset="-122"/>
                <a:cs typeface="Arial" panose="020B0604020202020204" pitchFamily="34" charset="0"/>
              </a:rPr>
              <a:t>Oncol</a:t>
            </a:r>
            <a:r>
              <a:rPr lang="en-US" altLang="zh-CN" sz="1000" dirty="0">
                <a:latin typeface="+mj-lt"/>
                <a:ea typeface="等线" panose="02010600030101010101" pitchFamily="2" charset="-122"/>
                <a:cs typeface="Arial" panose="020B0604020202020204" pitchFamily="34" charset="0"/>
              </a:rPr>
              <a:t>. 2018 Nov;14(27):2861-2874</a:t>
            </a:r>
            <a:r>
              <a:rPr lang="en-US" altLang="zh-CN" sz="1000" dirty="0">
                <a:latin typeface="+mj-lt"/>
                <a:ea typeface="Microsoft YaHei UI" panose="020B0503020204020204" pitchFamily="34" charset="-122"/>
              </a:rPr>
              <a:t> </a:t>
            </a:r>
            <a:endParaRPr lang="en-US" altLang="zh-CN" sz="1000" dirty="0">
              <a:latin typeface="+mj-lt"/>
            </a:endParaRPr>
          </a:p>
        </p:txBody>
      </p:sp>
    </p:spTree>
    <p:extLst>
      <p:ext uri="{BB962C8B-B14F-4D97-AF65-F5344CB8AC3E}">
        <p14:creationId xmlns:p14="http://schemas.microsoft.com/office/powerpoint/2010/main" val="3503869772"/>
      </p:ext>
    </p:extLst>
  </p:cSld>
  <p:clrMapOvr>
    <a:masterClrMapping/>
  </p:clrMapOvr>
  <p:transition spd="med">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a:xfrm>
            <a:off x="443277" y="375216"/>
            <a:ext cx="8550275" cy="406265"/>
          </a:xfrm>
        </p:spPr>
        <p:txBody>
          <a:bodyPr/>
          <a:lstStyle/>
          <a:p>
            <a:r>
              <a:rPr lang="zh-CN" altLang="en-US" sz="2400" b="1" dirty="0">
                <a:latin typeface="Microsoft YaHei" panose="020B0503020204020204" pitchFamily="34" charset="-122"/>
                <a:ea typeface="Microsoft YaHei" panose="020B0503020204020204" pitchFamily="34" charset="-122"/>
              </a:rPr>
              <a:t>主要内容</a:t>
            </a:r>
            <a:endParaRPr lang="en-US" sz="2400" b="1" dirty="0">
              <a:latin typeface="Microsoft YaHei" panose="020B0503020204020204" pitchFamily="34" charset="-122"/>
              <a:ea typeface="Microsoft YaHei" panose="020B0503020204020204" pitchFamily="34" charset="-122"/>
            </a:endParaRPr>
          </a:p>
        </p:txBody>
      </p:sp>
      <p:cxnSp>
        <p:nvCxnSpPr>
          <p:cNvPr id="8" name="直接连接符 7"/>
          <p:cNvCxnSpPr/>
          <p:nvPr/>
        </p:nvCxnSpPr>
        <p:spPr>
          <a:xfrm>
            <a:off x="443277" y="1998617"/>
            <a:ext cx="0" cy="3487783"/>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6" name="文本框 5"/>
          <p:cNvSpPr txBox="1"/>
          <p:nvPr/>
        </p:nvSpPr>
        <p:spPr>
          <a:xfrm>
            <a:off x="443277" y="1998617"/>
            <a:ext cx="8700723" cy="4247317"/>
          </a:xfrm>
          <a:prstGeom prst="rect">
            <a:avLst/>
          </a:prstGeom>
          <a:noFill/>
        </p:spPr>
        <p:txBody>
          <a:bodyPr wrap="square" rtlCol="0">
            <a:spAutoFit/>
          </a:bodyPr>
          <a:lstStyle/>
          <a:p>
            <a:pPr marL="285750" marR="0" lvl="0" indent="-285750" algn="l" defTabSz="914400" rtl="0" eaLnBrk="1" fontAlgn="auto" latinLnBrk="0" hangingPunct="1">
              <a:lnSpc>
                <a:spcPct val="150000"/>
              </a:lnSpc>
              <a:spcBef>
                <a:spcPts val="0"/>
              </a:spcBef>
              <a:spcAft>
                <a:spcPts val="0"/>
              </a:spcAft>
              <a:buClr>
                <a:srgbClr val="C3B600"/>
              </a:buClr>
              <a:buSzTx/>
              <a:buFont typeface="Wingdings" panose="05000000000000000000" pitchFamily="2" charset="2"/>
              <a:buChar char="§"/>
              <a:tabLst/>
              <a:defRPr/>
            </a:pPr>
            <a:r>
              <a:rPr kumimoji="0" lang="zh-CN" alt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吉泰瑞</a:t>
            </a:r>
            <a:r>
              <a:rPr kumimoji="0" lang="en-US" altLang="zh-CN" sz="2000" b="0" i="0" u="none" strike="noStrike" kern="1200" cap="none" spc="0" normalizeH="0" baseline="30000" noProof="0" dirty="0">
                <a:ln>
                  <a:noFill/>
                </a:ln>
                <a:effectLst/>
                <a:uLnTx/>
                <a:uFillTx/>
                <a:latin typeface="Microsoft YaHei" panose="020B0503020204020204" pitchFamily="34" charset="-122"/>
                <a:ea typeface="Microsoft YaHei" panose="020B0503020204020204" pitchFamily="34" charset="-122"/>
                <a:cs typeface="+mn-cs"/>
              </a:rPr>
              <a:t>®</a:t>
            </a:r>
            <a:r>
              <a:rPr kumimoji="0" lang="zh-CN" alt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首个证实在一线治疗</a:t>
            </a:r>
            <a:r>
              <a:rPr kumimoji="0" lang="en-US" altLang="zh-CN"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EGFR</a:t>
            </a:r>
            <a:r>
              <a:rPr kumimoji="0" lang="zh-CN" alt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常见突变患者中有</a:t>
            </a:r>
            <a:r>
              <a:rPr kumimoji="0" lang="en-US" altLang="zh-CN"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OS</a:t>
            </a:r>
            <a:r>
              <a:rPr kumimoji="0" lang="zh-CN" alt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获益的</a:t>
            </a:r>
            <a:r>
              <a:rPr kumimoji="0" lang="en-US" altLang="zh-CN"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EGFR-TKI</a:t>
            </a:r>
          </a:p>
          <a:p>
            <a:pPr marL="285750" marR="0" lvl="0" indent="-285750" algn="l" defTabSz="914400" rtl="0" eaLnBrk="1" fontAlgn="auto" latinLnBrk="0" hangingPunct="1">
              <a:lnSpc>
                <a:spcPct val="150000"/>
              </a:lnSpc>
              <a:spcBef>
                <a:spcPts val="0"/>
              </a:spcBef>
              <a:spcAft>
                <a:spcPts val="0"/>
              </a:spcAft>
              <a:buClr>
                <a:srgbClr val="C3B600"/>
              </a:buClr>
              <a:buSzTx/>
              <a:buFont typeface="Wingdings" panose="05000000000000000000" pitchFamily="2" charset="2"/>
              <a:buChar char="§"/>
              <a:tabLst/>
              <a:defRPr/>
            </a:pPr>
            <a:endParaRPr kumimoji="0" 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endParaRPr>
          </a:p>
          <a:p>
            <a:pPr marL="285750" lvl="0" indent="-285750" defTabSz="914400">
              <a:lnSpc>
                <a:spcPct val="150000"/>
              </a:lnSpc>
              <a:buClr>
                <a:srgbClr val="C3B600"/>
              </a:buClr>
              <a:buFont typeface="Wingdings" panose="05000000000000000000" pitchFamily="2" charset="2"/>
              <a:buChar char="§"/>
              <a:defRPr/>
            </a:pPr>
            <a:r>
              <a:rPr kumimoji="0" lang="zh-CN" altLang="en-US"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吉泰瑞</a:t>
            </a:r>
            <a:r>
              <a:rPr kumimoji="0" lang="en-US" altLang="zh-CN" sz="2000" b="0" i="0" u="none" strike="noStrike" kern="1200" cap="none" spc="0" normalizeH="0" baseline="3000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a:t>
            </a:r>
            <a:r>
              <a:rPr lang="zh-CN" altLang="en-US" sz="2000" dirty="0">
                <a:solidFill>
                  <a:schemeClr val="bg1">
                    <a:lumMod val="50000"/>
                  </a:schemeClr>
                </a:solidFill>
                <a:latin typeface="Microsoft YaHei" panose="020B0503020204020204" pitchFamily="34" charset="-122"/>
                <a:ea typeface="Microsoft YaHei" panose="020B0503020204020204" pitchFamily="34" charset="-122"/>
              </a:rPr>
              <a:t>一线治疗较</a:t>
            </a:r>
            <a:r>
              <a:rPr kumimoji="0" lang="zh-CN" altLang="en-US"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一代</a:t>
            </a:r>
            <a:r>
              <a:rPr kumimoji="0" lang="en-US" altLang="zh-CN"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TKI</a:t>
            </a:r>
            <a:r>
              <a:rPr kumimoji="0" lang="zh-CN" altLang="en-US"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显著延长</a:t>
            </a:r>
            <a:r>
              <a:rPr kumimoji="0" lang="en-US" altLang="zh-CN"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EGFR</a:t>
            </a:r>
            <a:r>
              <a:rPr kumimoji="0" lang="zh-CN" altLang="en-US"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常见突变患者</a:t>
            </a:r>
            <a:r>
              <a:rPr kumimoji="0" lang="en-US" altLang="zh-CN"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PFS</a:t>
            </a:r>
          </a:p>
          <a:p>
            <a:pPr marL="285750" marR="0" lvl="0" indent="-285750" algn="l" defTabSz="914400" rtl="0" eaLnBrk="1" fontAlgn="auto" latinLnBrk="0" hangingPunct="1">
              <a:lnSpc>
                <a:spcPct val="150000"/>
              </a:lnSpc>
              <a:spcBef>
                <a:spcPts val="0"/>
              </a:spcBef>
              <a:spcAft>
                <a:spcPts val="0"/>
              </a:spcAft>
              <a:buClr>
                <a:srgbClr val="C3B600"/>
              </a:buClr>
              <a:buSzTx/>
              <a:buFont typeface="Wingdings" panose="05000000000000000000" pitchFamily="2" charset="2"/>
              <a:buChar char="§"/>
              <a:tabLst/>
              <a:defRPr/>
            </a:pPr>
            <a:endParaRPr kumimoji="0" lang="en-US" altLang="zh-CN"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endParaRPr>
          </a:p>
          <a:p>
            <a:pPr marL="285750" marR="0" lvl="0" indent="-285750" algn="l" defTabSz="914400" rtl="0" eaLnBrk="1" fontAlgn="auto" latinLnBrk="0" hangingPunct="1">
              <a:lnSpc>
                <a:spcPct val="150000"/>
              </a:lnSpc>
              <a:spcBef>
                <a:spcPts val="0"/>
              </a:spcBef>
              <a:spcAft>
                <a:spcPts val="0"/>
              </a:spcAft>
              <a:buClr>
                <a:srgbClr val="C3B600"/>
              </a:buClr>
              <a:buSzTx/>
              <a:buFont typeface="Wingdings" panose="05000000000000000000" pitchFamily="2" charset="2"/>
              <a:buChar char="§"/>
              <a:tabLst/>
              <a:defRPr/>
            </a:pPr>
            <a:r>
              <a:rPr kumimoji="0" lang="zh-CN" altLang="en-US"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吉泰瑞</a:t>
            </a:r>
            <a:r>
              <a:rPr kumimoji="0" lang="en-US" altLang="zh-CN" sz="2000" b="0" i="0" u="none" strike="noStrike" kern="1200" cap="none" spc="0" normalizeH="0" baseline="3000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a:t>
            </a:r>
            <a:r>
              <a:rPr kumimoji="0" lang="zh-CN" altLang="en-US"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一线治疗让患者有更多接受后续治疗的机会，带来长生存的希望</a:t>
            </a:r>
            <a:endParaRPr kumimoji="0" lang="en-US" altLang="zh-CN"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endParaRPr>
          </a:p>
          <a:p>
            <a:pPr marL="285750" marR="0" lvl="0" indent="-285750" algn="l" defTabSz="914400" rtl="0" eaLnBrk="1" fontAlgn="auto" latinLnBrk="0" hangingPunct="1">
              <a:lnSpc>
                <a:spcPct val="150000"/>
              </a:lnSpc>
              <a:spcBef>
                <a:spcPts val="0"/>
              </a:spcBef>
              <a:spcAft>
                <a:spcPts val="0"/>
              </a:spcAft>
              <a:buClr>
                <a:srgbClr val="C3B600"/>
              </a:buClr>
              <a:buSzTx/>
              <a:buFont typeface="Wingdings" panose="05000000000000000000" pitchFamily="2" charset="2"/>
              <a:buChar char="§"/>
              <a:tabLst/>
              <a:defRPr/>
            </a:pPr>
            <a:endParaRPr kumimoji="0" lang="en-US" altLang="zh-CN"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endParaRPr>
          </a:p>
          <a:p>
            <a:pPr marL="285750" indent="-285750" defTabSz="914400">
              <a:lnSpc>
                <a:spcPct val="150000"/>
              </a:lnSpc>
              <a:buClr>
                <a:srgbClr val="C3B600"/>
              </a:buClr>
              <a:buFont typeface="Wingdings" panose="05000000000000000000" pitchFamily="2" charset="2"/>
              <a:buChar char="§"/>
              <a:defRPr/>
            </a:pPr>
            <a:r>
              <a:rPr lang="zh-CN" altLang="en-US" sz="2000" dirty="0">
                <a:solidFill>
                  <a:schemeClr val="bg1">
                    <a:lumMod val="50000"/>
                  </a:schemeClr>
                </a:solidFill>
                <a:latin typeface="Microsoft YaHei" panose="020B0503020204020204" pitchFamily="34" charset="-122"/>
                <a:ea typeface="Microsoft YaHei" panose="020B0503020204020204" pitchFamily="34" charset="-122"/>
              </a:rPr>
              <a:t>吉泰瑞</a:t>
            </a:r>
            <a:r>
              <a:rPr lang="en-US" altLang="zh-CN" sz="2000" dirty="0">
                <a:solidFill>
                  <a:schemeClr val="bg1">
                    <a:lumMod val="50000"/>
                  </a:schemeClr>
                </a:solidFill>
                <a:latin typeface="Microsoft YaHei" panose="020B0503020204020204" pitchFamily="34" charset="-122"/>
                <a:ea typeface="Microsoft YaHei" panose="020B0503020204020204" pitchFamily="34" charset="-122"/>
              </a:rPr>
              <a:t>®</a:t>
            </a:r>
            <a:r>
              <a:rPr lang="zh-CN" altLang="en-US" sz="2000" dirty="0">
                <a:solidFill>
                  <a:schemeClr val="bg1">
                    <a:lumMod val="50000"/>
                  </a:schemeClr>
                </a:solidFill>
                <a:latin typeface="Microsoft YaHei" panose="020B0503020204020204" pitchFamily="34" charset="-122"/>
                <a:ea typeface="Microsoft YaHei" panose="020B0503020204020204" pitchFamily="34" charset="-122"/>
              </a:rPr>
              <a:t>一线治疗是</a:t>
            </a:r>
            <a:r>
              <a:rPr lang="en-US" altLang="zh-CN" sz="2000" dirty="0">
                <a:solidFill>
                  <a:schemeClr val="bg1">
                    <a:lumMod val="50000"/>
                  </a:schemeClr>
                </a:solidFill>
                <a:latin typeface="Microsoft YaHei" panose="020B0503020204020204" pitchFamily="34" charset="-122"/>
                <a:ea typeface="Microsoft YaHei" panose="020B0503020204020204" pitchFamily="34" charset="-122"/>
              </a:rPr>
              <a:t>EGFR</a:t>
            </a:r>
            <a:r>
              <a:rPr lang="zh-CN" altLang="en-US" sz="2000" dirty="0">
                <a:solidFill>
                  <a:schemeClr val="bg1">
                    <a:lumMod val="50000"/>
                  </a:schemeClr>
                </a:solidFill>
                <a:latin typeface="Microsoft YaHei" panose="020B0503020204020204" pitchFamily="34" charset="-122"/>
                <a:ea typeface="Microsoft YaHei" panose="020B0503020204020204" pitchFamily="34" charset="-122"/>
              </a:rPr>
              <a:t>突变患者经济的治疗选择</a:t>
            </a:r>
            <a:endParaRPr lang="en-US" altLang="zh-CN" sz="2000" dirty="0">
              <a:solidFill>
                <a:schemeClr val="bg1">
                  <a:lumMod val="50000"/>
                </a:schemeClr>
              </a:solidFill>
              <a:latin typeface="Microsoft YaHei" panose="020B0503020204020204" pitchFamily="34" charset="-122"/>
              <a:ea typeface="Microsoft YaHei" panose="020B0503020204020204" pitchFamily="34" charset="-122"/>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endParaRPr>
          </a:p>
        </p:txBody>
      </p:sp>
    </p:spTree>
    <p:extLst>
      <p:ext uri="{BB962C8B-B14F-4D97-AF65-F5344CB8AC3E}">
        <p14:creationId xmlns:p14="http://schemas.microsoft.com/office/powerpoint/2010/main" val="20337512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9" name="think-cell Slide" r:id="rId6" imgW="270" imgH="270" progId="TCLayout.ActiveDocument.1">
                  <p:embed/>
                </p:oleObj>
              </mc:Choice>
              <mc:Fallback>
                <p:oleObj name="think-cell Slide" r:id="rId6" imgW="270" imgH="270"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33176" y="-105291"/>
            <a:ext cx="92398" cy="369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altLang="zh-CN" sz="2400" b="1" i="0" u="none" strike="noStrike" kern="1200" cap="none" spc="0" normalizeH="0" baseline="0" noProof="0" dirty="0" err="1">
              <a:ln>
                <a:noFill/>
              </a:ln>
              <a:solidFill>
                <a:prstClr val="white"/>
              </a:solidFill>
              <a:effectLst/>
              <a:uLnTx/>
              <a:uFillTx/>
              <a:latin typeface="微软雅黑"/>
              <a:ea typeface="微软雅黑"/>
              <a:cs typeface="Arial"/>
              <a:sym typeface="微软雅黑"/>
            </a:endParaRPr>
          </a:p>
        </p:txBody>
      </p:sp>
      <p:sp>
        <p:nvSpPr>
          <p:cNvPr id="40976" name="Rectangle 1"/>
          <p:cNvSpPr>
            <a:spLocks noChangeArrowheads="1"/>
          </p:cNvSpPr>
          <p:nvPr/>
        </p:nvSpPr>
        <p:spPr bwMode="auto">
          <a:xfrm>
            <a:off x="73495" y="6502942"/>
            <a:ext cx="6502581" cy="424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lstStyle>
            <a:lvl1pPr marL="66675" indent="-66675">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66675" marR="0" lvl="0" indent="-66675" algn="l" defTabSz="914400" rtl="0" eaLnBrk="1" fontAlgn="base" latinLnBrk="0" hangingPunct="1">
              <a:lnSpc>
                <a:spcPct val="90000"/>
              </a:lnSpc>
              <a:spcBef>
                <a:spcPts val="300"/>
              </a:spcBef>
              <a:spcAft>
                <a:spcPct val="0"/>
              </a:spcAft>
              <a:buClrTx/>
              <a:buSzTx/>
              <a:buFontTx/>
              <a:buNone/>
              <a:tabLst/>
              <a:defRPr/>
            </a:pPr>
            <a:r>
              <a:rPr kumimoji="0" lang="en-GB" altLang="en-US" sz="1000" b="0" i="0" u="none" strike="noStrike" kern="1200" cap="none" spc="0" normalizeH="0" baseline="0" noProof="0" dirty="0">
                <a:ln>
                  <a:noFill/>
                </a:ln>
                <a:solidFill>
                  <a:prstClr val="black"/>
                </a:solidFill>
                <a:effectLst/>
                <a:uLnTx/>
                <a:uFillTx/>
                <a:latin typeface="Arial" pitchFamily="34" charset="0"/>
                <a:ea typeface="微软雅黑" panose="020B0503020204020204" pitchFamily="34" charset="-122"/>
                <a:cs typeface="Arial" panose="020B0604020202020204" pitchFamily="34" charset="0"/>
              </a:rPr>
              <a:t>1. </a:t>
            </a:r>
            <a:r>
              <a:rPr kumimoji="0" lang="en-GB" altLang="en-US" sz="1000" b="0" i="0" u="none" strike="noStrike" kern="1200" cap="none" spc="0" normalizeH="0" baseline="0" noProof="0" dirty="0" err="1">
                <a:ln>
                  <a:noFill/>
                </a:ln>
                <a:solidFill>
                  <a:prstClr val="black"/>
                </a:solidFill>
                <a:effectLst/>
                <a:uLnTx/>
                <a:uFillTx/>
                <a:latin typeface="Arial" pitchFamily="34" charset="0"/>
                <a:ea typeface="微软雅黑" panose="020B0503020204020204" pitchFamily="34" charset="-122"/>
                <a:cs typeface="Arial" panose="020B0604020202020204" pitchFamily="34" charset="0"/>
              </a:rPr>
              <a:t>Sequist</a:t>
            </a:r>
            <a:r>
              <a:rPr kumimoji="0" lang="en-GB" altLang="en-US" sz="1000" b="0" i="0" u="none" strike="noStrike" kern="1200" cap="none" spc="0" normalizeH="0" baseline="0" noProof="0" dirty="0">
                <a:ln>
                  <a:noFill/>
                </a:ln>
                <a:solidFill>
                  <a:prstClr val="black"/>
                </a:solidFill>
                <a:effectLst/>
                <a:uLnTx/>
                <a:uFillTx/>
                <a:latin typeface="Arial" pitchFamily="34" charset="0"/>
                <a:ea typeface="微软雅黑" panose="020B0503020204020204" pitchFamily="34" charset="-122"/>
                <a:cs typeface="Arial" panose="020B0604020202020204" pitchFamily="34" charset="0"/>
              </a:rPr>
              <a:t> et al. J </a:t>
            </a:r>
            <a:r>
              <a:rPr kumimoji="0" lang="en-GB" altLang="en-US" sz="1000" b="0" i="0" u="none" strike="noStrike" kern="1200" cap="none" spc="0" normalizeH="0" baseline="0" noProof="0" dirty="0" err="1">
                <a:ln>
                  <a:noFill/>
                </a:ln>
                <a:solidFill>
                  <a:prstClr val="black"/>
                </a:solidFill>
                <a:effectLst/>
                <a:uLnTx/>
                <a:uFillTx/>
                <a:latin typeface="Arial" pitchFamily="34" charset="0"/>
                <a:ea typeface="微软雅黑" panose="020B0503020204020204" pitchFamily="34" charset="-122"/>
                <a:cs typeface="Arial" panose="020B0604020202020204" pitchFamily="34" charset="0"/>
              </a:rPr>
              <a:t>Clin</a:t>
            </a:r>
            <a:r>
              <a:rPr kumimoji="0" lang="en-GB" altLang="en-US" sz="1000" b="0" i="0" u="none" strike="noStrike" kern="1200" cap="none" spc="0" normalizeH="0" baseline="0" noProof="0" dirty="0">
                <a:ln>
                  <a:noFill/>
                </a:ln>
                <a:solidFill>
                  <a:prstClr val="black"/>
                </a:solidFill>
                <a:effectLst/>
                <a:uLnTx/>
                <a:uFillTx/>
                <a:latin typeface="Arial" pitchFamily="34" charset="0"/>
                <a:ea typeface="微软雅黑" panose="020B0503020204020204" pitchFamily="34" charset="-122"/>
                <a:cs typeface="Arial" panose="020B0604020202020204" pitchFamily="34" charset="0"/>
              </a:rPr>
              <a:t> </a:t>
            </a:r>
            <a:r>
              <a:rPr kumimoji="0" lang="en-GB" altLang="en-US" sz="1000" b="0" i="0" u="none" strike="noStrike" kern="1200" cap="none" spc="0" normalizeH="0" baseline="0" noProof="0" dirty="0" err="1">
                <a:ln>
                  <a:noFill/>
                </a:ln>
                <a:solidFill>
                  <a:prstClr val="black"/>
                </a:solidFill>
                <a:effectLst/>
                <a:uLnTx/>
                <a:uFillTx/>
                <a:latin typeface="Arial" pitchFamily="34" charset="0"/>
                <a:ea typeface="微软雅黑" panose="020B0503020204020204" pitchFamily="34" charset="-122"/>
                <a:cs typeface="Arial" panose="020B0604020202020204" pitchFamily="34" charset="0"/>
              </a:rPr>
              <a:t>Oncol</a:t>
            </a:r>
            <a:r>
              <a:rPr kumimoji="0" lang="en-GB" altLang="en-US" sz="1000" b="0" i="0" u="none" strike="noStrike" kern="1200" cap="none" spc="0" normalizeH="0" baseline="0" noProof="0" dirty="0">
                <a:ln>
                  <a:noFill/>
                </a:ln>
                <a:solidFill>
                  <a:prstClr val="black"/>
                </a:solidFill>
                <a:effectLst/>
                <a:uLnTx/>
                <a:uFillTx/>
                <a:latin typeface="Arial" pitchFamily="34" charset="0"/>
                <a:ea typeface="微软雅黑" panose="020B0503020204020204" pitchFamily="34" charset="-122"/>
                <a:cs typeface="Arial" panose="020B0604020202020204" pitchFamily="34" charset="0"/>
              </a:rPr>
              <a:t>. 2013;31:3327; </a:t>
            </a:r>
          </a:p>
          <a:p>
            <a:pPr marL="66675" marR="0" lvl="0" indent="-66675" algn="l" defTabSz="914400" rtl="0" eaLnBrk="1" fontAlgn="base" latinLnBrk="0" hangingPunct="1">
              <a:lnSpc>
                <a:spcPct val="90000"/>
              </a:lnSpc>
              <a:spcBef>
                <a:spcPts val="300"/>
              </a:spcBef>
              <a:spcAft>
                <a:spcPct val="0"/>
              </a:spcAft>
              <a:buClrTx/>
              <a:buSzTx/>
              <a:buFontTx/>
              <a:buNone/>
              <a:tabLst/>
              <a:defRPr/>
            </a:pPr>
            <a:r>
              <a:rPr kumimoji="0" lang="en-GB" altLang="en-US" sz="1000" b="0" i="0" u="none" strike="noStrike" kern="1200" cap="none" spc="0" normalizeH="0" baseline="0" noProof="0" dirty="0">
                <a:ln>
                  <a:noFill/>
                </a:ln>
                <a:solidFill>
                  <a:prstClr val="black"/>
                </a:solidFill>
                <a:effectLst/>
                <a:uLnTx/>
                <a:uFillTx/>
                <a:latin typeface="Arial" pitchFamily="34" charset="0"/>
                <a:ea typeface="微软雅黑" panose="020B0503020204020204" pitchFamily="34" charset="-122"/>
                <a:cs typeface="Arial" panose="020B0604020202020204" pitchFamily="34" charset="0"/>
              </a:rPr>
              <a:t>2. Wu et al. Lancet </a:t>
            </a:r>
            <a:r>
              <a:rPr kumimoji="0" lang="en-GB" altLang="en-US" sz="1000" b="0" i="0" u="none" strike="noStrike" kern="1200" cap="none" spc="0" normalizeH="0" baseline="0" noProof="0" dirty="0" err="1">
                <a:ln>
                  <a:noFill/>
                </a:ln>
                <a:solidFill>
                  <a:prstClr val="black"/>
                </a:solidFill>
                <a:effectLst/>
                <a:uLnTx/>
                <a:uFillTx/>
                <a:latin typeface="Arial" pitchFamily="34" charset="0"/>
                <a:ea typeface="微软雅黑" panose="020B0503020204020204" pitchFamily="34" charset="-122"/>
                <a:cs typeface="Arial" panose="020B0604020202020204" pitchFamily="34" charset="0"/>
              </a:rPr>
              <a:t>Oncol</a:t>
            </a:r>
            <a:r>
              <a:rPr kumimoji="0" lang="en-GB" altLang="en-US" sz="1000" b="0" i="0" u="none" strike="noStrike" kern="1200" cap="none" spc="0" normalizeH="0" baseline="0" noProof="0" dirty="0">
                <a:ln>
                  <a:noFill/>
                </a:ln>
                <a:solidFill>
                  <a:prstClr val="black"/>
                </a:solidFill>
                <a:effectLst/>
                <a:uLnTx/>
                <a:uFillTx/>
                <a:latin typeface="Arial" pitchFamily="34" charset="0"/>
                <a:ea typeface="微软雅黑" panose="020B0503020204020204" pitchFamily="34" charset="-122"/>
                <a:cs typeface="Arial" panose="020B0604020202020204" pitchFamily="34" charset="0"/>
              </a:rPr>
              <a:t>. 2014;15:213. </a:t>
            </a:r>
          </a:p>
        </p:txBody>
      </p:sp>
      <p:sp>
        <p:nvSpPr>
          <p:cNvPr id="21" name="Title 4"/>
          <p:cNvSpPr>
            <a:spLocks noGrp="1"/>
          </p:cNvSpPr>
          <p:nvPr>
            <p:ph type="title"/>
          </p:nvPr>
        </p:nvSpPr>
        <p:spPr>
          <a:xfrm>
            <a:off x="520313" y="202256"/>
            <a:ext cx="8101617" cy="720197"/>
          </a:xfrm>
        </p:spPr>
        <p:txBody>
          <a:bodyPr/>
          <a:lstStyle/>
          <a:p>
            <a:r>
              <a:rPr lang="en-US" altLang="zh-CN" sz="2400" b="1" dirty="0">
                <a:latin typeface="Microsoft YaHei" panose="020B0503020204020204" pitchFamily="34" charset="-122"/>
                <a:ea typeface="Microsoft YaHei" panose="020B0503020204020204" pitchFamily="34" charset="-122"/>
              </a:rPr>
              <a:t>LUX-Lung 3&amp;6: </a:t>
            </a:r>
            <a:r>
              <a:rPr lang="zh-CN" altLang="en-US" sz="2400" b="1" dirty="0">
                <a:latin typeface="Microsoft YaHei" panose="020B0503020204020204" pitchFamily="34" charset="-122"/>
                <a:ea typeface="Microsoft YaHei" panose="020B0503020204020204" pitchFamily="34" charset="-122"/>
              </a:rPr>
              <a:t>吉泰瑞</a:t>
            </a:r>
            <a:r>
              <a:rPr lang="en-US" altLang="zh-CN" sz="2400" b="1" baseline="30000" dirty="0">
                <a:latin typeface="Microsoft YaHei" panose="020B0503020204020204" pitchFamily="34" charset="-122"/>
                <a:ea typeface="Microsoft YaHei" panose="020B0503020204020204" pitchFamily="34" charset="-122"/>
              </a:rPr>
              <a:t>®</a:t>
            </a:r>
            <a:r>
              <a:rPr lang="en-US" altLang="zh-CN" sz="2400" b="1" dirty="0">
                <a:latin typeface="Microsoft YaHei" panose="020B0503020204020204" pitchFamily="34" charset="-122"/>
                <a:ea typeface="Microsoft YaHei" panose="020B0503020204020204" pitchFamily="34" charset="-122"/>
              </a:rPr>
              <a:t>vs</a:t>
            </a:r>
            <a:r>
              <a:rPr lang="zh-CN" altLang="en-US" sz="2400" b="1" dirty="0">
                <a:latin typeface="Microsoft YaHei" panose="020B0503020204020204" pitchFamily="34" charset="-122"/>
                <a:ea typeface="Microsoft YaHei" panose="020B0503020204020204" pitchFamily="34" charset="-122"/>
              </a:rPr>
              <a:t>化疗用于</a:t>
            </a:r>
            <a:r>
              <a:rPr lang="en-US" altLang="zh-CN" sz="2400" b="1" dirty="0">
                <a:latin typeface="Microsoft YaHei" panose="020B0503020204020204" pitchFamily="34" charset="-122"/>
                <a:ea typeface="Microsoft YaHei" panose="020B0503020204020204" pitchFamily="34" charset="-122"/>
              </a:rPr>
              <a:t>EGFR</a:t>
            </a:r>
            <a:r>
              <a:rPr lang="zh-CN" altLang="en-US" sz="2400" b="1" dirty="0">
                <a:latin typeface="Microsoft YaHei" panose="020B0503020204020204" pitchFamily="34" charset="-122"/>
                <a:ea typeface="Microsoft YaHei" panose="020B0503020204020204" pitchFamily="34" charset="-122"/>
              </a:rPr>
              <a:t>突变阳性患者一线治疗的全球及亚洲研究</a:t>
            </a:r>
            <a:endParaRPr lang="en-US" sz="2400" b="1" dirty="0">
              <a:latin typeface="Microsoft YaHei" panose="020B0503020204020204" pitchFamily="34" charset="-122"/>
              <a:ea typeface="Microsoft YaHei" panose="020B0503020204020204" pitchFamily="34" charset="-122"/>
            </a:endParaRPr>
          </a:p>
        </p:txBody>
      </p:sp>
      <p:sp>
        <p:nvSpPr>
          <p:cNvPr id="23" name="AutoShape 20"/>
          <p:cNvSpPr>
            <a:spLocks noChangeArrowheads="1"/>
          </p:cNvSpPr>
          <p:nvPr/>
        </p:nvSpPr>
        <p:spPr bwMode="blackWhite">
          <a:xfrm>
            <a:off x="7548244" y="2613774"/>
            <a:ext cx="1404000" cy="3042145"/>
          </a:xfrm>
          <a:prstGeom prst="roundRect">
            <a:avLst>
              <a:gd name="adj" fmla="val 16667"/>
            </a:avLst>
          </a:prstGeom>
          <a:solidFill>
            <a:schemeClr val="accent1">
              <a:lumMod val="20000"/>
              <a:lumOff val="8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400" b="1" i="0" u="sng" strike="noStrike" kern="1200" cap="none" spc="0" normalizeH="0" baseline="0" noProof="0" dirty="0">
                <a:ln>
                  <a:noFill/>
                </a:ln>
                <a:solidFill>
                  <a:srgbClr val="1CBECA">
                    <a:lumMod val="50000"/>
                  </a:srgbClr>
                </a:solidFill>
                <a:effectLst/>
                <a:uLnTx/>
                <a:uFillTx/>
                <a:latin typeface="Arial"/>
                <a:ea typeface="微软雅黑" panose="020B0503020204020204" pitchFamily="34" charset="-122"/>
                <a:cs typeface="Arial" pitchFamily="34" charset="0"/>
              </a:rPr>
              <a:t>次要终点</a:t>
            </a:r>
            <a:endParaRPr kumimoji="0" lang="en-US" altLang="zh-CN" sz="1400" b="1" i="0" u="sng" strike="noStrike" kern="1200" cap="none" spc="0" normalizeH="0" baseline="0" noProof="0" dirty="0">
              <a:ln>
                <a:noFill/>
              </a:ln>
              <a:solidFill>
                <a:srgbClr val="1CBECA">
                  <a:lumMod val="50000"/>
                </a:srgbClr>
              </a:solidFill>
              <a:effectLst/>
              <a:uLnTx/>
              <a:uFillTx/>
              <a:latin typeface="Arial"/>
              <a:ea typeface="微软雅黑" panose="020B0503020204020204" pitchFamily="34" charset="-122"/>
              <a:cs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br>
              <a:rPr kumimoji="0" lang="zh-CN" altLang="en-US" sz="1400" b="1" i="0" u="none" strike="noStrike" kern="1200" cap="none" spc="0" normalizeH="0" baseline="0" noProof="0" dirty="0">
                <a:ln>
                  <a:noFill/>
                </a:ln>
                <a:solidFill>
                  <a:srgbClr val="1CBECA">
                    <a:lumMod val="50000"/>
                  </a:srgbClr>
                </a:solidFill>
                <a:effectLst/>
                <a:uLnTx/>
                <a:uFillTx/>
                <a:latin typeface="Arial"/>
                <a:ea typeface="微软雅黑" panose="020B0503020204020204" pitchFamily="34" charset="-122"/>
                <a:cs typeface="Arial" pitchFamily="34" charset="0"/>
              </a:rPr>
            </a:br>
            <a:r>
              <a:rPr kumimoji="0" lang="en-US" altLang="zh-CN" sz="1400" b="1" i="0" u="none" strike="noStrike" kern="1200" cap="none" spc="0" normalizeH="0" baseline="0" noProof="0" dirty="0">
                <a:ln>
                  <a:noFill/>
                </a:ln>
                <a:solidFill>
                  <a:srgbClr val="1CBECA">
                    <a:lumMod val="50000"/>
                  </a:srgbClr>
                </a:solidFill>
                <a:effectLst/>
                <a:uLnTx/>
                <a:uFillTx/>
                <a:latin typeface="Arial"/>
                <a:ea typeface="微软雅黑" panose="020B0503020204020204" pitchFamily="34" charset="-122"/>
                <a:cs typeface="Arial" pitchFamily="34" charset="0"/>
              </a:rPr>
              <a:t>OS, PRO, ORR,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400" b="1" i="0" u="none" strike="noStrike" kern="1200" cap="none" spc="0" normalizeH="0" baseline="0" noProof="0" dirty="0">
                <a:ln>
                  <a:noFill/>
                </a:ln>
                <a:solidFill>
                  <a:srgbClr val="1CBECA">
                    <a:lumMod val="50000"/>
                  </a:srgbClr>
                </a:solidFill>
                <a:effectLst/>
                <a:uLnTx/>
                <a:uFillTx/>
                <a:latin typeface="Arial"/>
                <a:ea typeface="微软雅黑" panose="020B0503020204020204" pitchFamily="34" charset="-122"/>
                <a:cs typeface="Arial" pitchFamily="34" charset="0"/>
              </a:rPr>
              <a:t>DCR, DOR,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400" b="1" i="0" u="none" strike="noStrike" kern="1200" cap="none" spc="0" normalizeH="0" baseline="0" noProof="0" dirty="0">
                <a:ln>
                  <a:noFill/>
                </a:ln>
                <a:solidFill>
                  <a:srgbClr val="1CBECA">
                    <a:lumMod val="50000"/>
                  </a:srgbClr>
                </a:solidFill>
                <a:effectLst/>
                <a:uLnTx/>
                <a:uFillTx/>
                <a:latin typeface="Arial"/>
                <a:ea typeface="微软雅黑" panose="020B0503020204020204" pitchFamily="34" charset="-122"/>
                <a:cs typeface="Arial" pitchFamily="34" charset="0"/>
              </a:rPr>
              <a:t>肿瘤缩小体积、</a:t>
            </a:r>
            <a:endParaRPr kumimoji="0" lang="en-US" altLang="zh-CN" sz="1400" b="1" i="0" u="none" strike="noStrike" kern="1200" cap="none" spc="0" normalizeH="0" baseline="0" noProof="0" dirty="0">
              <a:ln>
                <a:noFill/>
              </a:ln>
              <a:solidFill>
                <a:srgbClr val="1CBECA">
                  <a:lumMod val="50000"/>
                </a:srgbClr>
              </a:solidFill>
              <a:effectLst/>
              <a:uLnTx/>
              <a:uFillTx/>
              <a:latin typeface="Arial"/>
              <a:ea typeface="微软雅黑" panose="020B0503020204020204" pitchFamily="34" charset="-122"/>
              <a:cs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400" b="1" i="0" u="none" strike="noStrike" kern="1200" cap="none" spc="0" normalizeH="0" baseline="0" noProof="0" dirty="0">
                <a:ln>
                  <a:noFill/>
                </a:ln>
                <a:solidFill>
                  <a:srgbClr val="1CBECA">
                    <a:lumMod val="50000"/>
                  </a:srgbClr>
                </a:solidFill>
                <a:effectLst/>
                <a:uLnTx/>
                <a:uFillTx/>
                <a:latin typeface="Arial"/>
                <a:ea typeface="微软雅黑" panose="020B0503020204020204" pitchFamily="34" charset="-122"/>
                <a:cs typeface="Arial" pitchFamily="34" charset="0"/>
              </a:rPr>
              <a:t>安全性</a:t>
            </a:r>
            <a:endParaRPr kumimoji="0" lang="en-US" altLang="zh-CN" sz="1400" b="1" i="0" u="none" strike="noStrike" kern="1200" cap="none" spc="0" normalizeH="0" baseline="0" noProof="0" dirty="0">
              <a:ln>
                <a:noFill/>
              </a:ln>
              <a:solidFill>
                <a:srgbClr val="1CBECA">
                  <a:lumMod val="50000"/>
                </a:srgbClr>
              </a:solidFill>
              <a:effectLst/>
              <a:uLnTx/>
              <a:uFillTx/>
              <a:latin typeface="Arial"/>
              <a:ea typeface="微软雅黑" panose="020B0503020204020204" pitchFamily="34" charset="-122"/>
              <a:cs typeface="Arial" pitchFamily="34" charset="0"/>
            </a:endParaRPr>
          </a:p>
          <a:p>
            <a:pPr marL="0" marR="0" lvl="0" indent="0" algn="ctr" defTabSz="914400" rtl="0" eaLnBrk="1" fontAlgn="base" latinLnBrk="0" hangingPunct="1">
              <a:lnSpc>
                <a:spcPct val="90000"/>
              </a:lnSpc>
              <a:spcBef>
                <a:spcPct val="0"/>
              </a:spcBef>
              <a:spcAft>
                <a:spcPct val="0"/>
              </a:spcAft>
              <a:buClrTx/>
              <a:buSzTx/>
              <a:buFontTx/>
              <a:buNone/>
              <a:tabLst/>
              <a:defRPr/>
            </a:pPr>
            <a:endParaRPr kumimoji="0" lang="en-US" altLang="zh-CN" sz="1600" b="1" i="0" u="none" strike="noStrike" kern="1200" cap="none" spc="0" normalizeH="0" baseline="0" noProof="0" dirty="0">
              <a:ln>
                <a:noFill/>
              </a:ln>
              <a:solidFill>
                <a:srgbClr val="1CBECA">
                  <a:lumMod val="50000"/>
                </a:srgbClr>
              </a:solidFill>
              <a:effectLst/>
              <a:uLnTx/>
              <a:uFillTx/>
              <a:latin typeface="Arial"/>
              <a:ea typeface="微软雅黑" panose="020B0503020204020204" pitchFamily="34" charset="-122"/>
              <a:cs typeface="Arial" pitchFamily="34" charset="0"/>
            </a:endParaRPr>
          </a:p>
        </p:txBody>
      </p:sp>
      <p:sp>
        <p:nvSpPr>
          <p:cNvPr id="27" name="TextBox 22"/>
          <p:cNvSpPr txBox="1"/>
          <p:nvPr/>
        </p:nvSpPr>
        <p:spPr>
          <a:xfrm>
            <a:off x="1208056" y="2195155"/>
            <a:ext cx="1152601" cy="480131"/>
          </a:xfrm>
          <a:prstGeom prst="rect">
            <a:avLst/>
          </a:prstGeom>
          <a:noFill/>
        </p:spPr>
        <p:txBody>
          <a:bodyPr wrap="square">
            <a:sp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zh-CN" altLang="en-US" sz="1400" b="1" i="0" u="none" strike="noStrike" kern="1200" cap="none" spc="0" normalizeH="0" baseline="0" noProof="0" dirty="0">
                <a:ln>
                  <a:noFill/>
                </a:ln>
                <a:solidFill>
                  <a:prstClr val="black"/>
                </a:solidFill>
                <a:effectLst/>
                <a:uLnTx/>
                <a:uFillTx/>
                <a:latin typeface="Arial"/>
                <a:ea typeface="微软雅黑" panose="020B0503020204020204" pitchFamily="34" charset="-122"/>
                <a:cs typeface="Arial" pitchFamily="34" charset="0"/>
              </a:rPr>
              <a:t>随机分组</a:t>
            </a:r>
            <a:endParaRPr kumimoji="0" lang="en-US" altLang="zh-CN" sz="1400" b="1" i="0" u="none" strike="noStrike" kern="1200" cap="none" spc="0" normalizeH="0" baseline="0" noProof="0" dirty="0">
              <a:ln>
                <a:noFill/>
              </a:ln>
              <a:solidFill>
                <a:prstClr val="black"/>
              </a:solidFill>
              <a:effectLst/>
              <a:uLnTx/>
              <a:uFillTx/>
              <a:latin typeface="Arial"/>
              <a:ea typeface="微软雅黑" panose="020B0503020204020204" pitchFamily="34" charset="-122"/>
              <a:cs typeface="Arial" pitchFamily="34" charset="0"/>
            </a:endParaRPr>
          </a:p>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altLang="zh-CN" sz="1400" b="1" i="0" u="none" strike="noStrike" kern="1200" cap="none" spc="0" normalizeH="0" baseline="0" noProof="0" dirty="0">
                <a:ln>
                  <a:noFill/>
                </a:ln>
                <a:solidFill>
                  <a:prstClr val="black"/>
                </a:solidFill>
                <a:effectLst/>
                <a:uLnTx/>
                <a:uFillTx/>
                <a:latin typeface="Arial"/>
                <a:ea typeface="微软雅黑" panose="020B0503020204020204" pitchFamily="34" charset="-122"/>
                <a:cs typeface="Arial" pitchFamily="34" charset="0"/>
              </a:rPr>
              <a:t>2:1</a:t>
            </a:r>
            <a:endParaRPr kumimoji="0" lang="en-GB" altLang="zh-TW" sz="1400" b="1" i="0" u="none" strike="noStrike" kern="1200" cap="none" spc="0" normalizeH="0" baseline="0" noProof="0" dirty="0">
              <a:ln>
                <a:noFill/>
              </a:ln>
              <a:solidFill>
                <a:prstClr val="black"/>
              </a:solidFill>
              <a:effectLst/>
              <a:uLnTx/>
              <a:uFillTx/>
              <a:latin typeface="Arial"/>
              <a:ea typeface="微软雅黑" panose="020B0503020204020204" pitchFamily="34" charset="-122"/>
              <a:cs typeface="Arial" pitchFamily="34" charset="0"/>
            </a:endParaRPr>
          </a:p>
        </p:txBody>
      </p:sp>
      <p:sp>
        <p:nvSpPr>
          <p:cNvPr id="28" name="TextBox 23"/>
          <p:cNvSpPr txBox="1"/>
          <p:nvPr/>
        </p:nvSpPr>
        <p:spPr>
          <a:xfrm>
            <a:off x="2810634" y="1629094"/>
            <a:ext cx="3598645" cy="612000"/>
          </a:xfrm>
          <a:prstGeom prst="roundRect">
            <a:avLst/>
          </a:prstGeom>
          <a:solidFill>
            <a:schemeClr val="accent1">
              <a:lumMod val="20000"/>
              <a:lumOff val="8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anchor="ctr"/>
          <a:lstStyle>
            <a:defPPr>
              <a:defRPr lang="zh-CN"/>
            </a:defPPr>
            <a:lvl1pPr algn="ctr" fontAlgn="base">
              <a:lnSpc>
                <a:spcPct val="90000"/>
              </a:lnSpc>
              <a:spcBef>
                <a:spcPct val="0"/>
              </a:spcBef>
              <a:spcAft>
                <a:spcPct val="0"/>
              </a:spcAft>
              <a:defRPr sz="1600" b="1">
                <a:solidFill>
                  <a:prstClr val="white"/>
                </a:solidFill>
                <a:latin typeface="微软雅黑" panose="020B0503020204020204" pitchFamily="34" charset="-122"/>
                <a:ea typeface="微软雅黑" panose="020B0503020204020204" pitchFamily="34" charset="-122"/>
                <a:cs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br>
              <a:rPr kumimoji="0" lang="en-US" altLang="zh-CN" sz="1400" b="1" i="0" u="none" strike="noStrike" kern="1200" cap="none" spc="0" normalizeH="0" baseline="0" noProof="0" dirty="0">
                <a:ln>
                  <a:noFill/>
                </a:ln>
                <a:solidFill>
                  <a:srgbClr val="1CBECA">
                    <a:lumMod val="50000"/>
                  </a:srgbClr>
                </a:solidFill>
                <a:effectLst/>
                <a:uLnTx/>
                <a:uFillTx/>
                <a:latin typeface="Arial"/>
                <a:ea typeface="微软雅黑" panose="020B0503020204020204" pitchFamily="34" charset="-122"/>
                <a:cs typeface="Arial" pitchFamily="34" charset="0"/>
              </a:rPr>
            </a:br>
            <a:r>
              <a:rPr kumimoji="0" lang="zh-CN" altLang="en-US" sz="1400" b="1" i="0" u="none" strike="noStrike" kern="1200" cap="none" spc="0" normalizeH="0" baseline="0" noProof="0" dirty="0">
                <a:ln>
                  <a:noFill/>
                </a:ln>
                <a:solidFill>
                  <a:srgbClr val="1CBECA">
                    <a:lumMod val="50000"/>
                  </a:srgbClr>
                </a:solidFill>
                <a:effectLst/>
                <a:uLnTx/>
                <a:uFillTx/>
                <a:latin typeface="Arial"/>
                <a:ea typeface="微软雅黑" panose="020B0503020204020204" pitchFamily="34" charset="-122"/>
                <a:cs typeface="Arial" pitchFamily="34" charset="0"/>
              </a:rPr>
              <a:t>分层：根据</a:t>
            </a:r>
            <a:r>
              <a:rPr kumimoji="0" lang="en-GB" altLang="zh-TW" sz="1400" b="1" i="0" u="none" strike="noStrike" kern="1200" cap="none" spc="0" normalizeH="0" baseline="0" noProof="0" dirty="0">
                <a:ln>
                  <a:noFill/>
                </a:ln>
                <a:solidFill>
                  <a:srgbClr val="1CBECA">
                    <a:lumMod val="50000"/>
                  </a:srgbClr>
                </a:solidFill>
                <a:effectLst/>
                <a:uLnTx/>
                <a:uFillTx/>
                <a:latin typeface="Arial"/>
                <a:ea typeface="微软雅黑" panose="020B0503020204020204" pitchFamily="34" charset="-122"/>
                <a:cs typeface="Arial" pitchFamily="34" charset="0"/>
              </a:rPr>
              <a:t>EGFR</a:t>
            </a:r>
            <a:r>
              <a:rPr kumimoji="0" lang="zh-CN" altLang="en-US" sz="1400" b="1" i="0" u="none" strike="noStrike" kern="1200" cap="none" spc="0" normalizeH="0" baseline="0" noProof="0" dirty="0">
                <a:ln>
                  <a:noFill/>
                </a:ln>
                <a:solidFill>
                  <a:srgbClr val="1CBECA">
                    <a:lumMod val="50000"/>
                  </a:srgbClr>
                </a:solidFill>
                <a:effectLst/>
                <a:uLnTx/>
                <a:uFillTx/>
                <a:latin typeface="Arial"/>
                <a:ea typeface="微软雅黑" panose="020B0503020204020204" pitchFamily="34" charset="-122"/>
                <a:cs typeface="Arial" pitchFamily="34" charset="0"/>
              </a:rPr>
              <a:t>突变分层</a:t>
            </a:r>
            <a:br>
              <a:rPr kumimoji="0" lang="en-US" altLang="zh-CN" sz="1400" b="1" i="0" u="none" strike="noStrike" kern="1200" cap="none" spc="0" normalizeH="0" baseline="0" noProof="0" dirty="0">
                <a:ln>
                  <a:noFill/>
                </a:ln>
                <a:solidFill>
                  <a:srgbClr val="1CBECA">
                    <a:lumMod val="50000"/>
                  </a:srgbClr>
                </a:solidFill>
                <a:effectLst/>
                <a:uLnTx/>
                <a:uFillTx/>
                <a:latin typeface="Arial"/>
                <a:ea typeface="微软雅黑" panose="020B0503020204020204" pitchFamily="34" charset="-122"/>
                <a:cs typeface="Arial" pitchFamily="34" charset="0"/>
              </a:rPr>
            </a:br>
            <a:r>
              <a:rPr kumimoji="0" lang="en-US" altLang="zh-CN" sz="1400" b="1" i="0" u="none" strike="noStrike" kern="1200" cap="none" spc="0" normalizeH="0" baseline="0" noProof="0" dirty="0">
                <a:ln>
                  <a:noFill/>
                </a:ln>
                <a:solidFill>
                  <a:srgbClr val="1CBECA">
                    <a:lumMod val="50000"/>
                  </a:srgbClr>
                </a:solidFill>
                <a:effectLst/>
                <a:uLnTx/>
                <a:uFillTx/>
                <a:latin typeface="Arial"/>
                <a:ea typeface="微软雅黑" panose="020B0503020204020204" pitchFamily="34" charset="-122"/>
                <a:cs typeface="Arial" pitchFamily="34" charset="0"/>
              </a:rPr>
              <a:t>           (</a:t>
            </a:r>
            <a:r>
              <a:rPr kumimoji="0" lang="en-GB" altLang="zh-TW" sz="1400" b="1" i="0" u="none" strike="noStrike" kern="1200" cap="none" spc="0" normalizeH="0" baseline="0" noProof="0" dirty="0">
                <a:ln>
                  <a:noFill/>
                </a:ln>
                <a:solidFill>
                  <a:srgbClr val="1CBECA">
                    <a:lumMod val="50000"/>
                  </a:srgbClr>
                </a:solidFill>
                <a:effectLst/>
                <a:uLnTx/>
                <a:uFillTx/>
                <a:latin typeface="Arial"/>
                <a:ea typeface="微软雅黑" panose="020B0503020204020204" pitchFamily="34" charset="-122"/>
                <a:cs typeface="Arial" pitchFamily="34" charset="0"/>
              </a:rPr>
              <a:t>Del19/L858R/</a:t>
            </a:r>
            <a:r>
              <a:rPr kumimoji="0" lang="zh-CN" altLang="en-US" sz="1400" b="1" i="0" u="none" strike="noStrike" kern="1200" cap="none" spc="0" normalizeH="0" baseline="0" noProof="0" dirty="0">
                <a:ln>
                  <a:noFill/>
                </a:ln>
                <a:solidFill>
                  <a:srgbClr val="1CBECA">
                    <a:lumMod val="50000"/>
                  </a:srgbClr>
                </a:solidFill>
                <a:effectLst/>
                <a:uLnTx/>
                <a:uFillTx/>
                <a:latin typeface="Arial"/>
                <a:ea typeface="微软雅黑" panose="020B0503020204020204" pitchFamily="34" charset="-122"/>
                <a:cs typeface="Arial" pitchFamily="34" charset="0"/>
              </a:rPr>
              <a:t>其它</a:t>
            </a:r>
            <a:r>
              <a:rPr kumimoji="0" lang="en-US" altLang="zh-CN" sz="1400" b="1" i="0" u="none" strike="noStrike" kern="1200" cap="none" spc="0" normalizeH="0" baseline="0" noProof="0" dirty="0">
                <a:ln>
                  <a:noFill/>
                </a:ln>
                <a:solidFill>
                  <a:srgbClr val="1CBECA">
                    <a:lumMod val="50000"/>
                  </a:srgbClr>
                </a:solidFill>
                <a:effectLst/>
                <a:uLnTx/>
                <a:uFillTx/>
                <a:latin typeface="Arial"/>
                <a:ea typeface="微软雅黑" panose="020B0503020204020204" pitchFamily="34" charset="-122"/>
                <a:cs typeface="Arial" pitchFamily="34" charset="0"/>
              </a:rPr>
              <a:t>)</a:t>
            </a:r>
            <a:endParaRPr kumimoji="0" lang="en-GB" altLang="zh-TW" sz="1400" b="1" i="0" u="none" strike="noStrike" kern="1200" cap="none" spc="0" normalizeH="0" baseline="0" noProof="0" dirty="0">
              <a:ln>
                <a:noFill/>
              </a:ln>
              <a:solidFill>
                <a:srgbClr val="1CBECA">
                  <a:lumMod val="50000"/>
                </a:srgbClr>
              </a:solidFill>
              <a:effectLst/>
              <a:uLnTx/>
              <a:uFillTx/>
              <a:latin typeface="Arial"/>
              <a:ea typeface="微软雅黑" panose="020B0503020204020204" pitchFamily="34" charset="-122"/>
              <a:cs typeface="Arial" pitchFamily="34" charset="0"/>
            </a:endParaRPr>
          </a:p>
        </p:txBody>
      </p:sp>
      <p:sp>
        <p:nvSpPr>
          <p:cNvPr id="32" name="AutoShape 17"/>
          <p:cNvSpPr>
            <a:spLocks noChangeArrowheads="1"/>
          </p:cNvSpPr>
          <p:nvPr/>
        </p:nvSpPr>
        <p:spPr bwMode="blackWhite">
          <a:xfrm>
            <a:off x="178150" y="2553094"/>
            <a:ext cx="1335827" cy="3092862"/>
          </a:xfrm>
          <a:prstGeom prst="roundRect">
            <a:avLst>
              <a:gd name="adj" fmla="val 11509"/>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1002">
            <a:schemeClr val="lt1"/>
          </a:fillRef>
          <a:effectRef idx="2">
            <a:schemeClr val="accent1"/>
          </a:effectRef>
          <a:fontRef idx="minor">
            <a:schemeClr val="lt1"/>
          </a:fontRef>
        </p:style>
        <p:txBody>
          <a:bodyPr anchor="ctr"/>
          <a:lstStyle/>
          <a:p>
            <a:pPr marL="0" marR="0" lvl="0" indent="0" algn="ctr" defTabSz="914400" rtl="0" eaLnBrk="1" fontAlgn="base" latinLnBrk="0" hangingPunct="1">
              <a:lnSpc>
                <a:spcPct val="150000"/>
              </a:lnSpc>
              <a:spcBef>
                <a:spcPct val="0"/>
              </a:spcBef>
              <a:spcAft>
                <a:spcPct val="0"/>
              </a:spcAft>
              <a:buClrTx/>
              <a:buSzTx/>
              <a:buFontTx/>
              <a:buNone/>
              <a:tabLst/>
              <a:defRPr/>
            </a:pPr>
            <a:r>
              <a:rPr kumimoji="0" lang="en-GB" altLang="zh-TW" sz="1400" b="1" i="0" u="none" strike="noStrike" kern="1200" cap="none" spc="0" normalizeH="0" baseline="0" noProof="0" dirty="0">
                <a:ln>
                  <a:noFill/>
                </a:ln>
                <a:solidFill>
                  <a:prstClr val="black"/>
                </a:solidFill>
                <a:effectLst/>
                <a:uLnTx/>
                <a:uFillTx/>
                <a:latin typeface="Arial"/>
                <a:ea typeface="微软雅黑" panose="020B0503020204020204" pitchFamily="34" charset="-122"/>
                <a:cs typeface="Arial" pitchFamily="34" charset="0"/>
              </a:rPr>
              <a:t>IIIB</a:t>
            </a:r>
            <a:r>
              <a:rPr kumimoji="0" lang="zh-CN" altLang="en-US" sz="1400" b="1" i="0" u="none" strike="noStrike" kern="1200" cap="none" spc="0" normalizeH="0" baseline="0" noProof="0" dirty="0">
                <a:ln>
                  <a:noFill/>
                </a:ln>
                <a:solidFill>
                  <a:prstClr val="black"/>
                </a:solidFill>
                <a:effectLst/>
                <a:uLnTx/>
                <a:uFillTx/>
                <a:latin typeface="Arial"/>
                <a:ea typeface="微软雅黑" panose="020B0503020204020204" pitchFamily="34" charset="-122"/>
                <a:cs typeface="Arial" pitchFamily="34" charset="0"/>
              </a:rPr>
              <a:t>期</a:t>
            </a:r>
            <a:r>
              <a:rPr kumimoji="0" lang="en-US" altLang="zh-CN" sz="1400" b="1" i="0" u="none" strike="noStrike" kern="1200" cap="none" spc="0" normalizeH="0" baseline="0" noProof="0" dirty="0">
                <a:ln>
                  <a:noFill/>
                </a:ln>
                <a:solidFill>
                  <a:prstClr val="black"/>
                </a:solidFill>
                <a:effectLst/>
                <a:uLnTx/>
                <a:uFillTx/>
                <a:latin typeface="Arial"/>
                <a:ea typeface="微软雅黑" panose="020B0503020204020204" pitchFamily="34" charset="-122"/>
                <a:cs typeface="Arial" pitchFamily="34" charset="0"/>
              </a:rPr>
              <a:t>(</a:t>
            </a:r>
            <a:r>
              <a:rPr kumimoji="0" lang="zh-CN" altLang="en-US" sz="1400" b="1" i="0" u="none" strike="noStrike" kern="1200" cap="none" spc="0" normalizeH="0" baseline="0" noProof="0" dirty="0">
                <a:ln>
                  <a:noFill/>
                </a:ln>
                <a:solidFill>
                  <a:prstClr val="black"/>
                </a:solidFill>
                <a:effectLst/>
                <a:uLnTx/>
                <a:uFillTx/>
                <a:latin typeface="Arial"/>
                <a:ea typeface="微软雅黑" panose="020B0503020204020204" pitchFamily="34" charset="-122"/>
                <a:cs typeface="Arial" pitchFamily="34" charset="0"/>
              </a:rPr>
              <a:t>胸腔积液</a:t>
            </a:r>
            <a:r>
              <a:rPr kumimoji="0" lang="en-US" altLang="zh-CN" sz="1400" b="1" i="0" u="none" strike="noStrike" kern="1200" cap="none" spc="0" normalizeH="0" baseline="0" noProof="0" dirty="0">
                <a:ln>
                  <a:noFill/>
                </a:ln>
                <a:solidFill>
                  <a:prstClr val="black"/>
                </a:solidFill>
                <a:effectLst/>
                <a:uLnTx/>
                <a:uFillTx/>
                <a:latin typeface="Arial"/>
                <a:ea typeface="微软雅黑" panose="020B0503020204020204" pitchFamily="34" charset="-122"/>
                <a:cs typeface="Arial" pitchFamily="34" charset="0"/>
              </a:rPr>
              <a:t>)/</a:t>
            </a:r>
            <a:r>
              <a:rPr kumimoji="0" lang="en-GB" altLang="zh-TW" sz="1400" b="1" i="0" u="none" strike="noStrike" kern="1200" cap="none" spc="0" normalizeH="0" baseline="0" noProof="0" dirty="0">
                <a:ln>
                  <a:noFill/>
                </a:ln>
                <a:solidFill>
                  <a:prstClr val="black"/>
                </a:solidFill>
                <a:effectLst/>
                <a:uLnTx/>
                <a:uFillTx/>
                <a:latin typeface="Arial"/>
                <a:ea typeface="微软雅黑" panose="020B0503020204020204" pitchFamily="34" charset="-122"/>
                <a:cs typeface="Arial" pitchFamily="34" charset="0"/>
              </a:rPr>
              <a:t>IV</a:t>
            </a:r>
            <a:r>
              <a:rPr kumimoji="0" lang="zh-CN" altLang="en-US" sz="1400" b="1" i="0" u="none" strike="noStrike" kern="1200" cap="none" spc="0" normalizeH="0" baseline="0" noProof="0" dirty="0">
                <a:ln>
                  <a:noFill/>
                </a:ln>
                <a:solidFill>
                  <a:prstClr val="black"/>
                </a:solidFill>
                <a:effectLst/>
                <a:uLnTx/>
                <a:uFillTx/>
                <a:latin typeface="Arial"/>
                <a:ea typeface="微软雅黑" panose="020B0503020204020204" pitchFamily="34" charset="-122"/>
                <a:cs typeface="Arial" pitchFamily="34" charset="0"/>
              </a:rPr>
              <a:t>期</a:t>
            </a:r>
            <a:br>
              <a:rPr kumimoji="0" lang="en-US" altLang="zh-CN" sz="1400" b="1" i="0" u="none" strike="noStrike" kern="1200" cap="none" spc="0" normalizeH="0" baseline="0" noProof="0" dirty="0">
                <a:ln>
                  <a:noFill/>
                </a:ln>
                <a:solidFill>
                  <a:prstClr val="black"/>
                </a:solidFill>
                <a:effectLst/>
                <a:uLnTx/>
                <a:uFillTx/>
                <a:latin typeface="Arial"/>
                <a:ea typeface="微软雅黑" panose="020B0503020204020204" pitchFamily="34" charset="-122"/>
                <a:cs typeface="Arial" pitchFamily="34" charset="0"/>
              </a:rPr>
            </a:br>
            <a:r>
              <a:rPr kumimoji="0" lang="zh-CN" altLang="en-US" sz="1400" b="1" i="0" u="none" strike="noStrike" kern="1200" cap="none" spc="0" normalizeH="0" baseline="0" noProof="0" dirty="0">
                <a:ln>
                  <a:noFill/>
                </a:ln>
                <a:solidFill>
                  <a:prstClr val="black"/>
                </a:solidFill>
                <a:effectLst/>
                <a:uLnTx/>
                <a:uFillTx/>
                <a:latin typeface="Arial"/>
                <a:ea typeface="微软雅黑" panose="020B0503020204020204" pitchFamily="34" charset="-122"/>
                <a:cs typeface="Arial" pitchFamily="34" charset="0"/>
              </a:rPr>
              <a:t>肺腺癌</a:t>
            </a:r>
            <a:endParaRPr kumimoji="0" lang="en-GB" altLang="zh-TW" sz="1400" b="1" i="0" u="none" strike="noStrike" kern="1200" cap="none" spc="0" normalizeH="0" baseline="0" noProof="0" dirty="0">
              <a:ln>
                <a:noFill/>
              </a:ln>
              <a:solidFill>
                <a:prstClr val="black"/>
              </a:solidFill>
              <a:effectLst/>
              <a:uLnTx/>
              <a:uFillTx/>
              <a:latin typeface="Arial"/>
              <a:ea typeface="微软雅黑" panose="020B0503020204020204" pitchFamily="34" charset="-122"/>
              <a:cs typeface="Arial" pitchFamily="34" charset="0"/>
            </a:endParaRPr>
          </a:p>
          <a:p>
            <a:pPr marL="0" marR="0" lvl="0" indent="0" algn="ctr" defTabSz="914400" rtl="0" eaLnBrk="1" fontAlgn="base" latinLnBrk="0" hangingPunct="1">
              <a:lnSpc>
                <a:spcPct val="150000"/>
              </a:lnSpc>
              <a:spcBef>
                <a:spcPct val="0"/>
              </a:spcBef>
              <a:spcAft>
                <a:spcPct val="0"/>
              </a:spcAft>
              <a:buClrTx/>
              <a:buSzTx/>
              <a:buFontTx/>
              <a:buNone/>
              <a:tabLst/>
              <a:defRPr/>
            </a:pPr>
            <a:r>
              <a:rPr kumimoji="0" lang="zh-CN" altLang="en-US" sz="1400" b="1" i="0" u="none" strike="noStrike" kern="1200" cap="none" spc="0" normalizeH="0" baseline="0" noProof="0" dirty="0">
                <a:ln>
                  <a:noFill/>
                </a:ln>
                <a:solidFill>
                  <a:prstClr val="black"/>
                </a:solidFill>
                <a:effectLst/>
                <a:uLnTx/>
                <a:uFillTx/>
                <a:latin typeface="Arial"/>
                <a:ea typeface="微软雅黑" panose="020B0503020204020204" pitchFamily="34" charset="-122"/>
                <a:cs typeface="Arial" pitchFamily="34" charset="0"/>
              </a:rPr>
              <a:t>肿瘤携带</a:t>
            </a:r>
            <a:r>
              <a:rPr kumimoji="0" lang="en-US" altLang="zh-CN" sz="1400" b="1" i="0" u="none" strike="noStrike" kern="1200" cap="none" spc="0" normalizeH="0" baseline="0" noProof="0" dirty="0">
                <a:ln>
                  <a:noFill/>
                </a:ln>
                <a:solidFill>
                  <a:prstClr val="black"/>
                </a:solidFill>
                <a:effectLst/>
                <a:uLnTx/>
                <a:uFillTx/>
                <a:latin typeface="Arial"/>
                <a:ea typeface="微软雅黑" panose="020B0503020204020204" pitchFamily="34" charset="-122"/>
                <a:cs typeface="Arial" pitchFamily="34" charset="0"/>
              </a:rPr>
              <a:t>EGFR</a:t>
            </a:r>
            <a:r>
              <a:rPr kumimoji="0" lang="zh-CN" altLang="en-US" sz="1400" b="1" i="0" u="none" strike="noStrike" kern="1200" cap="none" spc="0" normalizeH="0" baseline="0" noProof="0" dirty="0">
                <a:ln>
                  <a:noFill/>
                </a:ln>
                <a:solidFill>
                  <a:prstClr val="black"/>
                </a:solidFill>
                <a:effectLst/>
                <a:uLnTx/>
                <a:uFillTx/>
                <a:latin typeface="Arial"/>
                <a:ea typeface="微软雅黑" panose="020B0503020204020204" pitchFamily="34" charset="-122"/>
                <a:cs typeface="Arial" pitchFamily="34" charset="0"/>
              </a:rPr>
              <a:t>突变</a:t>
            </a:r>
            <a:endParaRPr kumimoji="0" lang="en-GB" altLang="zh-TW" sz="1400" b="1" i="0" u="none" strike="noStrike" kern="1200" cap="none" spc="0" normalizeH="0" baseline="0" noProof="0" dirty="0">
              <a:ln>
                <a:noFill/>
              </a:ln>
              <a:solidFill>
                <a:prstClr val="black"/>
              </a:solidFill>
              <a:effectLst/>
              <a:uLnTx/>
              <a:uFillTx/>
              <a:latin typeface="Arial"/>
              <a:ea typeface="微软雅黑" panose="020B0503020204020204" pitchFamily="34" charset="-122"/>
              <a:cs typeface="Arial" pitchFamily="34" charset="0"/>
            </a:endParaRPr>
          </a:p>
        </p:txBody>
      </p:sp>
      <p:sp>
        <p:nvSpPr>
          <p:cNvPr id="33" name="AutoShape 20"/>
          <p:cNvSpPr>
            <a:spLocks noChangeArrowheads="1"/>
          </p:cNvSpPr>
          <p:nvPr/>
        </p:nvSpPr>
        <p:spPr bwMode="blackWhite">
          <a:xfrm>
            <a:off x="6036076" y="2613775"/>
            <a:ext cx="1080000" cy="3042145"/>
          </a:xfrm>
          <a:prstGeom prst="roundRect">
            <a:avLst>
              <a:gd name="adj" fmla="val 16667"/>
            </a:avLst>
          </a:prstGeom>
          <a:solidFill>
            <a:schemeClr val="accent1">
              <a:lumMod val="20000"/>
              <a:lumOff val="8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400" b="1" i="0" u="sng" strike="noStrike" kern="1200" cap="none" spc="0" normalizeH="0" baseline="0" noProof="0" dirty="0">
                <a:ln>
                  <a:noFill/>
                </a:ln>
                <a:solidFill>
                  <a:srgbClr val="1CBECA">
                    <a:lumMod val="50000"/>
                  </a:srgbClr>
                </a:solidFill>
                <a:effectLst/>
                <a:uLnTx/>
                <a:uFillTx/>
                <a:latin typeface="Arial"/>
                <a:ea typeface="微软雅黑" panose="020B0503020204020204" pitchFamily="34" charset="-122"/>
                <a:cs typeface="Arial" pitchFamily="34" charset="0"/>
              </a:rPr>
              <a:t>主要终点</a:t>
            </a:r>
            <a:br>
              <a:rPr kumimoji="0" lang="en-GB" altLang="zh-CN" sz="1400" b="1" i="0" u="sng" strike="noStrike" kern="1200" cap="none" spc="0" normalizeH="0" baseline="0" noProof="0" dirty="0">
                <a:ln>
                  <a:noFill/>
                </a:ln>
                <a:solidFill>
                  <a:srgbClr val="1CBECA">
                    <a:lumMod val="50000"/>
                  </a:srgbClr>
                </a:solidFill>
                <a:effectLst/>
                <a:uLnTx/>
                <a:uFillTx/>
                <a:latin typeface="Arial"/>
                <a:ea typeface="微软雅黑" panose="020B0503020204020204" pitchFamily="34" charset="-122"/>
                <a:cs typeface="Arial" pitchFamily="34" charset="0"/>
              </a:rPr>
            </a:br>
            <a:endParaRPr kumimoji="0" lang="en-GB" altLang="zh-CN" sz="1400" b="1" i="0" u="sng" strike="noStrike" kern="1200" cap="none" spc="0" normalizeH="0" baseline="0" noProof="0" dirty="0">
              <a:ln>
                <a:noFill/>
              </a:ln>
              <a:solidFill>
                <a:srgbClr val="1CBECA">
                  <a:lumMod val="50000"/>
                </a:srgbClr>
              </a:solidFill>
              <a:effectLst/>
              <a:uLnTx/>
              <a:uFillTx/>
              <a:latin typeface="Arial"/>
              <a:ea typeface="微软雅黑" panose="020B0503020204020204" pitchFamily="34" charset="-122"/>
              <a:cs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400" b="1" i="0" u="none" strike="noStrike" kern="1200" cap="none" spc="0" normalizeH="0" baseline="0" noProof="0" dirty="0">
                <a:ln>
                  <a:noFill/>
                </a:ln>
                <a:solidFill>
                  <a:srgbClr val="1CBECA">
                    <a:lumMod val="50000"/>
                  </a:srgbClr>
                </a:solidFill>
                <a:effectLst/>
                <a:uLnTx/>
                <a:uFillTx/>
                <a:latin typeface="Arial"/>
                <a:ea typeface="微软雅黑" panose="020B0503020204020204" pitchFamily="34" charset="-122"/>
                <a:cs typeface="Arial" pitchFamily="34" charset="0"/>
              </a:rPr>
              <a:t>PF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400" b="0" i="0" u="none" strike="noStrike" kern="1200" cap="none" spc="0" normalizeH="0" baseline="0" noProof="0" dirty="0">
                <a:ln>
                  <a:noFill/>
                </a:ln>
                <a:solidFill>
                  <a:srgbClr val="1CBECA">
                    <a:lumMod val="50000"/>
                  </a:srgbClr>
                </a:solidFill>
                <a:effectLst/>
                <a:uLnTx/>
                <a:uFillTx/>
                <a:latin typeface="Arial"/>
                <a:ea typeface="微软雅黑" panose="020B0503020204020204" pitchFamily="34" charset="-122"/>
                <a:cs typeface="Arial" pitchFamily="34" charset="0"/>
              </a:rPr>
              <a:t> (RECIST 1.1,</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1400" b="0" i="0" u="none" strike="noStrike" kern="1200" cap="none" spc="0" normalizeH="0" baseline="0" noProof="0" dirty="0">
                <a:ln>
                  <a:noFill/>
                </a:ln>
                <a:solidFill>
                  <a:srgbClr val="1CBECA">
                    <a:lumMod val="50000"/>
                  </a:srgbClr>
                </a:solidFill>
                <a:effectLst/>
                <a:uLnTx/>
                <a:uFillTx/>
                <a:latin typeface="Arial"/>
                <a:ea typeface="微软雅黑" panose="020B0503020204020204" pitchFamily="34" charset="-122"/>
                <a:cs typeface="Arial" pitchFamily="34" charset="0"/>
              </a:rPr>
              <a:t> </a:t>
            </a:r>
            <a:r>
              <a:rPr kumimoji="0" lang="zh-CN" altLang="en-US" sz="1400" b="0" i="0" u="none" strike="noStrike" kern="1200" cap="none" spc="0" normalizeH="0" baseline="0" noProof="0" dirty="0">
                <a:ln>
                  <a:noFill/>
                </a:ln>
                <a:solidFill>
                  <a:srgbClr val="1CBECA">
                    <a:lumMod val="50000"/>
                  </a:srgbClr>
                </a:solidFill>
                <a:effectLst/>
                <a:uLnTx/>
                <a:uFillTx/>
                <a:latin typeface="Arial"/>
                <a:ea typeface="微软雅黑" panose="020B0503020204020204" pitchFamily="34" charset="-122"/>
                <a:cs typeface="Arial" pitchFamily="34" charset="0"/>
              </a:rPr>
              <a:t>独立评审</a:t>
            </a:r>
            <a:r>
              <a:rPr kumimoji="0" lang="en-US" altLang="zh-CN" sz="1400" b="0" i="0" u="none" strike="noStrike" kern="1200" cap="none" spc="0" normalizeH="0" baseline="0" noProof="0" dirty="0">
                <a:ln>
                  <a:noFill/>
                </a:ln>
                <a:solidFill>
                  <a:srgbClr val="1CBECA">
                    <a:lumMod val="50000"/>
                  </a:srgbClr>
                </a:solidFill>
                <a:effectLst/>
                <a:uLnTx/>
                <a:uFillTx/>
                <a:latin typeface="Arial"/>
                <a:ea typeface="微软雅黑" panose="020B0503020204020204" pitchFamily="34" charset="-122"/>
                <a:cs typeface="Arial" pitchFamily="34" charset="0"/>
              </a:rPr>
              <a:t>)</a:t>
            </a:r>
          </a:p>
          <a:p>
            <a:pPr marL="0" marR="0" lvl="0" indent="0" algn="ctr" defTabSz="914400" rtl="0" eaLnBrk="1" fontAlgn="base" latinLnBrk="0" hangingPunct="1">
              <a:lnSpc>
                <a:spcPct val="90000"/>
              </a:lnSpc>
              <a:spcBef>
                <a:spcPct val="0"/>
              </a:spcBef>
              <a:spcAft>
                <a:spcPct val="0"/>
              </a:spcAft>
              <a:buClrTx/>
              <a:buSzTx/>
              <a:buFontTx/>
              <a:buNone/>
              <a:tabLst/>
              <a:defRPr/>
            </a:pPr>
            <a:endParaRPr kumimoji="0" lang="en-US" altLang="zh-CN" sz="1400" b="1" i="0" u="none" strike="noStrike" kern="1200" cap="none" spc="0" normalizeH="0" baseline="0" noProof="0" dirty="0">
              <a:ln>
                <a:noFill/>
              </a:ln>
              <a:solidFill>
                <a:srgbClr val="1CBECA">
                  <a:lumMod val="50000"/>
                </a:srgbClr>
              </a:solidFill>
              <a:effectLst/>
              <a:uLnTx/>
              <a:uFillTx/>
              <a:latin typeface="Arial"/>
              <a:ea typeface="微软雅黑" panose="020B0503020204020204" pitchFamily="34" charset="-122"/>
              <a:cs typeface="Arial" pitchFamily="34" charset="0"/>
            </a:endParaRPr>
          </a:p>
        </p:txBody>
      </p:sp>
      <p:sp>
        <p:nvSpPr>
          <p:cNvPr id="34" name="AutoShape 7"/>
          <p:cNvSpPr>
            <a:spLocks noChangeArrowheads="1"/>
          </p:cNvSpPr>
          <p:nvPr/>
        </p:nvSpPr>
        <p:spPr bwMode="auto">
          <a:xfrm>
            <a:off x="1999040" y="2554760"/>
            <a:ext cx="1059037" cy="1426604"/>
          </a:xfrm>
          <a:prstGeom prst="roundRect">
            <a:avLst>
              <a:gd name="adj" fmla="val 16667"/>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lnRef>
          <a:fillRef idx="1">
            <a:schemeClr val="lt1"/>
          </a:fillRef>
          <a:effectRef idx="0">
            <a:schemeClr val="accent1"/>
          </a:effectRef>
          <a:fontRef idx="minor">
            <a:schemeClr val="dk1"/>
          </a:fontRef>
        </p:style>
        <p:txBody>
          <a:bodyPr lIns="18288" tIns="18288" rIns="18288" bIns="18288"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zh-TW" sz="1200" b="1" i="0" u="none" strike="noStrike" kern="1200" cap="none" spc="0" normalizeH="0" baseline="0" noProof="0" dirty="0">
                <a:ln>
                  <a:noFill/>
                </a:ln>
                <a:solidFill>
                  <a:prstClr val="black"/>
                </a:solidFill>
                <a:effectLst/>
                <a:uLnTx/>
                <a:uFillTx/>
                <a:latin typeface="Arial"/>
                <a:ea typeface="微软雅黑" panose="020B0503020204020204" pitchFamily="34" charset="-122"/>
                <a:cs typeface="+mn-cs"/>
              </a:rPr>
              <a:t>LUX-Lung 3</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zh-TW" sz="1200" b="1" i="0" u="none" strike="noStrike" kern="1200" cap="none" spc="0" normalizeH="0" baseline="0" noProof="0" dirty="0">
                <a:ln>
                  <a:noFill/>
                </a:ln>
                <a:solidFill>
                  <a:prstClr val="black"/>
                </a:solidFill>
                <a:effectLst/>
                <a:uLnTx/>
                <a:uFillTx/>
                <a:latin typeface="Arial"/>
                <a:ea typeface="微软雅黑" panose="020B0503020204020204" pitchFamily="34" charset="-122"/>
                <a:cs typeface="+mn-cs"/>
              </a:rPr>
              <a:t>(</a:t>
            </a:r>
            <a:r>
              <a:rPr kumimoji="0" lang="en-GB" altLang="zh-TW" sz="1200" b="1" i="0" u="none" strike="noStrike" kern="1200" cap="none" spc="0" normalizeH="0" baseline="0" noProof="0" dirty="0">
                <a:ln>
                  <a:noFill/>
                </a:ln>
                <a:solidFill>
                  <a:prstClr val="black"/>
                </a:solidFill>
                <a:effectLst/>
                <a:uLnTx/>
                <a:uFillTx/>
                <a:latin typeface="Arial"/>
                <a:ea typeface="微软雅黑" panose="020B0503020204020204" pitchFamily="34" charset="-122"/>
                <a:cs typeface="+mn-cs"/>
              </a:rPr>
              <a:t>n=345</a:t>
            </a:r>
            <a:r>
              <a:rPr kumimoji="0" lang="en-US" altLang="zh-TW" sz="1200" b="1" i="0" u="none" strike="noStrike" kern="1200" cap="none" spc="0" normalizeH="0" baseline="0" noProof="0" dirty="0">
                <a:ln>
                  <a:noFill/>
                </a:ln>
                <a:solidFill>
                  <a:prstClr val="black"/>
                </a:solidFill>
                <a:effectLst/>
                <a:uLnTx/>
                <a:uFillTx/>
                <a:latin typeface="Arial"/>
                <a:ea typeface="微软雅黑" panose="020B0503020204020204" pitchFamily="34" charset="-122"/>
                <a:cs typeface="+mn-cs"/>
              </a:rPr>
              <a:t>)</a:t>
            </a:r>
            <a:endParaRPr kumimoji="0" lang="en-GB" altLang="zh-TW" sz="1200" b="1" i="0" u="none" strike="noStrike" kern="1200" cap="none" spc="0" normalizeH="0" baseline="0" noProof="0" dirty="0">
              <a:ln>
                <a:noFill/>
              </a:ln>
              <a:solidFill>
                <a:prstClr val="black"/>
              </a:solidFill>
              <a:effectLst/>
              <a:uLnTx/>
              <a:uFillTx/>
              <a:latin typeface="Arial"/>
              <a:ea typeface="微软雅黑" panose="020B0503020204020204" pitchFamily="34" charset="-122"/>
              <a:cs typeface="+mn-cs"/>
            </a:endParaRPr>
          </a:p>
        </p:txBody>
      </p:sp>
      <p:sp>
        <p:nvSpPr>
          <p:cNvPr id="39" name="AutoShape 7"/>
          <p:cNvSpPr>
            <a:spLocks noChangeArrowheads="1"/>
          </p:cNvSpPr>
          <p:nvPr/>
        </p:nvSpPr>
        <p:spPr bwMode="auto">
          <a:xfrm>
            <a:off x="2007589" y="4122300"/>
            <a:ext cx="1041937" cy="1523656"/>
          </a:xfrm>
          <a:prstGeom prst="roundRect">
            <a:avLst>
              <a:gd name="adj" fmla="val 16667"/>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6"/>
          </a:lnRef>
          <a:fillRef idx="1">
            <a:schemeClr val="lt1"/>
          </a:fillRef>
          <a:effectRef idx="0">
            <a:schemeClr val="accent6"/>
          </a:effectRef>
          <a:fontRef idx="minor">
            <a:schemeClr val="dk1"/>
          </a:fontRef>
        </p:style>
        <p:txBody>
          <a:bodyPr lIns="18288" tIns="18288" rIns="18288" bIns="18288"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zh-TW" sz="1200" b="1" i="0" u="none" strike="noStrike" kern="1200" cap="none" spc="0" normalizeH="0" baseline="0" noProof="0" dirty="0">
                <a:ln>
                  <a:noFill/>
                </a:ln>
                <a:solidFill>
                  <a:prstClr val="black"/>
                </a:solidFill>
                <a:effectLst/>
                <a:uLnTx/>
                <a:uFillTx/>
                <a:latin typeface="Arial"/>
                <a:ea typeface="微软雅黑" panose="020B0503020204020204" pitchFamily="34" charset="-122"/>
                <a:cs typeface="+mn-cs"/>
              </a:rPr>
              <a:t>LUX-Lung 6</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zh-CN" sz="1200" b="1" i="0" u="none" strike="noStrike" kern="1200" cap="none" spc="0" normalizeH="0" baseline="0" noProof="0" dirty="0">
                <a:ln>
                  <a:noFill/>
                </a:ln>
                <a:solidFill>
                  <a:prstClr val="black"/>
                </a:solidFill>
                <a:effectLst/>
                <a:uLnTx/>
                <a:uFillTx/>
                <a:latin typeface="Arial"/>
                <a:ea typeface="微软雅黑" panose="020B0503020204020204" pitchFamily="34" charset="-122"/>
                <a:cs typeface="+mn-cs"/>
              </a:rPr>
              <a:t>(n=364; </a:t>
            </a:r>
            <a:r>
              <a:rPr kumimoji="0" lang="zh-CN" altLang="en-US" sz="1200" b="1" i="0" u="none" strike="noStrike" kern="1200" cap="none" spc="0" normalizeH="0" baseline="0" noProof="0" dirty="0">
                <a:ln>
                  <a:noFill/>
                </a:ln>
                <a:solidFill>
                  <a:srgbClr val="0CA8B0"/>
                </a:solidFill>
                <a:effectLst/>
                <a:uLnTx/>
                <a:uFillTx/>
                <a:latin typeface="Arial"/>
                <a:ea typeface="微软雅黑" panose="020B0503020204020204" pitchFamily="34" charset="-122"/>
                <a:cs typeface="+mn-cs"/>
              </a:rPr>
              <a:t>亚裔患者</a:t>
            </a:r>
            <a:r>
              <a:rPr kumimoji="0" lang="en-US" altLang="zh-CN" sz="1200" b="1" i="0" u="none" strike="noStrike" kern="1200" cap="none" spc="0" normalizeH="0" baseline="0" noProof="0" dirty="0">
                <a:ln>
                  <a:noFill/>
                </a:ln>
                <a:solidFill>
                  <a:prstClr val="black"/>
                </a:solidFill>
                <a:effectLst/>
                <a:uLnTx/>
                <a:uFillTx/>
                <a:latin typeface="Arial"/>
                <a:ea typeface="微软雅黑" panose="020B0503020204020204" pitchFamily="34" charset="-122"/>
                <a:cs typeface="+mn-cs"/>
              </a:rPr>
              <a:t>)</a:t>
            </a:r>
            <a:r>
              <a:rPr kumimoji="0" lang="zh-CN" altLang="en-US" sz="1200" b="1" i="0" u="none" strike="noStrike" kern="1200" cap="none" spc="0" normalizeH="0" baseline="0" noProof="0" dirty="0">
                <a:ln>
                  <a:noFill/>
                </a:ln>
                <a:solidFill>
                  <a:prstClr val="black"/>
                </a:solidFill>
                <a:effectLst/>
                <a:uLnTx/>
                <a:uFillTx/>
                <a:latin typeface="Arial"/>
                <a:ea typeface="微软雅黑" panose="020B0503020204020204" pitchFamily="34" charset="-122"/>
                <a:cs typeface="+mn-cs"/>
              </a:rPr>
              <a:t> </a:t>
            </a:r>
            <a:r>
              <a:rPr kumimoji="0" lang="en-GB" altLang="zh-TW" sz="1200" b="1" i="0" u="none" strike="noStrike" kern="1200" cap="none" spc="0" normalizeH="0" baseline="0" noProof="0" dirty="0">
                <a:ln>
                  <a:noFill/>
                </a:ln>
                <a:solidFill>
                  <a:prstClr val="black"/>
                </a:solidFill>
                <a:effectLst/>
                <a:uLnTx/>
                <a:uFillTx/>
                <a:latin typeface="Arial"/>
                <a:ea typeface="微软雅黑" panose="020B0503020204020204" pitchFamily="34" charset="-122"/>
                <a:cs typeface="+mn-cs"/>
              </a:rPr>
              <a:t> </a:t>
            </a:r>
          </a:p>
        </p:txBody>
      </p:sp>
      <p:sp>
        <p:nvSpPr>
          <p:cNvPr id="40" name="AutoShape 7"/>
          <p:cNvSpPr>
            <a:spLocks noChangeArrowheads="1"/>
          </p:cNvSpPr>
          <p:nvPr/>
        </p:nvSpPr>
        <p:spPr bwMode="auto">
          <a:xfrm>
            <a:off x="3671022" y="3538808"/>
            <a:ext cx="1800200" cy="1120878"/>
          </a:xfrm>
          <a:prstGeom prst="roundRect">
            <a:avLst>
              <a:gd name="adj" fmla="val 16667"/>
            </a:avLst>
          </a:prstGeom>
          <a:solidFill>
            <a:srgbClr val="1FBECA"/>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lnRef>
          <a:fillRef idx="1">
            <a:schemeClr val="lt1"/>
          </a:fillRef>
          <a:effectRef idx="0">
            <a:schemeClr val="accent1"/>
          </a:effectRef>
          <a:fontRef idx="minor">
            <a:schemeClr val="dk1"/>
          </a:fontRef>
        </p:style>
        <p:txBody>
          <a:bodyPr lIns="18288" tIns="18288" rIns="18288" bIns="18288"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0" fontAlgn="base" latinLnBrk="0" hangingPunct="0">
              <a:lnSpc>
                <a:spcPct val="80000"/>
              </a:lnSpc>
              <a:spcBef>
                <a:spcPct val="0"/>
              </a:spcBef>
              <a:spcAft>
                <a:spcPct val="0"/>
              </a:spcAft>
              <a:buClrTx/>
              <a:buSzTx/>
              <a:buFontTx/>
              <a:buNone/>
              <a:tabLst/>
              <a:defRPr/>
            </a:pPr>
            <a:r>
              <a:rPr kumimoji="0" lang="zh-CN" altLang="en-US" sz="1600" b="1" i="0" u="none" strike="noStrike" kern="1200" cap="none" spc="0" normalizeH="0" baseline="0" noProof="0" dirty="0">
                <a:ln>
                  <a:noFill/>
                </a:ln>
                <a:solidFill>
                  <a:prstClr val="white"/>
                </a:solidFill>
                <a:effectLst/>
                <a:uLnTx/>
                <a:uFillTx/>
                <a:latin typeface="Arial"/>
                <a:ea typeface="微软雅黑" panose="020B0503020204020204" pitchFamily="34" charset="-122"/>
                <a:cs typeface="+mn-cs"/>
              </a:rPr>
              <a:t>吉泰瑞</a:t>
            </a:r>
            <a:r>
              <a:rPr kumimoji="0" lang="en-US" altLang="zh-CN" sz="1600" b="0" i="0" u="none" strike="noStrike" kern="1200" cap="none" spc="0" normalizeH="0" baseline="30000" noProof="0" dirty="0">
                <a:ln>
                  <a:noFill/>
                </a:ln>
                <a:solidFill>
                  <a:prstClr val="white"/>
                </a:solidFill>
                <a:effectLst/>
                <a:uLnTx/>
                <a:uFillTx/>
                <a:latin typeface="Arial" pitchFamily="34" charset="0"/>
                <a:ea typeface="宋体"/>
                <a:cs typeface="Arial" panose="020B0604020202020204" pitchFamily="34" charset="0"/>
              </a:rPr>
              <a:t>®</a:t>
            </a:r>
            <a:endParaRPr kumimoji="0" lang="en-GB" altLang="zh-TW" sz="1600" b="0" i="0" u="none" strike="noStrike" kern="1200" cap="none" spc="0" normalizeH="0" baseline="30000" noProof="0" dirty="0">
              <a:ln>
                <a:noFill/>
              </a:ln>
              <a:solidFill>
                <a:prstClr val="white"/>
              </a:solidFill>
              <a:effectLst/>
              <a:uLnTx/>
              <a:uFillTx/>
              <a:latin typeface="Arial" pitchFamily="34" charset="0"/>
              <a:ea typeface="微软雅黑" panose="020B0503020204020204" pitchFamily="34" charset="-122"/>
              <a:cs typeface="Arial" panose="020B0604020202020204" pitchFamily="34" charset="0"/>
            </a:endParaRPr>
          </a:p>
          <a:p>
            <a:pPr marL="0" marR="0" lvl="0" indent="0" algn="ctr" defTabSz="914400" rtl="0" eaLnBrk="0" fontAlgn="base" latinLnBrk="0" hangingPunct="0">
              <a:lnSpc>
                <a:spcPct val="80000"/>
              </a:lnSpc>
              <a:spcBef>
                <a:spcPct val="0"/>
              </a:spcBef>
              <a:spcAft>
                <a:spcPct val="0"/>
              </a:spcAft>
              <a:buClrTx/>
              <a:buSzTx/>
              <a:buFontTx/>
              <a:buNone/>
              <a:tabLst/>
              <a:defRPr/>
            </a:pPr>
            <a:r>
              <a:rPr kumimoji="0" lang="en-GB" altLang="zh-TW" sz="1200" b="1" i="0" u="none" strike="noStrike" kern="1200" cap="none" spc="0" normalizeH="0" baseline="0" noProof="0" dirty="0">
                <a:ln>
                  <a:noFill/>
                </a:ln>
                <a:solidFill>
                  <a:prstClr val="white"/>
                </a:solidFill>
                <a:effectLst/>
                <a:uLnTx/>
                <a:uFillTx/>
                <a:latin typeface="Arial"/>
                <a:ea typeface="微软雅黑" panose="020B0503020204020204" pitchFamily="34" charset="-122"/>
                <a:cs typeface="+mn-cs"/>
              </a:rPr>
              <a:t>40 mg/d</a:t>
            </a:r>
            <a:endParaRPr kumimoji="0" lang="en-GB" altLang="zh-TW" sz="1200" b="1" i="0" u="none" strike="noStrike" kern="1200" cap="none" spc="0" normalizeH="0" baseline="30000" noProof="0" dirty="0">
              <a:ln>
                <a:noFill/>
              </a:ln>
              <a:solidFill>
                <a:prstClr val="white"/>
              </a:solidFill>
              <a:effectLst/>
              <a:uLnTx/>
              <a:uFillTx/>
              <a:latin typeface="Arial"/>
              <a:ea typeface="微软雅黑" panose="020B0503020204020204" pitchFamily="34" charset="-122"/>
              <a:cs typeface="+mn-cs"/>
            </a:endParaRPr>
          </a:p>
        </p:txBody>
      </p:sp>
      <p:sp>
        <p:nvSpPr>
          <p:cNvPr id="41" name="AutoShape 8"/>
          <p:cNvSpPr>
            <a:spLocks noChangeArrowheads="1"/>
          </p:cNvSpPr>
          <p:nvPr/>
        </p:nvSpPr>
        <p:spPr bwMode="auto">
          <a:xfrm>
            <a:off x="3635896" y="2555724"/>
            <a:ext cx="1870452" cy="824173"/>
          </a:xfrm>
          <a:prstGeom prst="roundRect">
            <a:avLst>
              <a:gd name="adj" fmla="val 16667"/>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lnRef>
          <a:fillRef idx="1">
            <a:schemeClr val="lt1"/>
          </a:fillRef>
          <a:effectRef idx="0">
            <a:schemeClr val="accent1"/>
          </a:effectRef>
          <a:fontRef idx="minor">
            <a:schemeClr val="dk1"/>
          </a:fontRef>
        </p:style>
        <p:txBody>
          <a:bodyPr lIns="18288" tIns="18288" rIns="18288" bIns="18288"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zh-CN" altLang="en-US" sz="1400" b="1" i="0" u="none" strike="noStrike" kern="1200" cap="none" spc="0" normalizeH="0" baseline="0" noProof="0" dirty="0">
                <a:ln>
                  <a:noFill/>
                </a:ln>
                <a:solidFill>
                  <a:prstClr val="black">
                    <a:lumMod val="75000"/>
                  </a:prstClr>
                </a:solidFill>
                <a:effectLst/>
                <a:uLnTx/>
                <a:uFillTx/>
                <a:latin typeface="Arial"/>
                <a:ea typeface="微软雅黑" panose="020B0503020204020204" pitchFamily="34" charset="-122"/>
                <a:cs typeface="+mn-cs"/>
              </a:rPr>
              <a:t>顺铂</a:t>
            </a:r>
            <a:r>
              <a:rPr kumimoji="0" lang="en-US" altLang="zh-CN" sz="1400" b="1" i="0" u="none" strike="noStrike" kern="1200" cap="none" spc="0" normalizeH="0" baseline="0" noProof="0" dirty="0">
                <a:ln>
                  <a:noFill/>
                </a:ln>
                <a:solidFill>
                  <a:prstClr val="black">
                    <a:lumMod val="75000"/>
                  </a:prstClr>
                </a:solidFill>
                <a:effectLst/>
                <a:uLnTx/>
                <a:uFillTx/>
                <a:latin typeface="Arial"/>
                <a:ea typeface="微软雅黑" panose="020B0503020204020204" pitchFamily="34" charset="-122"/>
                <a:cs typeface="+mn-cs"/>
              </a:rPr>
              <a:t>+</a:t>
            </a:r>
            <a:r>
              <a:rPr kumimoji="0" lang="zh-CN" altLang="en-US" sz="1400" b="1" i="0" u="none" strike="noStrike" kern="1200" cap="none" spc="0" normalizeH="0" baseline="0" noProof="0" dirty="0">
                <a:ln>
                  <a:noFill/>
                </a:ln>
                <a:solidFill>
                  <a:prstClr val="black">
                    <a:lumMod val="75000"/>
                  </a:prstClr>
                </a:solidFill>
                <a:effectLst/>
                <a:uLnTx/>
                <a:uFillTx/>
                <a:latin typeface="Arial"/>
                <a:ea typeface="微软雅黑" panose="020B0503020204020204" pitchFamily="34" charset="-122"/>
                <a:cs typeface="+mn-cs"/>
              </a:rPr>
              <a:t>培美曲塞</a:t>
            </a:r>
            <a:endParaRPr kumimoji="0" lang="en-GB" altLang="zh-TW" sz="1400" b="1" i="0" u="none" strike="noStrike" kern="1200" cap="none" spc="0" normalizeH="0" baseline="0" noProof="0" dirty="0">
              <a:ln>
                <a:noFill/>
              </a:ln>
              <a:solidFill>
                <a:prstClr val="black">
                  <a:lumMod val="75000"/>
                </a:prstClr>
              </a:solidFill>
              <a:effectLst/>
              <a:uLnTx/>
              <a:uFillTx/>
              <a:latin typeface="Arial"/>
              <a:ea typeface="微软雅黑" panose="020B0503020204020204" pitchFamily="34" charset="-122"/>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zh-TW" sz="1100" b="0" i="0" u="none" strike="noStrike" kern="1200" cap="none" spc="0" normalizeH="0" baseline="0" noProof="0" dirty="0">
                <a:ln>
                  <a:noFill/>
                </a:ln>
                <a:solidFill>
                  <a:prstClr val="black">
                    <a:lumMod val="75000"/>
                  </a:prstClr>
                </a:solidFill>
                <a:effectLst/>
                <a:uLnTx/>
                <a:uFillTx/>
                <a:latin typeface="Arial"/>
                <a:ea typeface="微软雅黑" panose="020B0503020204020204" pitchFamily="34" charset="-122"/>
                <a:cs typeface="+mn-cs"/>
              </a:rPr>
              <a:t>75 mg/m</a:t>
            </a:r>
            <a:r>
              <a:rPr kumimoji="0" lang="en-GB" altLang="zh-TW" sz="1100" b="0" i="0" u="none" strike="noStrike" kern="1200" cap="none" spc="0" normalizeH="0" baseline="30000" noProof="0" dirty="0">
                <a:ln>
                  <a:noFill/>
                </a:ln>
                <a:solidFill>
                  <a:prstClr val="black">
                    <a:lumMod val="75000"/>
                  </a:prstClr>
                </a:solidFill>
                <a:effectLst/>
                <a:uLnTx/>
                <a:uFillTx/>
                <a:latin typeface="Arial"/>
                <a:ea typeface="微软雅黑" panose="020B0503020204020204" pitchFamily="34" charset="-122"/>
                <a:cs typeface="+mn-cs"/>
              </a:rPr>
              <a:t>2 </a:t>
            </a:r>
            <a:r>
              <a:rPr kumimoji="0" lang="en-GB" altLang="zh-TW" sz="1100" b="0" i="0" u="none" strike="noStrike" kern="1200" cap="none" spc="0" normalizeH="0" baseline="0" noProof="0" dirty="0">
                <a:ln>
                  <a:noFill/>
                </a:ln>
                <a:solidFill>
                  <a:prstClr val="black">
                    <a:lumMod val="75000"/>
                  </a:prstClr>
                </a:solidFill>
                <a:effectLst/>
                <a:uLnTx/>
                <a:uFillTx/>
                <a:latin typeface="Arial"/>
                <a:ea typeface="微软雅黑" panose="020B0503020204020204" pitchFamily="34" charset="-122"/>
                <a:cs typeface="+mn-cs"/>
              </a:rPr>
              <a:t>+ 500 mg/m</a:t>
            </a:r>
            <a:r>
              <a:rPr kumimoji="0" lang="en-GB" altLang="zh-TW" sz="1100" b="0" i="0" u="none" strike="noStrike" kern="1200" cap="none" spc="0" normalizeH="0" baseline="30000" noProof="0" dirty="0">
                <a:ln>
                  <a:noFill/>
                </a:ln>
                <a:solidFill>
                  <a:prstClr val="black">
                    <a:lumMod val="75000"/>
                  </a:prstClr>
                </a:solidFill>
                <a:effectLst/>
                <a:uLnTx/>
                <a:uFillTx/>
                <a:latin typeface="Arial"/>
                <a:ea typeface="微软雅黑" panose="020B0503020204020204" pitchFamily="34" charset="-122"/>
                <a:cs typeface="+mn-cs"/>
              </a:rPr>
              <a:t>2</a:t>
            </a:r>
            <a:endParaRPr kumimoji="0" lang="en-GB" altLang="zh-TW" sz="1100" b="0" i="0" u="none" strike="noStrike" kern="1200" cap="none" spc="0" normalizeH="0" baseline="0" noProof="0" dirty="0">
              <a:ln>
                <a:noFill/>
              </a:ln>
              <a:solidFill>
                <a:prstClr val="black">
                  <a:lumMod val="75000"/>
                </a:prstClr>
              </a:solidFill>
              <a:effectLst/>
              <a:uLnTx/>
              <a:uFillTx/>
              <a:latin typeface="Arial"/>
              <a:ea typeface="微软雅黑" panose="020B0503020204020204" pitchFamily="34" charset="-122"/>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zh-TW" sz="1100" b="0" i="0" u="none" strike="noStrike" kern="1200" cap="none" spc="0" normalizeH="0" baseline="0" noProof="0" dirty="0">
                <a:ln>
                  <a:noFill/>
                </a:ln>
                <a:solidFill>
                  <a:prstClr val="black">
                    <a:lumMod val="75000"/>
                  </a:prstClr>
                </a:solidFill>
                <a:effectLst/>
                <a:uLnTx/>
                <a:uFillTx/>
                <a:latin typeface="Arial"/>
                <a:ea typeface="微软雅黑" panose="020B0503020204020204" pitchFamily="34" charset="-122"/>
                <a:cs typeface="+mn-cs"/>
              </a:rPr>
              <a:t> </a:t>
            </a:r>
            <a:r>
              <a:rPr kumimoji="0" lang="en-US" altLang="zh-CN" sz="1100" b="0" i="0" u="none" strike="noStrike" kern="1200" cap="none" spc="0" normalizeH="0" baseline="0" noProof="0" dirty="0">
                <a:ln>
                  <a:noFill/>
                </a:ln>
                <a:solidFill>
                  <a:prstClr val="black">
                    <a:lumMod val="75000"/>
                  </a:prstClr>
                </a:solidFill>
                <a:effectLst/>
                <a:uLnTx/>
                <a:uFillTx/>
                <a:latin typeface="Arial"/>
                <a:ea typeface="微软雅黑" panose="020B0503020204020204" pitchFamily="34" charset="-122"/>
                <a:cs typeface="+mn-cs"/>
              </a:rPr>
              <a:t>IV q 21</a:t>
            </a:r>
            <a:r>
              <a:rPr kumimoji="0" lang="zh-CN" altLang="en-US" sz="1100" b="0" i="0" u="none" strike="noStrike" kern="1200" cap="none" spc="0" normalizeH="0" baseline="0" noProof="0" dirty="0">
                <a:ln>
                  <a:noFill/>
                </a:ln>
                <a:solidFill>
                  <a:prstClr val="black">
                    <a:lumMod val="75000"/>
                  </a:prstClr>
                </a:solidFill>
                <a:effectLst/>
                <a:uLnTx/>
                <a:uFillTx/>
                <a:latin typeface="Arial"/>
                <a:ea typeface="微软雅黑" panose="020B0503020204020204" pitchFamily="34" charset="-122"/>
                <a:cs typeface="+mn-cs"/>
              </a:rPr>
              <a:t>天，最多</a:t>
            </a:r>
            <a:r>
              <a:rPr kumimoji="0" lang="en-US" altLang="zh-CN" sz="1100" b="0" i="0" u="none" strike="noStrike" kern="1200" cap="none" spc="0" normalizeH="0" baseline="0" noProof="0" dirty="0">
                <a:ln>
                  <a:noFill/>
                </a:ln>
                <a:solidFill>
                  <a:prstClr val="black">
                    <a:lumMod val="75000"/>
                  </a:prstClr>
                </a:solidFill>
                <a:effectLst/>
                <a:uLnTx/>
                <a:uFillTx/>
                <a:latin typeface="Arial"/>
                <a:ea typeface="微软雅黑" panose="020B0503020204020204" pitchFamily="34" charset="-122"/>
                <a:cs typeface="+mn-cs"/>
              </a:rPr>
              <a:t>6</a:t>
            </a:r>
            <a:r>
              <a:rPr kumimoji="0" lang="zh-CN" altLang="en-US" sz="1100" b="0" i="0" u="none" strike="noStrike" kern="1200" cap="none" spc="0" normalizeH="0" baseline="0" noProof="0" dirty="0">
                <a:ln>
                  <a:noFill/>
                </a:ln>
                <a:solidFill>
                  <a:prstClr val="black">
                    <a:lumMod val="75000"/>
                  </a:prstClr>
                </a:solidFill>
                <a:effectLst/>
                <a:uLnTx/>
                <a:uFillTx/>
                <a:latin typeface="Arial"/>
                <a:ea typeface="微软雅黑" panose="020B0503020204020204" pitchFamily="34" charset="-122"/>
                <a:cs typeface="+mn-cs"/>
              </a:rPr>
              <a:t>个疗程</a:t>
            </a:r>
            <a:endParaRPr kumimoji="0" lang="en-GB" altLang="zh-TW" sz="1100" b="0" i="0" u="none" strike="noStrike" kern="1200" cap="none" spc="0" normalizeH="0" baseline="0" noProof="0" dirty="0">
              <a:ln>
                <a:noFill/>
              </a:ln>
              <a:solidFill>
                <a:prstClr val="black">
                  <a:lumMod val="75000"/>
                </a:prstClr>
              </a:solidFill>
              <a:effectLst/>
              <a:uLnTx/>
              <a:uFillTx/>
              <a:latin typeface="Arial"/>
              <a:ea typeface="微软雅黑" panose="020B0503020204020204" pitchFamily="34" charset="-122"/>
              <a:cs typeface="+mn-cs"/>
            </a:endParaRPr>
          </a:p>
        </p:txBody>
      </p:sp>
      <p:sp>
        <p:nvSpPr>
          <p:cNvPr id="42" name="AutoShape 8"/>
          <p:cNvSpPr>
            <a:spLocks noChangeArrowheads="1"/>
          </p:cNvSpPr>
          <p:nvPr/>
        </p:nvSpPr>
        <p:spPr bwMode="auto">
          <a:xfrm>
            <a:off x="3661765" y="4808166"/>
            <a:ext cx="1800200" cy="847755"/>
          </a:xfrm>
          <a:prstGeom prst="roundRect">
            <a:avLst>
              <a:gd name="adj" fmla="val 16667"/>
            </a:avLst>
          </a:prstGeom>
          <a:solidFill>
            <a:schemeClr val="bg1">
              <a:lumMod val="9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6"/>
          </a:lnRef>
          <a:fillRef idx="1">
            <a:schemeClr val="lt1"/>
          </a:fillRef>
          <a:effectRef idx="0">
            <a:schemeClr val="accent6"/>
          </a:effectRef>
          <a:fontRef idx="minor">
            <a:schemeClr val="dk1"/>
          </a:fontRef>
        </p:style>
        <p:txBody>
          <a:bodyPr lIns="18288" tIns="18288" rIns="18288" bIns="18288"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zh-CN" altLang="en-US" sz="1400" b="1" i="0" u="none" strike="noStrike" kern="1200" cap="none" spc="0" normalizeH="0" baseline="0" noProof="0" dirty="0">
                <a:ln>
                  <a:noFill/>
                </a:ln>
                <a:solidFill>
                  <a:prstClr val="black">
                    <a:lumMod val="75000"/>
                  </a:prstClr>
                </a:solidFill>
                <a:effectLst/>
                <a:uLnTx/>
                <a:uFillTx/>
                <a:latin typeface="Arial"/>
                <a:ea typeface="微软雅黑" panose="020B0503020204020204" pitchFamily="34" charset="-122"/>
                <a:cs typeface="+mn-cs"/>
              </a:rPr>
              <a:t>顺铂</a:t>
            </a:r>
            <a:r>
              <a:rPr kumimoji="0" lang="en-US" altLang="zh-CN" sz="1400" b="1" i="0" u="none" strike="noStrike" kern="1200" cap="none" spc="0" normalizeH="0" baseline="0" noProof="0" dirty="0">
                <a:ln>
                  <a:noFill/>
                </a:ln>
                <a:solidFill>
                  <a:prstClr val="black">
                    <a:lumMod val="75000"/>
                  </a:prstClr>
                </a:solidFill>
                <a:effectLst/>
                <a:uLnTx/>
                <a:uFillTx/>
                <a:latin typeface="Arial"/>
                <a:ea typeface="微软雅黑" panose="020B0503020204020204" pitchFamily="34" charset="-122"/>
                <a:cs typeface="+mn-cs"/>
              </a:rPr>
              <a:t>+</a:t>
            </a:r>
            <a:r>
              <a:rPr kumimoji="0" lang="zh-CN" altLang="en-US" sz="1400" b="1" i="0" u="none" strike="noStrike" kern="1200" cap="none" spc="0" normalizeH="0" baseline="0" noProof="0" dirty="0">
                <a:ln>
                  <a:noFill/>
                </a:ln>
                <a:solidFill>
                  <a:prstClr val="black">
                    <a:lumMod val="75000"/>
                  </a:prstClr>
                </a:solidFill>
                <a:effectLst/>
                <a:uLnTx/>
                <a:uFillTx/>
                <a:latin typeface="Arial"/>
                <a:ea typeface="微软雅黑" panose="020B0503020204020204" pitchFamily="34" charset="-122"/>
                <a:cs typeface="+mn-cs"/>
              </a:rPr>
              <a:t>吉西他滨</a:t>
            </a:r>
            <a:endParaRPr kumimoji="0" lang="en-GB" sz="1400" b="1" i="0" u="none" strike="noStrike" kern="1200" cap="none" spc="0" normalizeH="0" baseline="0" noProof="0" dirty="0">
              <a:ln>
                <a:noFill/>
              </a:ln>
              <a:solidFill>
                <a:prstClr val="black">
                  <a:lumMod val="75000"/>
                </a:prstClr>
              </a:solidFill>
              <a:effectLst/>
              <a:uLnTx/>
              <a:uFillTx/>
              <a:latin typeface="Arial"/>
              <a:ea typeface="微软雅黑" panose="020B0503020204020204" pitchFamily="34" charset="-122"/>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prstClr val="black">
                    <a:lumMod val="75000"/>
                  </a:prstClr>
                </a:solidFill>
                <a:effectLst/>
                <a:uLnTx/>
                <a:uFillTx/>
                <a:latin typeface="Arial"/>
                <a:ea typeface="微软雅黑" panose="020B0503020204020204" pitchFamily="34" charset="-122"/>
                <a:cs typeface="+mn-cs"/>
              </a:rPr>
              <a:t>75 mg/m</a:t>
            </a:r>
            <a:r>
              <a:rPr kumimoji="0" lang="en-GB" sz="1100" b="0" i="0" u="none" strike="noStrike" kern="1200" cap="none" spc="0" normalizeH="0" baseline="30000" noProof="0" dirty="0">
                <a:ln>
                  <a:noFill/>
                </a:ln>
                <a:solidFill>
                  <a:prstClr val="black">
                    <a:lumMod val="75000"/>
                  </a:prstClr>
                </a:solidFill>
                <a:effectLst/>
                <a:uLnTx/>
                <a:uFillTx/>
                <a:latin typeface="Arial"/>
                <a:ea typeface="微软雅黑" panose="020B0503020204020204" pitchFamily="34" charset="-122"/>
                <a:cs typeface="+mn-cs"/>
              </a:rPr>
              <a:t>2 </a:t>
            </a:r>
            <a:r>
              <a:rPr kumimoji="0" lang="en-GB" sz="1100" b="0" i="0" u="none" strike="noStrike" kern="1200" cap="none" spc="0" normalizeH="0" baseline="0" noProof="0" dirty="0">
                <a:ln>
                  <a:noFill/>
                </a:ln>
                <a:solidFill>
                  <a:prstClr val="black">
                    <a:lumMod val="75000"/>
                  </a:prstClr>
                </a:solidFill>
                <a:effectLst/>
                <a:uLnTx/>
                <a:uFillTx/>
                <a:latin typeface="Arial"/>
                <a:ea typeface="微软雅黑" panose="020B0503020204020204" pitchFamily="34" charset="-122"/>
                <a:cs typeface="+mn-cs"/>
              </a:rPr>
              <a:t>+ 1000 mg/m</a:t>
            </a:r>
            <a:r>
              <a:rPr kumimoji="0" lang="en-GB" sz="1100" b="0" i="0" u="none" strike="noStrike" kern="1200" cap="none" spc="0" normalizeH="0" baseline="30000" noProof="0" dirty="0">
                <a:ln>
                  <a:noFill/>
                </a:ln>
                <a:solidFill>
                  <a:prstClr val="black">
                    <a:lumMod val="75000"/>
                  </a:prstClr>
                </a:solidFill>
                <a:effectLst/>
                <a:uLnTx/>
                <a:uFillTx/>
                <a:latin typeface="Arial"/>
                <a:ea typeface="微软雅黑" panose="020B0503020204020204" pitchFamily="34" charset="-122"/>
                <a:cs typeface="+mn-cs"/>
              </a:rPr>
              <a:t>2 </a:t>
            </a:r>
            <a:r>
              <a:rPr kumimoji="0" lang="en-GB" sz="1100" b="0" i="0" u="none" strike="noStrike" kern="1200" cap="none" spc="0" normalizeH="0" baseline="0" noProof="0" dirty="0">
                <a:ln>
                  <a:noFill/>
                </a:ln>
                <a:solidFill>
                  <a:prstClr val="black">
                    <a:lumMod val="75000"/>
                  </a:prstClr>
                </a:solidFill>
                <a:effectLst/>
                <a:uLnTx/>
                <a:uFillTx/>
                <a:latin typeface="Arial"/>
                <a:ea typeface="微软雅黑" panose="020B0503020204020204" pitchFamily="34" charset="-122"/>
                <a:cs typeface="+mn-cs"/>
              </a:rPr>
              <a:t>D1, D8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prstClr val="black">
                    <a:lumMod val="75000"/>
                  </a:prstClr>
                </a:solidFill>
                <a:effectLst/>
                <a:uLnTx/>
                <a:uFillTx/>
                <a:latin typeface="Arial"/>
                <a:ea typeface="微软雅黑" panose="020B0503020204020204" pitchFamily="34" charset="-122"/>
                <a:cs typeface="+mn-cs"/>
              </a:rPr>
              <a:t> </a:t>
            </a:r>
            <a:r>
              <a:rPr kumimoji="0" lang="en-US" altLang="zh-CN" sz="1100" b="0" i="0" u="none" strike="noStrike" kern="1200" cap="none" spc="0" normalizeH="0" baseline="0" noProof="0" dirty="0">
                <a:ln>
                  <a:noFill/>
                </a:ln>
                <a:solidFill>
                  <a:prstClr val="black">
                    <a:lumMod val="75000"/>
                  </a:prstClr>
                </a:solidFill>
                <a:effectLst/>
                <a:uLnTx/>
                <a:uFillTx/>
                <a:latin typeface="Arial"/>
                <a:ea typeface="微软雅黑" panose="020B0503020204020204" pitchFamily="34" charset="-122"/>
                <a:cs typeface="+mn-cs"/>
              </a:rPr>
              <a:t>IV q 21</a:t>
            </a:r>
            <a:r>
              <a:rPr kumimoji="0" lang="zh-CN" altLang="en-US" sz="1100" b="0" i="0" u="none" strike="noStrike" kern="1200" cap="none" spc="0" normalizeH="0" baseline="0" noProof="0" dirty="0">
                <a:ln>
                  <a:noFill/>
                </a:ln>
                <a:solidFill>
                  <a:prstClr val="black">
                    <a:lumMod val="75000"/>
                  </a:prstClr>
                </a:solidFill>
                <a:effectLst/>
                <a:uLnTx/>
                <a:uFillTx/>
                <a:latin typeface="Arial"/>
                <a:ea typeface="微软雅黑" panose="020B0503020204020204" pitchFamily="34" charset="-122"/>
                <a:cs typeface="+mn-cs"/>
              </a:rPr>
              <a:t>天，最多</a:t>
            </a:r>
            <a:r>
              <a:rPr kumimoji="0" lang="en-US" altLang="zh-CN" sz="1100" b="0" i="0" u="none" strike="noStrike" kern="1200" cap="none" spc="0" normalizeH="0" baseline="0" noProof="0" dirty="0">
                <a:ln>
                  <a:noFill/>
                </a:ln>
                <a:solidFill>
                  <a:prstClr val="black">
                    <a:lumMod val="75000"/>
                  </a:prstClr>
                </a:solidFill>
                <a:effectLst/>
                <a:uLnTx/>
                <a:uFillTx/>
                <a:latin typeface="Arial"/>
                <a:ea typeface="微软雅黑" panose="020B0503020204020204" pitchFamily="34" charset="-122"/>
                <a:cs typeface="+mn-cs"/>
              </a:rPr>
              <a:t>6</a:t>
            </a:r>
            <a:r>
              <a:rPr kumimoji="0" lang="zh-CN" altLang="en-US" sz="1100" b="0" i="0" u="none" strike="noStrike" kern="1200" cap="none" spc="0" normalizeH="0" baseline="0" noProof="0" dirty="0">
                <a:ln>
                  <a:noFill/>
                </a:ln>
                <a:solidFill>
                  <a:prstClr val="black">
                    <a:lumMod val="75000"/>
                  </a:prstClr>
                </a:solidFill>
                <a:effectLst/>
                <a:uLnTx/>
                <a:uFillTx/>
                <a:latin typeface="Arial"/>
                <a:ea typeface="微软雅黑" panose="020B0503020204020204" pitchFamily="34" charset="-122"/>
                <a:cs typeface="+mn-cs"/>
              </a:rPr>
              <a:t>个疗程</a:t>
            </a:r>
            <a:endParaRPr kumimoji="0" lang="en-GB" sz="1100" b="0" i="0" u="none" strike="noStrike" kern="1200" cap="none" spc="0" normalizeH="0" baseline="0" noProof="0" dirty="0">
              <a:ln>
                <a:noFill/>
              </a:ln>
              <a:solidFill>
                <a:prstClr val="black">
                  <a:lumMod val="75000"/>
                </a:prstClr>
              </a:solidFill>
              <a:effectLst/>
              <a:uLnTx/>
              <a:uFillTx/>
              <a:latin typeface="Arial"/>
              <a:ea typeface="微软雅黑" panose="020B0503020204020204" pitchFamily="34" charset="-122"/>
              <a:cs typeface="+mn-cs"/>
            </a:endParaRPr>
          </a:p>
        </p:txBody>
      </p:sp>
      <p:sp>
        <p:nvSpPr>
          <p:cNvPr id="24" name="燕尾形 23"/>
          <p:cNvSpPr/>
          <p:nvPr/>
        </p:nvSpPr>
        <p:spPr>
          <a:xfrm>
            <a:off x="1593978" y="3070123"/>
            <a:ext cx="297238" cy="423902"/>
          </a:xfrm>
          <a:prstGeom prst="chevron">
            <a:avLst/>
          </a:prstGeom>
          <a:solidFill>
            <a:schemeClr val="bg1"/>
          </a:solidFill>
          <a:ln w="19050" cap="rnd">
            <a:solidFill>
              <a:schemeClr val="bg1">
                <a:lumMod val="95000"/>
              </a:schemeClr>
            </a:solidFill>
          </a:ln>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微软雅黑" panose="020B0503020204020204" pitchFamily="34" charset="-122"/>
              <a:cs typeface="+mn-cs"/>
            </a:endParaRPr>
          </a:p>
        </p:txBody>
      </p:sp>
      <p:sp>
        <p:nvSpPr>
          <p:cNvPr id="26" name="燕尾形 25"/>
          <p:cNvSpPr/>
          <p:nvPr/>
        </p:nvSpPr>
        <p:spPr>
          <a:xfrm>
            <a:off x="7188204" y="3887296"/>
            <a:ext cx="297238" cy="423902"/>
          </a:xfrm>
          <a:prstGeom prst="chevron">
            <a:avLst/>
          </a:prstGeom>
          <a:solidFill>
            <a:schemeClr val="accent1"/>
          </a:solidFill>
          <a:ln w="19050" cap="rnd">
            <a:solidFill>
              <a:schemeClr val="bg1">
                <a:lumMod val="95000"/>
              </a:schemeClr>
            </a:solidFill>
          </a:ln>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微软雅黑" panose="020B0503020204020204" pitchFamily="34" charset="-122"/>
              <a:cs typeface="+mn-cs"/>
            </a:endParaRPr>
          </a:p>
        </p:txBody>
      </p:sp>
      <p:sp>
        <p:nvSpPr>
          <p:cNvPr id="29" name="燕尾形 28"/>
          <p:cNvSpPr/>
          <p:nvPr/>
        </p:nvSpPr>
        <p:spPr>
          <a:xfrm>
            <a:off x="3203374" y="2882784"/>
            <a:ext cx="297238" cy="423902"/>
          </a:xfrm>
          <a:prstGeom prst="chevron">
            <a:avLst/>
          </a:prstGeom>
          <a:solidFill>
            <a:schemeClr val="bg1"/>
          </a:solidFill>
          <a:ln w="19050" cap="rnd">
            <a:solidFill>
              <a:schemeClr val="bg1">
                <a:lumMod val="95000"/>
              </a:schemeClr>
            </a:solidFill>
          </a:ln>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微软雅黑" panose="020B0503020204020204" pitchFamily="34" charset="-122"/>
              <a:cs typeface="+mn-cs"/>
            </a:endParaRPr>
          </a:p>
        </p:txBody>
      </p:sp>
      <p:sp>
        <p:nvSpPr>
          <p:cNvPr id="30" name="燕尾形 29"/>
          <p:cNvSpPr/>
          <p:nvPr/>
        </p:nvSpPr>
        <p:spPr>
          <a:xfrm>
            <a:off x="3206192" y="5022252"/>
            <a:ext cx="297238" cy="423902"/>
          </a:xfrm>
          <a:prstGeom prst="chevron">
            <a:avLst/>
          </a:prstGeom>
          <a:solidFill>
            <a:schemeClr val="bg1"/>
          </a:solidFill>
          <a:ln w="19050" cap="rnd">
            <a:solidFill>
              <a:schemeClr val="bg1">
                <a:lumMod val="95000"/>
              </a:schemeClr>
            </a:solidFill>
          </a:ln>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微软雅黑" panose="020B0503020204020204" pitchFamily="34" charset="-122"/>
              <a:cs typeface="+mn-cs"/>
            </a:endParaRPr>
          </a:p>
        </p:txBody>
      </p:sp>
      <p:sp>
        <p:nvSpPr>
          <p:cNvPr id="31" name="燕尾形 30"/>
          <p:cNvSpPr/>
          <p:nvPr/>
        </p:nvSpPr>
        <p:spPr>
          <a:xfrm>
            <a:off x="3206735" y="3959868"/>
            <a:ext cx="297238" cy="423902"/>
          </a:xfrm>
          <a:prstGeom prst="chevron">
            <a:avLst/>
          </a:prstGeom>
          <a:solidFill>
            <a:schemeClr val="accent1"/>
          </a:solidFill>
          <a:ln w="19050" cap="rnd">
            <a:solidFill>
              <a:schemeClr val="bg1">
                <a:lumMod val="95000"/>
              </a:schemeClr>
            </a:solidFill>
          </a:ln>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微软雅黑" panose="020B0503020204020204" pitchFamily="34" charset="-122"/>
              <a:cs typeface="+mn-cs"/>
            </a:endParaRPr>
          </a:p>
        </p:txBody>
      </p:sp>
      <p:sp>
        <p:nvSpPr>
          <p:cNvPr id="35" name="燕尾形 34"/>
          <p:cNvSpPr/>
          <p:nvPr/>
        </p:nvSpPr>
        <p:spPr>
          <a:xfrm>
            <a:off x="1593978" y="4553421"/>
            <a:ext cx="297238" cy="423902"/>
          </a:xfrm>
          <a:prstGeom prst="chevron">
            <a:avLst/>
          </a:prstGeom>
          <a:solidFill>
            <a:schemeClr val="bg1"/>
          </a:solidFill>
          <a:ln w="19050" cap="rnd">
            <a:solidFill>
              <a:schemeClr val="bg1">
                <a:lumMod val="95000"/>
              </a:schemeClr>
            </a:solidFill>
          </a:ln>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微软雅黑" panose="020B0503020204020204" pitchFamily="34" charset="-122"/>
              <a:cs typeface="+mn-cs"/>
            </a:endParaRPr>
          </a:p>
        </p:txBody>
      </p:sp>
      <p:sp>
        <p:nvSpPr>
          <p:cNvPr id="36" name="燕尾形 35"/>
          <p:cNvSpPr/>
          <p:nvPr/>
        </p:nvSpPr>
        <p:spPr>
          <a:xfrm>
            <a:off x="5576744" y="5011469"/>
            <a:ext cx="297238" cy="423902"/>
          </a:xfrm>
          <a:prstGeom prst="chevron">
            <a:avLst/>
          </a:prstGeom>
          <a:solidFill>
            <a:schemeClr val="bg1"/>
          </a:solidFill>
          <a:ln w="19050" cap="rnd">
            <a:solidFill>
              <a:schemeClr val="bg1">
                <a:lumMod val="95000"/>
              </a:schemeClr>
            </a:solidFill>
          </a:ln>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微软雅黑" panose="020B0503020204020204" pitchFamily="34" charset="-122"/>
              <a:cs typeface="+mn-cs"/>
            </a:endParaRPr>
          </a:p>
        </p:txBody>
      </p:sp>
      <p:sp>
        <p:nvSpPr>
          <p:cNvPr id="37" name="燕尾形 36"/>
          <p:cNvSpPr/>
          <p:nvPr/>
        </p:nvSpPr>
        <p:spPr>
          <a:xfrm>
            <a:off x="5576744" y="2755859"/>
            <a:ext cx="297238" cy="423902"/>
          </a:xfrm>
          <a:prstGeom prst="chevron">
            <a:avLst/>
          </a:prstGeom>
          <a:solidFill>
            <a:schemeClr val="bg1"/>
          </a:solidFill>
          <a:ln w="19050" cap="rnd">
            <a:solidFill>
              <a:schemeClr val="bg1">
                <a:lumMod val="95000"/>
              </a:schemeClr>
            </a:solidFill>
          </a:ln>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微软雅黑" panose="020B0503020204020204" pitchFamily="34" charset="-122"/>
              <a:cs typeface="+mn-cs"/>
            </a:endParaRPr>
          </a:p>
        </p:txBody>
      </p:sp>
      <p:sp>
        <p:nvSpPr>
          <p:cNvPr id="38" name="燕尾形 37"/>
          <p:cNvSpPr/>
          <p:nvPr/>
        </p:nvSpPr>
        <p:spPr>
          <a:xfrm>
            <a:off x="5576744" y="3894481"/>
            <a:ext cx="297238" cy="423902"/>
          </a:xfrm>
          <a:prstGeom prst="chevron">
            <a:avLst/>
          </a:prstGeom>
          <a:solidFill>
            <a:schemeClr val="accent1"/>
          </a:solidFill>
          <a:ln w="19050" cap="rnd">
            <a:solidFill>
              <a:schemeClr val="accent1"/>
            </a:solidFill>
          </a:ln>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微软雅黑" panose="020B0503020204020204" pitchFamily="34" charset="-122"/>
              <a:cs typeface="+mn-cs"/>
            </a:endParaRPr>
          </a:p>
        </p:txBody>
      </p:sp>
    </p:spTree>
    <p:extLst>
      <p:ext uri="{BB962C8B-B14F-4D97-AF65-F5344CB8AC3E}">
        <p14:creationId xmlns:p14="http://schemas.microsoft.com/office/powerpoint/2010/main" val="3719850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524"/>
          <p:cNvSpPr/>
          <p:nvPr/>
        </p:nvSpPr>
        <p:spPr>
          <a:xfrm rot="10800000">
            <a:off x="467542" y="1768375"/>
            <a:ext cx="8194675" cy="4180903"/>
          </a:xfrm>
          <a:prstGeom prst="round2SameRect">
            <a:avLst>
              <a:gd name="adj1" fmla="val 4503"/>
              <a:gd name="adj2" fmla="val 0"/>
            </a:avLst>
          </a:prstGeom>
          <a:solidFill>
            <a:sysClr val="window" lastClr="FFFFFF"/>
          </a:solidFill>
          <a:ln w="12700" cap="rnd" cmpd="sng" algn="ctr">
            <a:solidFill>
              <a:srgbClr val="C3B600"/>
            </a:solidFill>
            <a:prstDash val="solid"/>
          </a:ln>
          <a:effectLst/>
        </p:spPr>
        <p:txBody>
          <a:bodyPr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5" name="Round Same Side Corner Rectangle 525"/>
          <p:cNvSpPr/>
          <p:nvPr/>
        </p:nvSpPr>
        <p:spPr>
          <a:xfrm>
            <a:off x="467549" y="1412776"/>
            <a:ext cx="8194674" cy="355600"/>
          </a:xfrm>
          <a:prstGeom prst="round2SameRect">
            <a:avLst>
              <a:gd name="adj1" fmla="val 50000"/>
              <a:gd name="adj2" fmla="val 0"/>
            </a:avLst>
          </a:prstGeom>
          <a:solidFill>
            <a:srgbClr val="1CBECA"/>
          </a:solidFill>
          <a:ln w="12700" cap="rnd" cmpd="sng" algn="ctr">
            <a:solidFill>
              <a:srgbClr val="C3B600"/>
            </a:solidFill>
            <a:prstDash val="solid"/>
          </a:ln>
          <a:effectLst/>
        </p:spPr>
        <p:txBody>
          <a:bodyPr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itchFamily="34" charset="0"/>
              </a:rPr>
              <a:t>常见突变（</a:t>
            </a:r>
            <a:r>
              <a:rPr kumimoji="0" lang="en-US" altLang="zh-CN"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itchFamily="34" charset="0"/>
              </a:rPr>
              <a:t>Del19/L858R</a:t>
            </a:r>
            <a:r>
              <a:rPr kumimoji="0" lang="zh-CN" altLang="en-US"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itchFamily="34" charset="0"/>
              </a:rPr>
              <a:t>）</a:t>
            </a:r>
            <a:r>
              <a:rPr kumimoji="0" lang="en-US" altLang="zh-CN"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itchFamily="34" charset="0"/>
              </a:rPr>
              <a:t>- </a:t>
            </a:r>
            <a:r>
              <a:rPr kumimoji="0" lang="zh-CN" altLang="en-US"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itchFamily="34" charset="0"/>
              </a:rPr>
              <a:t>独立评审</a:t>
            </a:r>
            <a:endParaRPr kumimoji="0" lang="en-US" sz="1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6" name="TextBox 17"/>
          <p:cNvSpPr txBox="1">
            <a:spLocks noChangeArrowheads="1"/>
          </p:cNvSpPr>
          <p:nvPr/>
        </p:nvSpPr>
        <p:spPr bwMode="auto">
          <a:xfrm>
            <a:off x="2826574" y="5519114"/>
            <a:ext cx="335915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lnSpc>
                <a:spcPct val="85000"/>
              </a:lnSpc>
              <a:spcBef>
                <a:spcPts val="1200"/>
              </a:spcBef>
              <a:buClr>
                <a:srgbClr val="1CBECA"/>
              </a:buClr>
              <a:buFont typeface="Arial" pitchFamily="34" charset="0"/>
              <a:buChar char="•"/>
              <a:defRPr sz="2000">
                <a:solidFill>
                  <a:srgbClr val="595959"/>
                </a:solidFill>
                <a:latin typeface="Arial" pitchFamily="34" charset="0"/>
              </a:defRPr>
            </a:lvl1pPr>
            <a:lvl2pPr indent="-263525">
              <a:lnSpc>
                <a:spcPct val="85000"/>
              </a:lnSpc>
              <a:spcBef>
                <a:spcPts val="600"/>
              </a:spcBef>
              <a:buClr>
                <a:srgbClr val="595959"/>
              </a:buClr>
              <a:buFont typeface="Arial" pitchFamily="34" charset="0"/>
              <a:buChar char="‒"/>
              <a:defRPr>
                <a:solidFill>
                  <a:srgbClr val="595959"/>
                </a:solidFill>
                <a:latin typeface="Arial" pitchFamily="34" charset="0"/>
              </a:defRPr>
            </a:lvl2pPr>
            <a:lvl3pPr indent="-158750">
              <a:lnSpc>
                <a:spcPct val="85000"/>
              </a:lnSpc>
              <a:spcBef>
                <a:spcPts val="400"/>
              </a:spcBef>
              <a:buClr>
                <a:srgbClr val="1CBECA"/>
              </a:buClr>
              <a:buFont typeface="Arial" pitchFamily="34" charset="0"/>
              <a:buChar char="•"/>
              <a:defRPr sz="1600">
                <a:solidFill>
                  <a:srgbClr val="595959"/>
                </a:solidFill>
                <a:latin typeface="Arial" pitchFamily="34" charset="0"/>
              </a:defRPr>
            </a:lvl3pPr>
            <a:lvl4pPr indent="-149225">
              <a:lnSpc>
                <a:spcPct val="85000"/>
              </a:lnSpc>
              <a:buClr>
                <a:srgbClr val="1CBECA"/>
              </a:buClr>
              <a:buFont typeface="Arial" pitchFamily="34" charset="0"/>
              <a:buChar char="•"/>
              <a:defRPr sz="1400">
                <a:solidFill>
                  <a:srgbClr val="595959"/>
                </a:solidFill>
                <a:latin typeface="Arial" pitchFamily="34" charset="0"/>
              </a:defRPr>
            </a:lvl4pPr>
            <a:lvl5pPr indent="-141288">
              <a:lnSpc>
                <a:spcPct val="85000"/>
              </a:lnSpc>
              <a:buClr>
                <a:srgbClr val="1CBECA"/>
              </a:buClr>
              <a:buFont typeface="Arial" pitchFamily="34" charset="0"/>
              <a:buChar char="•"/>
              <a:defRPr sz="1400">
                <a:solidFill>
                  <a:srgbClr val="595959"/>
                </a:solidFill>
                <a:latin typeface="Arial" pitchFamily="34" charset="0"/>
              </a:defRPr>
            </a:lvl5pPr>
            <a:lvl6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6pPr>
            <a:lvl7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7pPr>
            <a:lvl8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8pPr>
            <a:lvl9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无进展生存期</a:t>
            </a:r>
            <a:r>
              <a:rPr kumimoji="0" lang="en-US" altLang="zh-CN"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月</a:t>
            </a:r>
            <a:r>
              <a:rPr kumimoji="0" lang="en-US" altLang="zh-CN"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p>
        </p:txBody>
      </p:sp>
      <p:sp>
        <p:nvSpPr>
          <p:cNvPr id="7" name="TextBox 50"/>
          <p:cNvSpPr txBox="1">
            <a:spLocks noChangeArrowheads="1"/>
          </p:cNvSpPr>
          <p:nvPr/>
        </p:nvSpPr>
        <p:spPr bwMode="auto">
          <a:xfrm rot="-5400000">
            <a:off x="600898" y="3615702"/>
            <a:ext cx="176212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lnSpc>
                <a:spcPct val="85000"/>
              </a:lnSpc>
              <a:spcBef>
                <a:spcPts val="1200"/>
              </a:spcBef>
              <a:buClr>
                <a:srgbClr val="1CBECA"/>
              </a:buClr>
              <a:buFont typeface="Arial" pitchFamily="34" charset="0"/>
              <a:buChar char="•"/>
              <a:defRPr sz="2000">
                <a:solidFill>
                  <a:srgbClr val="595959"/>
                </a:solidFill>
                <a:latin typeface="Arial" pitchFamily="34" charset="0"/>
              </a:defRPr>
            </a:lvl1pPr>
            <a:lvl2pPr indent="-263525">
              <a:lnSpc>
                <a:spcPct val="85000"/>
              </a:lnSpc>
              <a:spcBef>
                <a:spcPts val="600"/>
              </a:spcBef>
              <a:buClr>
                <a:srgbClr val="595959"/>
              </a:buClr>
              <a:buFont typeface="Arial" pitchFamily="34" charset="0"/>
              <a:buChar char="‒"/>
              <a:defRPr>
                <a:solidFill>
                  <a:srgbClr val="595959"/>
                </a:solidFill>
                <a:latin typeface="Arial" pitchFamily="34" charset="0"/>
              </a:defRPr>
            </a:lvl2pPr>
            <a:lvl3pPr indent="-158750">
              <a:lnSpc>
                <a:spcPct val="85000"/>
              </a:lnSpc>
              <a:spcBef>
                <a:spcPts val="400"/>
              </a:spcBef>
              <a:buClr>
                <a:srgbClr val="1CBECA"/>
              </a:buClr>
              <a:buFont typeface="Arial" pitchFamily="34" charset="0"/>
              <a:buChar char="•"/>
              <a:defRPr sz="1600">
                <a:solidFill>
                  <a:srgbClr val="595959"/>
                </a:solidFill>
                <a:latin typeface="Arial" pitchFamily="34" charset="0"/>
              </a:defRPr>
            </a:lvl3pPr>
            <a:lvl4pPr indent="-149225">
              <a:lnSpc>
                <a:spcPct val="85000"/>
              </a:lnSpc>
              <a:buClr>
                <a:srgbClr val="1CBECA"/>
              </a:buClr>
              <a:buFont typeface="Arial" pitchFamily="34" charset="0"/>
              <a:buChar char="•"/>
              <a:defRPr sz="1400">
                <a:solidFill>
                  <a:srgbClr val="595959"/>
                </a:solidFill>
                <a:latin typeface="Arial" pitchFamily="34" charset="0"/>
              </a:defRPr>
            </a:lvl4pPr>
            <a:lvl5pPr indent="-141288">
              <a:lnSpc>
                <a:spcPct val="85000"/>
              </a:lnSpc>
              <a:buClr>
                <a:srgbClr val="1CBECA"/>
              </a:buClr>
              <a:buFont typeface="Arial" pitchFamily="34" charset="0"/>
              <a:buChar char="•"/>
              <a:defRPr sz="1400">
                <a:solidFill>
                  <a:srgbClr val="595959"/>
                </a:solidFill>
                <a:latin typeface="Arial" pitchFamily="34" charset="0"/>
              </a:defRPr>
            </a:lvl5pPr>
            <a:lvl6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6pPr>
            <a:lvl7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7pPr>
            <a:lvl8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8pPr>
            <a:lvl9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估算的</a:t>
            </a:r>
            <a:r>
              <a:rPr kumimoji="0" lang="en-US" altLang="zh-CN"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PFS</a:t>
            </a:r>
            <a:r>
              <a:rPr kumimoji="0" lang="zh-CN" altLang="en-US"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概率</a:t>
            </a:r>
            <a:endParaRPr kumimoji="0" lang="en-US" altLang="zh-CN" sz="10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cxnSp>
        <p:nvCxnSpPr>
          <p:cNvPr id="8" name="Straight Connector 10"/>
          <p:cNvCxnSpPr/>
          <p:nvPr/>
        </p:nvCxnSpPr>
        <p:spPr>
          <a:xfrm>
            <a:off x="2062986" y="5234951"/>
            <a:ext cx="0" cy="49213"/>
          </a:xfrm>
          <a:prstGeom prst="line">
            <a:avLst/>
          </a:prstGeom>
          <a:noFill/>
          <a:ln w="12700" cap="rnd" cmpd="sng" algn="ctr">
            <a:solidFill>
              <a:sysClr val="windowText" lastClr="000000"/>
            </a:solidFill>
            <a:prstDash val="solid"/>
          </a:ln>
          <a:effectLst/>
        </p:spPr>
      </p:cxnSp>
      <p:cxnSp>
        <p:nvCxnSpPr>
          <p:cNvPr id="9" name="Straight Connector 11"/>
          <p:cNvCxnSpPr/>
          <p:nvPr/>
        </p:nvCxnSpPr>
        <p:spPr>
          <a:xfrm>
            <a:off x="2586861" y="5234951"/>
            <a:ext cx="0" cy="49213"/>
          </a:xfrm>
          <a:prstGeom prst="line">
            <a:avLst/>
          </a:prstGeom>
          <a:noFill/>
          <a:ln w="12700" cap="rnd" cmpd="sng" algn="ctr">
            <a:solidFill>
              <a:sysClr val="windowText" lastClr="000000"/>
            </a:solidFill>
            <a:prstDash val="solid"/>
          </a:ln>
          <a:effectLst/>
        </p:spPr>
      </p:cxnSp>
      <p:cxnSp>
        <p:nvCxnSpPr>
          <p:cNvPr id="10" name="Straight Connector 12"/>
          <p:cNvCxnSpPr/>
          <p:nvPr/>
        </p:nvCxnSpPr>
        <p:spPr>
          <a:xfrm>
            <a:off x="3112324" y="5234951"/>
            <a:ext cx="0" cy="49213"/>
          </a:xfrm>
          <a:prstGeom prst="line">
            <a:avLst/>
          </a:prstGeom>
          <a:noFill/>
          <a:ln w="12700" cap="rnd" cmpd="sng" algn="ctr">
            <a:solidFill>
              <a:sysClr val="windowText" lastClr="000000"/>
            </a:solidFill>
            <a:prstDash val="solid"/>
          </a:ln>
          <a:effectLst/>
        </p:spPr>
      </p:cxnSp>
      <p:cxnSp>
        <p:nvCxnSpPr>
          <p:cNvPr id="11" name="Straight Connector 13"/>
          <p:cNvCxnSpPr/>
          <p:nvPr/>
        </p:nvCxnSpPr>
        <p:spPr>
          <a:xfrm>
            <a:off x="3636199" y="5234951"/>
            <a:ext cx="0" cy="49213"/>
          </a:xfrm>
          <a:prstGeom prst="line">
            <a:avLst/>
          </a:prstGeom>
          <a:noFill/>
          <a:ln w="12700" cap="rnd" cmpd="sng" algn="ctr">
            <a:solidFill>
              <a:sysClr val="windowText" lastClr="000000"/>
            </a:solidFill>
            <a:prstDash val="solid"/>
          </a:ln>
          <a:effectLst/>
        </p:spPr>
      </p:cxnSp>
      <p:cxnSp>
        <p:nvCxnSpPr>
          <p:cNvPr id="12" name="Straight Connector 14"/>
          <p:cNvCxnSpPr/>
          <p:nvPr/>
        </p:nvCxnSpPr>
        <p:spPr>
          <a:xfrm>
            <a:off x="4172774" y="5234951"/>
            <a:ext cx="0" cy="49213"/>
          </a:xfrm>
          <a:prstGeom prst="line">
            <a:avLst/>
          </a:prstGeom>
          <a:noFill/>
          <a:ln w="12700" cap="rnd" cmpd="sng" algn="ctr">
            <a:solidFill>
              <a:sysClr val="windowText" lastClr="000000"/>
            </a:solidFill>
            <a:prstDash val="solid"/>
          </a:ln>
          <a:effectLst/>
        </p:spPr>
      </p:cxnSp>
      <p:cxnSp>
        <p:nvCxnSpPr>
          <p:cNvPr id="13" name="Straight Connector 15"/>
          <p:cNvCxnSpPr/>
          <p:nvPr/>
        </p:nvCxnSpPr>
        <p:spPr>
          <a:xfrm>
            <a:off x="4701411" y="5234951"/>
            <a:ext cx="0" cy="49213"/>
          </a:xfrm>
          <a:prstGeom prst="line">
            <a:avLst/>
          </a:prstGeom>
          <a:noFill/>
          <a:ln w="12700" cap="rnd" cmpd="sng" algn="ctr">
            <a:solidFill>
              <a:sysClr val="windowText" lastClr="000000"/>
            </a:solidFill>
            <a:prstDash val="solid"/>
          </a:ln>
          <a:effectLst/>
        </p:spPr>
      </p:cxnSp>
      <p:cxnSp>
        <p:nvCxnSpPr>
          <p:cNvPr id="14" name="Straight Connector 16"/>
          <p:cNvCxnSpPr/>
          <p:nvPr/>
        </p:nvCxnSpPr>
        <p:spPr>
          <a:xfrm flipH="1">
            <a:off x="1974086" y="5192089"/>
            <a:ext cx="46038" cy="0"/>
          </a:xfrm>
          <a:prstGeom prst="line">
            <a:avLst/>
          </a:prstGeom>
          <a:noFill/>
          <a:ln w="12700" cap="rnd" cmpd="sng" algn="ctr">
            <a:solidFill>
              <a:sysClr val="windowText" lastClr="000000"/>
            </a:solidFill>
            <a:prstDash val="solid"/>
          </a:ln>
          <a:effectLst/>
        </p:spPr>
      </p:cxnSp>
      <p:cxnSp>
        <p:nvCxnSpPr>
          <p:cNvPr id="15" name="Straight Connector 17"/>
          <p:cNvCxnSpPr/>
          <p:nvPr/>
        </p:nvCxnSpPr>
        <p:spPr>
          <a:xfrm flipH="1">
            <a:off x="1974086" y="4580901"/>
            <a:ext cx="46038" cy="0"/>
          </a:xfrm>
          <a:prstGeom prst="line">
            <a:avLst/>
          </a:prstGeom>
          <a:noFill/>
          <a:ln w="12700" cap="rnd" cmpd="sng" algn="ctr">
            <a:solidFill>
              <a:sysClr val="windowText" lastClr="000000"/>
            </a:solidFill>
            <a:prstDash val="solid"/>
          </a:ln>
          <a:effectLst/>
        </p:spPr>
      </p:cxnSp>
      <p:cxnSp>
        <p:nvCxnSpPr>
          <p:cNvPr id="16" name="Straight Connector 18"/>
          <p:cNvCxnSpPr/>
          <p:nvPr/>
        </p:nvCxnSpPr>
        <p:spPr>
          <a:xfrm flipH="1">
            <a:off x="1974086" y="3972889"/>
            <a:ext cx="46038" cy="0"/>
          </a:xfrm>
          <a:prstGeom prst="line">
            <a:avLst/>
          </a:prstGeom>
          <a:noFill/>
          <a:ln w="12700" cap="rnd" cmpd="sng" algn="ctr">
            <a:solidFill>
              <a:sysClr val="windowText" lastClr="000000"/>
            </a:solidFill>
            <a:prstDash val="solid"/>
          </a:ln>
          <a:effectLst/>
        </p:spPr>
      </p:cxnSp>
      <p:cxnSp>
        <p:nvCxnSpPr>
          <p:cNvPr id="17" name="Straight Connector 19"/>
          <p:cNvCxnSpPr/>
          <p:nvPr/>
        </p:nvCxnSpPr>
        <p:spPr>
          <a:xfrm flipH="1">
            <a:off x="1972499" y="3364876"/>
            <a:ext cx="46037" cy="0"/>
          </a:xfrm>
          <a:prstGeom prst="line">
            <a:avLst/>
          </a:prstGeom>
          <a:noFill/>
          <a:ln w="12700" cap="rnd" cmpd="sng" algn="ctr">
            <a:solidFill>
              <a:sysClr val="windowText" lastClr="000000"/>
            </a:solidFill>
            <a:prstDash val="solid"/>
          </a:ln>
          <a:effectLst/>
        </p:spPr>
      </p:cxnSp>
      <p:cxnSp>
        <p:nvCxnSpPr>
          <p:cNvPr id="18" name="Straight Connector 20"/>
          <p:cNvCxnSpPr/>
          <p:nvPr/>
        </p:nvCxnSpPr>
        <p:spPr>
          <a:xfrm flipH="1">
            <a:off x="1974086" y="2756864"/>
            <a:ext cx="46038" cy="0"/>
          </a:xfrm>
          <a:prstGeom prst="line">
            <a:avLst/>
          </a:prstGeom>
          <a:noFill/>
          <a:ln w="12700" cap="rnd" cmpd="sng" algn="ctr">
            <a:solidFill>
              <a:sysClr val="windowText" lastClr="000000"/>
            </a:solidFill>
            <a:prstDash val="solid"/>
          </a:ln>
          <a:effectLst/>
        </p:spPr>
      </p:cxnSp>
      <p:cxnSp>
        <p:nvCxnSpPr>
          <p:cNvPr id="19" name="Straight Connector 21"/>
          <p:cNvCxnSpPr/>
          <p:nvPr/>
        </p:nvCxnSpPr>
        <p:spPr>
          <a:xfrm flipH="1">
            <a:off x="1974086" y="2148851"/>
            <a:ext cx="46038" cy="0"/>
          </a:xfrm>
          <a:prstGeom prst="line">
            <a:avLst/>
          </a:prstGeom>
          <a:noFill/>
          <a:ln w="12700" cap="rnd" cmpd="sng" algn="ctr">
            <a:solidFill>
              <a:sysClr val="windowText" lastClr="000000"/>
            </a:solidFill>
            <a:prstDash val="solid"/>
          </a:ln>
          <a:effectLst/>
        </p:spPr>
      </p:cxnSp>
      <p:sp>
        <p:nvSpPr>
          <p:cNvPr id="20" name="TextBox 34"/>
          <p:cNvSpPr txBox="1">
            <a:spLocks noChangeArrowheads="1"/>
          </p:cNvSpPr>
          <p:nvPr/>
        </p:nvSpPr>
        <p:spPr bwMode="auto">
          <a:xfrm>
            <a:off x="2009011" y="5333376"/>
            <a:ext cx="119063"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lnSpc>
                <a:spcPct val="85000"/>
              </a:lnSpc>
              <a:spcBef>
                <a:spcPts val="1200"/>
              </a:spcBef>
              <a:buClr>
                <a:srgbClr val="1CBECA"/>
              </a:buClr>
              <a:buFont typeface="Arial" pitchFamily="34" charset="0"/>
              <a:buChar char="•"/>
              <a:defRPr sz="2000">
                <a:solidFill>
                  <a:srgbClr val="595959"/>
                </a:solidFill>
                <a:latin typeface="Arial" pitchFamily="34" charset="0"/>
              </a:defRPr>
            </a:lvl1pPr>
            <a:lvl2pPr indent="-263525">
              <a:lnSpc>
                <a:spcPct val="85000"/>
              </a:lnSpc>
              <a:spcBef>
                <a:spcPts val="600"/>
              </a:spcBef>
              <a:buClr>
                <a:srgbClr val="595959"/>
              </a:buClr>
              <a:buFont typeface="Arial" pitchFamily="34" charset="0"/>
              <a:buChar char="‒"/>
              <a:defRPr>
                <a:solidFill>
                  <a:srgbClr val="595959"/>
                </a:solidFill>
                <a:latin typeface="Arial" pitchFamily="34" charset="0"/>
              </a:defRPr>
            </a:lvl2pPr>
            <a:lvl3pPr indent="-158750">
              <a:lnSpc>
                <a:spcPct val="85000"/>
              </a:lnSpc>
              <a:spcBef>
                <a:spcPts val="400"/>
              </a:spcBef>
              <a:buClr>
                <a:srgbClr val="1CBECA"/>
              </a:buClr>
              <a:buFont typeface="Arial" pitchFamily="34" charset="0"/>
              <a:buChar char="•"/>
              <a:defRPr sz="1600">
                <a:solidFill>
                  <a:srgbClr val="595959"/>
                </a:solidFill>
                <a:latin typeface="Arial" pitchFamily="34" charset="0"/>
              </a:defRPr>
            </a:lvl3pPr>
            <a:lvl4pPr indent="-149225">
              <a:lnSpc>
                <a:spcPct val="85000"/>
              </a:lnSpc>
              <a:buClr>
                <a:srgbClr val="1CBECA"/>
              </a:buClr>
              <a:buFont typeface="Arial" pitchFamily="34" charset="0"/>
              <a:buChar char="•"/>
              <a:defRPr sz="1400">
                <a:solidFill>
                  <a:srgbClr val="595959"/>
                </a:solidFill>
                <a:latin typeface="Arial" pitchFamily="34" charset="0"/>
              </a:defRPr>
            </a:lvl4pPr>
            <a:lvl5pPr indent="-141288">
              <a:lnSpc>
                <a:spcPct val="85000"/>
              </a:lnSpc>
              <a:buClr>
                <a:srgbClr val="1CBECA"/>
              </a:buClr>
              <a:buFont typeface="Arial" pitchFamily="34" charset="0"/>
              <a:buChar char="•"/>
              <a:defRPr sz="1400">
                <a:solidFill>
                  <a:srgbClr val="595959"/>
                </a:solidFill>
                <a:latin typeface="Arial" pitchFamily="34" charset="0"/>
              </a:defRPr>
            </a:lvl5pPr>
            <a:lvl6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6pPr>
            <a:lvl7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7pPr>
            <a:lvl8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8pPr>
            <a:lvl9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9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0</a:t>
            </a:r>
          </a:p>
        </p:txBody>
      </p:sp>
      <p:sp>
        <p:nvSpPr>
          <p:cNvPr id="21" name="TextBox 35"/>
          <p:cNvSpPr txBox="1">
            <a:spLocks noChangeArrowheads="1"/>
          </p:cNvSpPr>
          <p:nvPr/>
        </p:nvSpPr>
        <p:spPr bwMode="auto">
          <a:xfrm>
            <a:off x="2536061" y="5333376"/>
            <a:ext cx="117475"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lnSpc>
                <a:spcPct val="85000"/>
              </a:lnSpc>
              <a:spcBef>
                <a:spcPts val="1200"/>
              </a:spcBef>
              <a:buClr>
                <a:srgbClr val="1CBECA"/>
              </a:buClr>
              <a:buFont typeface="Arial" pitchFamily="34" charset="0"/>
              <a:buChar char="•"/>
              <a:defRPr sz="2000">
                <a:solidFill>
                  <a:srgbClr val="595959"/>
                </a:solidFill>
                <a:latin typeface="Arial" pitchFamily="34" charset="0"/>
              </a:defRPr>
            </a:lvl1pPr>
            <a:lvl2pPr indent="-263525">
              <a:lnSpc>
                <a:spcPct val="85000"/>
              </a:lnSpc>
              <a:spcBef>
                <a:spcPts val="600"/>
              </a:spcBef>
              <a:buClr>
                <a:srgbClr val="595959"/>
              </a:buClr>
              <a:buFont typeface="Arial" pitchFamily="34" charset="0"/>
              <a:buChar char="‒"/>
              <a:defRPr>
                <a:solidFill>
                  <a:srgbClr val="595959"/>
                </a:solidFill>
                <a:latin typeface="Arial" pitchFamily="34" charset="0"/>
              </a:defRPr>
            </a:lvl2pPr>
            <a:lvl3pPr indent="-158750">
              <a:lnSpc>
                <a:spcPct val="85000"/>
              </a:lnSpc>
              <a:spcBef>
                <a:spcPts val="400"/>
              </a:spcBef>
              <a:buClr>
                <a:srgbClr val="1CBECA"/>
              </a:buClr>
              <a:buFont typeface="Arial" pitchFamily="34" charset="0"/>
              <a:buChar char="•"/>
              <a:defRPr sz="1600">
                <a:solidFill>
                  <a:srgbClr val="595959"/>
                </a:solidFill>
                <a:latin typeface="Arial" pitchFamily="34" charset="0"/>
              </a:defRPr>
            </a:lvl3pPr>
            <a:lvl4pPr indent="-149225">
              <a:lnSpc>
                <a:spcPct val="85000"/>
              </a:lnSpc>
              <a:buClr>
                <a:srgbClr val="1CBECA"/>
              </a:buClr>
              <a:buFont typeface="Arial" pitchFamily="34" charset="0"/>
              <a:buChar char="•"/>
              <a:defRPr sz="1400">
                <a:solidFill>
                  <a:srgbClr val="595959"/>
                </a:solidFill>
                <a:latin typeface="Arial" pitchFamily="34" charset="0"/>
              </a:defRPr>
            </a:lvl4pPr>
            <a:lvl5pPr indent="-141288">
              <a:lnSpc>
                <a:spcPct val="85000"/>
              </a:lnSpc>
              <a:buClr>
                <a:srgbClr val="1CBECA"/>
              </a:buClr>
              <a:buFont typeface="Arial" pitchFamily="34" charset="0"/>
              <a:buChar char="•"/>
              <a:defRPr sz="1400">
                <a:solidFill>
                  <a:srgbClr val="595959"/>
                </a:solidFill>
                <a:latin typeface="Arial" pitchFamily="34" charset="0"/>
              </a:defRPr>
            </a:lvl5pPr>
            <a:lvl6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6pPr>
            <a:lvl7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7pPr>
            <a:lvl8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8pPr>
            <a:lvl9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9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3</a:t>
            </a:r>
          </a:p>
        </p:txBody>
      </p:sp>
      <p:sp>
        <p:nvSpPr>
          <p:cNvPr id="22" name="TextBox 36"/>
          <p:cNvSpPr txBox="1">
            <a:spLocks noChangeArrowheads="1"/>
          </p:cNvSpPr>
          <p:nvPr/>
        </p:nvSpPr>
        <p:spPr bwMode="auto">
          <a:xfrm>
            <a:off x="3055174" y="5333376"/>
            <a:ext cx="119062"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lnSpc>
                <a:spcPct val="85000"/>
              </a:lnSpc>
              <a:spcBef>
                <a:spcPts val="1200"/>
              </a:spcBef>
              <a:buClr>
                <a:srgbClr val="1CBECA"/>
              </a:buClr>
              <a:buFont typeface="Arial" pitchFamily="34" charset="0"/>
              <a:buChar char="•"/>
              <a:defRPr sz="2000">
                <a:solidFill>
                  <a:srgbClr val="595959"/>
                </a:solidFill>
                <a:latin typeface="Arial" pitchFamily="34" charset="0"/>
              </a:defRPr>
            </a:lvl1pPr>
            <a:lvl2pPr indent="-263525">
              <a:lnSpc>
                <a:spcPct val="85000"/>
              </a:lnSpc>
              <a:spcBef>
                <a:spcPts val="600"/>
              </a:spcBef>
              <a:buClr>
                <a:srgbClr val="595959"/>
              </a:buClr>
              <a:buFont typeface="Arial" pitchFamily="34" charset="0"/>
              <a:buChar char="‒"/>
              <a:defRPr>
                <a:solidFill>
                  <a:srgbClr val="595959"/>
                </a:solidFill>
                <a:latin typeface="Arial" pitchFamily="34" charset="0"/>
              </a:defRPr>
            </a:lvl2pPr>
            <a:lvl3pPr indent="-158750">
              <a:lnSpc>
                <a:spcPct val="85000"/>
              </a:lnSpc>
              <a:spcBef>
                <a:spcPts val="400"/>
              </a:spcBef>
              <a:buClr>
                <a:srgbClr val="1CBECA"/>
              </a:buClr>
              <a:buFont typeface="Arial" pitchFamily="34" charset="0"/>
              <a:buChar char="•"/>
              <a:defRPr sz="1600">
                <a:solidFill>
                  <a:srgbClr val="595959"/>
                </a:solidFill>
                <a:latin typeface="Arial" pitchFamily="34" charset="0"/>
              </a:defRPr>
            </a:lvl3pPr>
            <a:lvl4pPr indent="-149225">
              <a:lnSpc>
                <a:spcPct val="85000"/>
              </a:lnSpc>
              <a:buClr>
                <a:srgbClr val="1CBECA"/>
              </a:buClr>
              <a:buFont typeface="Arial" pitchFamily="34" charset="0"/>
              <a:buChar char="•"/>
              <a:defRPr sz="1400">
                <a:solidFill>
                  <a:srgbClr val="595959"/>
                </a:solidFill>
                <a:latin typeface="Arial" pitchFamily="34" charset="0"/>
              </a:defRPr>
            </a:lvl4pPr>
            <a:lvl5pPr indent="-141288">
              <a:lnSpc>
                <a:spcPct val="85000"/>
              </a:lnSpc>
              <a:buClr>
                <a:srgbClr val="1CBECA"/>
              </a:buClr>
              <a:buFont typeface="Arial" pitchFamily="34" charset="0"/>
              <a:buChar char="•"/>
              <a:defRPr sz="1400">
                <a:solidFill>
                  <a:srgbClr val="595959"/>
                </a:solidFill>
                <a:latin typeface="Arial" pitchFamily="34" charset="0"/>
              </a:defRPr>
            </a:lvl5pPr>
            <a:lvl6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6pPr>
            <a:lvl7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7pPr>
            <a:lvl8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8pPr>
            <a:lvl9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9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6</a:t>
            </a:r>
          </a:p>
        </p:txBody>
      </p:sp>
      <p:sp>
        <p:nvSpPr>
          <p:cNvPr id="23" name="TextBox 37"/>
          <p:cNvSpPr txBox="1">
            <a:spLocks noChangeArrowheads="1"/>
          </p:cNvSpPr>
          <p:nvPr/>
        </p:nvSpPr>
        <p:spPr bwMode="auto">
          <a:xfrm>
            <a:off x="3580636" y="5333376"/>
            <a:ext cx="119063"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lnSpc>
                <a:spcPct val="85000"/>
              </a:lnSpc>
              <a:spcBef>
                <a:spcPts val="1200"/>
              </a:spcBef>
              <a:buClr>
                <a:srgbClr val="1CBECA"/>
              </a:buClr>
              <a:buFont typeface="Arial" pitchFamily="34" charset="0"/>
              <a:buChar char="•"/>
              <a:defRPr sz="2000">
                <a:solidFill>
                  <a:srgbClr val="595959"/>
                </a:solidFill>
                <a:latin typeface="Arial" pitchFamily="34" charset="0"/>
              </a:defRPr>
            </a:lvl1pPr>
            <a:lvl2pPr indent="-263525">
              <a:lnSpc>
                <a:spcPct val="85000"/>
              </a:lnSpc>
              <a:spcBef>
                <a:spcPts val="600"/>
              </a:spcBef>
              <a:buClr>
                <a:srgbClr val="595959"/>
              </a:buClr>
              <a:buFont typeface="Arial" pitchFamily="34" charset="0"/>
              <a:buChar char="‒"/>
              <a:defRPr>
                <a:solidFill>
                  <a:srgbClr val="595959"/>
                </a:solidFill>
                <a:latin typeface="Arial" pitchFamily="34" charset="0"/>
              </a:defRPr>
            </a:lvl2pPr>
            <a:lvl3pPr indent="-158750">
              <a:lnSpc>
                <a:spcPct val="85000"/>
              </a:lnSpc>
              <a:spcBef>
                <a:spcPts val="400"/>
              </a:spcBef>
              <a:buClr>
                <a:srgbClr val="1CBECA"/>
              </a:buClr>
              <a:buFont typeface="Arial" pitchFamily="34" charset="0"/>
              <a:buChar char="•"/>
              <a:defRPr sz="1600">
                <a:solidFill>
                  <a:srgbClr val="595959"/>
                </a:solidFill>
                <a:latin typeface="Arial" pitchFamily="34" charset="0"/>
              </a:defRPr>
            </a:lvl3pPr>
            <a:lvl4pPr indent="-149225">
              <a:lnSpc>
                <a:spcPct val="85000"/>
              </a:lnSpc>
              <a:buClr>
                <a:srgbClr val="1CBECA"/>
              </a:buClr>
              <a:buFont typeface="Arial" pitchFamily="34" charset="0"/>
              <a:buChar char="•"/>
              <a:defRPr sz="1400">
                <a:solidFill>
                  <a:srgbClr val="595959"/>
                </a:solidFill>
                <a:latin typeface="Arial" pitchFamily="34" charset="0"/>
              </a:defRPr>
            </a:lvl4pPr>
            <a:lvl5pPr indent="-141288">
              <a:lnSpc>
                <a:spcPct val="85000"/>
              </a:lnSpc>
              <a:buClr>
                <a:srgbClr val="1CBECA"/>
              </a:buClr>
              <a:buFont typeface="Arial" pitchFamily="34" charset="0"/>
              <a:buChar char="•"/>
              <a:defRPr sz="1400">
                <a:solidFill>
                  <a:srgbClr val="595959"/>
                </a:solidFill>
                <a:latin typeface="Arial" pitchFamily="34" charset="0"/>
              </a:defRPr>
            </a:lvl5pPr>
            <a:lvl6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6pPr>
            <a:lvl7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7pPr>
            <a:lvl8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8pPr>
            <a:lvl9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9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9</a:t>
            </a:r>
          </a:p>
        </p:txBody>
      </p:sp>
      <p:sp>
        <p:nvSpPr>
          <p:cNvPr id="24" name="TextBox 38"/>
          <p:cNvSpPr txBox="1">
            <a:spLocks noChangeArrowheads="1"/>
          </p:cNvSpPr>
          <p:nvPr/>
        </p:nvSpPr>
        <p:spPr bwMode="auto">
          <a:xfrm>
            <a:off x="4072761" y="5333376"/>
            <a:ext cx="203200"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lnSpc>
                <a:spcPct val="85000"/>
              </a:lnSpc>
              <a:spcBef>
                <a:spcPts val="1200"/>
              </a:spcBef>
              <a:buClr>
                <a:srgbClr val="1CBECA"/>
              </a:buClr>
              <a:buFont typeface="Arial" pitchFamily="34" charset="0"/>
              <a:buChar char="•"/>
              <a:defRPr sz="2000">
                <a:solidFill>
                  <a:srgbClr val="595959"/>
                </a:solidFill>
                <a:latin typeface="Arial" pitchFamily="34" charset="0"/>
              </a:defRPr>
            </a:lvl1pPr>
            <a:lvl2pPr indent="-263525">
              <a:lnSpc>
                <a:spcPct val="85000"/>
              </a:lnSpc>
              <a:spcBef>
                <a:spcPts val="600"/>
              </a:spcBef>
              <a:buClr>
                <a:srgbClr val="595959"/>
              </a:buClr>
              <a:buFont typeface="Arial" pitchFamily="34" charset="0"/>
              <a:buChar char="‒"/>
              <a:defRPr>
                <a:solidFill>
                  <a:srgbClr val="595959"/>
                </a:solidFill>
                <a:latin typeface="Arial" pitchFamily="34" charset="0"/>
              </a:defRPr>
            </a:lvl2pPr>
            <a:lvl3pPr indent="-158750">
              <a:lnSpc>
                <a:spcPct val="85000"/>
              </a:lnSpc>
              <a:spcBef>
                <a:spcPts val="400"/>
              </a:spcBef>
              <a:buClr>
                <a:srgbClr val="1CBECA"/>
              </a:buClr>
              <a:buFont typeface="Arial" pitchFamily="34" charset="0"/>
              <a:buChar char="•"/>
              <a:defRPr sz="1600">
                <a:solidFill>
                  <a:srgbClr val="595959"/>
                </a:solidFill>
                <a:latin typeface="Arial" pitchFamily="34" charset="0"/>
              </a:defRPr>
            </a:lvl3pPr>
            <a:lvl4pPr indent="-149225">
              <a:lnSpc>
                <a:spcPct val="85000"/>
              </a:lnSpc>
              <a:buClr>
                <a:srgbClr val="1CBECA"/>
              </a:buClr>
              <a:buFont typeface="Arial" pitchFamily="34" charset="0"/>
              <a:buChar char="•"/>
              <a:defRPr sz="1400">
                <a:solidFill>
                  <a:srgbClr val="595959"/>
                </a:solidFill>
                <a:latin typeface="Arial" pitchFamily="34" charset="0"/>
              </a:defRPr>
            </a:lvl4pPr>
            <a:lvl5pPr indent="-141288">
              <a:lnSpc>
                <a:spcPct val="85000"/>
              </a:lnSpc>
              <a:buClr>
                <a:srgbClr val="1CBECA"/>
              </a:buClr>
              <a:buFont typeface="Arial" pitchFamily="34" charset="0"/>
              <a:buChar char="•"/>
              <a:defRPr sz="1400">
                <a:solidFill>
                  <a:srgbClr val="595959"/>
                </a:solidFill>
                <a:latin typeface="Arial" pitchFamily="34" charset="0"/>
              </a:defRPr>
            </a:lvl5pPr>
            <a:lvl6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6pPr>
            <a:lvl7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7pPr>
            <a:lvl8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8pPr>
            <a:lvl9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9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12</a:t>
            </a:r>
          </a:p>
        </p:txBody>
      </p:sp>
      <p:sp>
        <p:nvSpPr>
          <p:cNvPr id="25" name="TextBox 39"/>
          <p:cNvSpPr txBox="1">
            <a:spLocks noChangeArrowheads="1"/>
          </p:cNvSpPr>
          <p:nvPr/>
        </p:nvSpPr>
        <p:spPr bwMode="auto">
          <a:xfrm>
            <a:off x="4601399" y="5333376"/>
            <a:ext cx="203200"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lnSpc>
                <a:spcPct val="85000"/>
              </a:lnSpc>
              <a:spcBef>
                <a:spcPts val="1200"/>
              </a:spcBef>
              <a:buClr>
                <a:srgbClr val="1CBECA"/>
              </a:buClr>
              <a:buFont typeface="Arial" pitchFamily="34" charset="0"/>
              <a:buChar char="•"/>
              <a:defRPr sz="2000">
                <a:solidFill>
                  <a:srgbClr val="595959"/>
                </a:solidFill>
                <a:latin typeface="Arial" pitchFamily="34" charset="0"/>
              </a:defRPr>
            </a:lvl1pPr>
            <a:lvl2pPr indent="-263525">
              <a:lnSpc>
                <a:spcPct val="85000"/>
              </a:lnSpc>
              <a:spcBef>
                <a:spcPts val="600"/>
              </a:spcBef>
              <a:buClr>
                <a:srgbClr val="595959"/>
              </a:buClr>
              <a:buFont typeface="Arial" pitchFamily="34" charset="0"/>
              <a:buChar char="‒"/>
              <a:defRPr>
                <a:solidFill>
                  <a:srgbClr val="595959"/>
                </a:solidFill>
                <a:latin typeface="Arial" pitchFamily="34" charset="0"/>
              </a:defRPr>
            </a:lvl2pPr>
            <a:lvl3pPr indent="-158750">
              <a:lnSpc>
                <a:spcPct val="85000"/>
              </a:lnSpc>
              <a:spcBef>
                <a:spcPts val="400"/>
              </a:spcBef>
              <a:buClr>
                <a:srgbClr val="1CBECA"/>
              </a:buClr>
              <a:buFont typeface="Arial" pitchFamily="34" charset="0"/>
              <a:buChar char="•"/>
              <a:defRPr sz="1600">
                <a:solidFill>
                  <a:srgbClr val="595959"/>
                </a:solidFill>
                <a:latin typeface="Arial" pitchFamily="34" charset="0"/>
              </a:defRPr>
            </a:lvl3pPr>
            <a:lvl4pPr indent="-149225">
              <a:lnSpc>
                <a:spcPct val="85000"/>
              </a:lnSpc>
              <a:buClr>
                <a:srgbClr val="1CBECA"/>
              </a:buClr>
              <a:buFont typeface="Arial" pitchFamily="34" charset="0"/>
              <a:buChar char="•"/>
              <a:defRPr sz="1400">
                <a:solidFill>
                  <a:srgbClr val="595959"/>
                </a:solidFill>
                <a:latin typeface="Arial" pitchFamily="34" charset="0"/>
              </a:defRPr>
            </a:lvl4pPr>
            <a:lvl5pPr indent="-141288">
              <a:lnSpc>
                <a:spcPct val="85000"/>
              </a:lnSpc>
              <a:buClr>
                <a:srgbClr val="1CBECA"/>
              </a:buClr>
              <a:buFont typeface="Arial" pitchFamily="34" charset="0"/>
              <a:buChar char="•"/>
              <a:defRPr sz="1400">
                <a:solidFill>
                  <a:srgbClr val="595959"/>
                </a:solidFill>
                <a:latin typeface="Arial" pitchFamily="34" charset="0"/>
              </a:defRPr>
            </a:lvl5pPr>
            <a:lvl6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6pPr>
            <a:lvl7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7pPr>
            <a:lvl8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8pPr>
            <a:lvl9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9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15</a:t>
            </a:r>
          </a:p>
        </p:txBody>
      </p:sp>
      <p:sp>
        <p:nvSpPr>
          <p:cNvPr id="26" name="TextBox 40"/>
          <p:cNvSpPr txBox="1">
            <a:spLocks noChangeArrowheads="1"/>
          </p:cNvSpPr>
          <p:nvPr/>
        </p:nvSpPr>
        <p:spPr bwMode="auto">
          <a:xfrm>
            <a:off x="5130036" y="5333376"/>
            <a:ext cx="203200"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lnSpc>
                <a:spcPct val="85000"/>
              </a:lnSpc>
              <a:spcBef>
                <a:spcPts val="1200"/>
              </a:spcBef>
              <a:buClr>
                <a:srgbClr val="1CBECA"/>
              </a:buClr>
              <a:buFont typeface="Arial" pitchFamily="34" charset="0"/>
              <a:buChar char="•"/>
              <a:defRPr sz="2000">
                <a:solidFill>
                  <a:srgbClr val="595959"/>
                </a:solidFill>
                <a:latin typeface="Arial" pitchFamily="34" charset="0"/>
              </a:defRPr>
            </a:lvl1pPr>
            <a:lvl2pPr indent="-263525">
              <a:lnSpc>
                <a:spcPct val="85000"/>
              </a:lnSpc>
              <a:spcBef>
                <a:spcPts val="600"/>
              </a:spcBef>
              <a:buClr>
                <a:srgbClr val="595959"/>
              </a:buClr>
              <a:buFont typeface="Arial" pitchFamily="34" charset="0"/>
              <a:buChar char="‒"/>
              <a:defRPr>
                <a:solidFill>
                  <a:srgbClr val="595959"/>
                </a:solidFill>
                <a:latin typeface="Arial" pitchFamily="34" charset="0"/>
              </a:defRPr>
            </a:lvl2pPr>
            <a:lvl3pPr indent="-158750">
              <a:lnSpc>
                <a:spcPct val="85000"/>
              </a:lnSpc>
              <a:spcBef>
                <a:spcPts val="400"/>
              </a:spcBef>
              <a:buClr>
                <a:srgbClr val="1CBECA"/>
              </a:buClr>
              <a:buFont typeface="Arial" pitchFamily="34" charset="0"/>
              <a:buChar char="•"/>
              <a:defRPr sz="1600">
                <a:solidFill>
                  <a:srgbClr val="595959"/>
                </a:solidFill>
                <a:latin typeface="Arial" pitchFamily="34" charset="0"/>
              </a:defRPr>
            </a:lvl3pPr>
            <a:lvl4pPr indent="-149225">
              <a:lnSpc>
                <a:spcPct val="85000"/>
              </a:lnSpc>
              <a:buClr>
                <a:srgbClr val="1CBECA"/>
              </a:buClr>
              <a:buFont typeface="Arial" pitchFamily="34" charset="0"/>
              <a:buChar char="•"/>
              <a:defRPr sz="1400">
                <a:solidFill>
                  <a:srgbClr val="595959"/>
                </a:solidFill>
                <a:latin typeface="Arial" pitchFamily="34" charset="0"/>
              </a:defRPr>
            </a:lvl4pPr>
            <a:lvl5pPr indent="-141288">
              <a:lnSpc>
                <a:spcPct val="85000"/>
              </a:lnSpc>
              <a:buClr>
                <a:srgbClr val="1CBECA"/>
              </a:buClr>
              <a:buFont typeface="Arial" pitchFamily="34" charset="0"/>
              <a:buChar char="•"/>
              <a:defRPr sz="1400">
                <a:solidFill>
                  <a:srgbClr val="595959"/>
                </a:solidFill>
                <a:latin typeface="Arial" pitchFamily="34" charset="0"/>
              </a:defRPr>
            </a:lvl5pPr>
            <a:lvl6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6pPr>
            <a:lvl7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7pPr>
            <a:lvl8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8pPr>
            <a:lvl9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9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18</a:t>
            </a:r>
          </a:p>
        </p:txBody>
      </p:sp>
      <p:sp>
        <p:nvSpPr>
          <p:cNvPr id="27" name="TextBox 41"/>
          <p:cNvSpPr txBox="1">
            <a:spLocks noChangeArrowheads="1"/>
          </p:cNvSpPr>
          <p:nvPr/>
        </p:nvSpPr>
        <p:spPr bwMode="auto">
          <a:xfrm>
            <a:off x="5653911" y="5333376"/>
            <a:ext cx="203200"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lnSpc>
                <a:spcPct val="85000"/>
              </a:lnSpc>
              <a:spcBef>
                <a:spcPts val="1200"/>
              </a:spcBef>
              <a:buClr>
                <a:srgbClr val="1CBECA"/>
              </a:buClr>
              <a:buFont typeface="Arial" pitchFamily="34" charset="0"/>
              <a:buChar char="•"/>
              <a:defRPr sz="2000">
                <a:solidFill>
                  <a:srgbClr val="595959"/>
                </a:solidFill>
                <a:latin typeface="Arial" pitchFamily="34" charset="0"/>
              </a:defRPr>
            </a:lvl1pPr>
            <a:lvl2pPr indent="-263525">
              <a:lnSpc>
                <a:spcPct val="85000"/>
              </a:lnSpc>
              <a:spcBef>
                <a:spcPts val="600"/>
              </a:spcBef>
              <a:buClr>
                <a:srgbClr val="595959"/>
              </a:buClr>
              <a:buFont typeface="Arial" pitchFamily="34" charset="0"/>
              <a:buChar char="‒"/>
              <a:defRPr>
                <a:solidFill>
                  <a:srgbClr val="595959"/>
                </a:solidFill>
                <a:latin typeface="Arial" pitchFamily="34" charset="0"/>
              </a:defRPr>
            </a:lvl2pPr>
            <a:lvl3pPr indent="-158750">
              <a:lnSpc>
                <a:spcPct val="85000"/>
              </a:lnSpc>
              <a:spcBef>
                <a:spcPts val="400"/>
              </a:spcBef>
              <a:buClr>
                <a:srgbClr val="1CBECA"/>
              </a:buClr>
              <a:buFont typeface="Arial" pitchFamily="34" charset="0"/>
              <a:buChar char="•"/>
              <a:defRPr sz="1600">
                <a:solidFill>
                  <a:srgbClr val="595959"/>
                </a:solidFill>
                <a:latin typeface="Arial" pitchFamily="34" charset="0"/>
              </a:defRPr>
            </a:lvl3pPr>
            <a:lvl4pPr indent="-149225">
              <a:lnSpc>
                <a:spcPct val="85000"/>
              </a:lnSpc>
              <a:buClr>
                <a:srgbClr val="1CBECA"/>
              </a:buClr>
              <a:buFont typeface="Arial" pitchFamily="34" charset="0"/>
              <a:buChar char="•"/>
              <a:defRPr sz="1400">
                <a:solidFill>
                  <a:srgbClr val="595959"/>
                </a:solidFill>
                <a:latin typeface="Arial" pitchFamily="34" charset="0"/>
              </a:defRPr>
            </a:lvl4pPr>
            <a:lvl5pPr indent="-141288">
              <a:lnSpc>
                <a:spcPct val="85000"/>
              </a:lnSpc>
              <a:buClr>
                <a:srgbClr val="1CBECA"/>
              </a:buClr>
              <a:buFont typeface="Arial" pitchFamily="34" charset="0"/>
              <a:buChar char="•"/>
              <a:defRPr sz="1400">
                <a:solidFill>
                  <a:srgbClr val="595959"/>
                </a:solidFill>
                <a:latin typeface="Arial" pitchFamily="34" charset="0"/>
              </a:defRPr>
            </a:lvl5pPr>
            <a:lvl6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6pPr>
            <a:lvl7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7pPr>
            <a:lvl8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8pPr>
            <a:lvl9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9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21</a:t>
            </a:r>
          </a:p>
        </p:txBody>
      </p:sp>
      <p:sp>
        <p:nvSpPr>
          <p:cNvPr id="28" name="TextBox 42"/>
          <p:cNvSpPr txBox="1">
            <a:spLocks noChangeArrowheads="1"/>
          </p:cNvSpPr>
          <p:nvPr/>
        </p:nvSpPr>
        <p:spPr bwMode="auto">
          <a:xfrm>
            <a:off x="6195249" y="5333376"/>
            <a:ext cx="201612"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lnSpc>
                <a:spcPct val="85000"/>
              </a:lnSpc>
              <a:spcBef>
                <a:spcPts val="1200"/>
              </a:spcBef>
              <a:buClr>
                <a:srgbClr val="1CBECA"/>
              </a:buClr>
              <a:buFont typeface="Arial" pitchFamily="34" charset="0"/>
              <a:buChar char="•"/>
              <a:defRPr sz="2000">
                <a:solidFill>
                  <a:srgbClr val="595959"/>
                </a:solidFill>
                <a:latin typeface="Arial" pitchFamily="34" charset="0"/>
              </a:defRPr>
            </a:lvl1pPr>
            <a:lvl2pPr indent="-263525">
              <a:lnSpc>
                <a:spcPct val="85000"/>
              </a:lnSpc>
              <a:spcBef>
                <a:spcPts val="600"/>
              </a:spcBef>
              <a:buClr>
                <a:srgbClr val="595959"/>
              </a:buClr>
              <a:buFont typeface="Arial" pitchFamily="34" charset="0"/>
              <a:buChar char="‒"/>
              <a:defRPr>
                <a:solidFill>
                  <a:srgbClr val="595959"/>
                </a:solidFill>
                <a:latin typeface="Arial" pitchFamily="34" charset="0"/>
              </a:defRPr>
            </a:lvl2pPr>
            <a:lvl3pPr indent="-158750">
              <a:lnSpc>
                <a:spcPct val="85000"/>
              </a:lnSpc>
              <a:spcBef>
                <a:spcPts val="400"/>
              </a:spcBef>
              <a:buClr>
                <a:srgbClr val="1CBECA"/>
              </a:buClr>
              <a:buFont typeface="Arial" pitchFamily="34" charset="0"/>
              <a:buChar char="•"/>
              <a:defRPr sz="1600">
                <a:solidFill>
                  <a:srgbClr val="595959"/>
                </a:solidFill>
                <a:latin typeface="Arial" pitchFamily="34" charset="0"/>
              </a:defRPr>
            </a:lvl3pPr>
            <a:lvl4pPr indent="-149225">
              <a:lnSpc>
                <a:spcPct val="85000"/>
              </a:lnSpc>
              <a:buClr>
                <a:srgbClr val="1CBECA"/>
              </a:buClr>
              <a:buFont typeface="Arial" pitchFamily="34" charset="0"/>
              <a:buChar char="•"/>
              <a:defRPr sz="1400">
                <a:solidFill>
                  <a:srgbClr val="595959"/>
                </a:solidFill>
                <a:latin typeface="Arial" pitchFamily="34" charset="0"/>
              </a:defRPr>
            </a:lvl4pPr>
            <a:lvl5pPr indent="-141288">
              <a:lnSpc>
                <a:spcPct val="85000"/>
              </a:lnSpc>
              <a:buClr>
                <a:srgbClr val="1CBECA"/>
              </a:buClr>
              <a:buFont typeface="Arial" pitchFamily="34" charset="0"/>
              <a:buChar char="•"/>
              <a:defRPr sz="1400">
                <a:solidFill>
                  <a:srgbClr val="595959"/>
                </a:solidFill>
                <a:latin typeface="Arial" pitchFamily="34" charset="0"/>
              </a:defRPr>
            </a:lvl5pPr>
            <a:lvl6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6pPr>
            <a:lvl7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7pPr>
            <a:lvl8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8pPr>
            <a:lvl9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9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24</a:t>
            </a:r>
          </a:p>
        </p:txBody>
      </p:sp>
      <p:sp>
        <p:nvSpPr>
          <p:cNvPr id="29" name="TextBox 43"/>
          <p:cNvSpPr txBox="1">
            <a:spLocks noChangeArrowheads="1"/>
          </p:cNvSpPr>
          <p:nvPr/>
        </p:nvSpPr>
        <p:spPr bwMode="auto">
          <a:xfrm>
            <a:off x="6717536" y="5333376"/>
            <a:ext cx="203200"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lnSpc>
                <a:spcPct val="85000"/>
              </a:lnSpc>
              <a:spcBef>
                <a:spcPts val="1200"/>
              </a:spcBef>
              <a:buClr>
                <a:srgbClr val="1CBECA"/>
              </a:buClr>
              <a:buFont typeface="Arial" pitchFamily="34" charset="0"/>
              <a:buChar char="•"/>
              <a:defRPr sz="2000">
                <a:solidFill>
                  <a:srgbClr val="595959"/>
                </a:solidFill>
                <a:latin typeface="Arial" pitchFamily="34" charset="0"/>
              </a:defRPr>
            </a:lvl1pPr>
            <a:lvl2pPr indent="-263525">
              <a:lnSpc>
                <a:spcPct val="85000"/>
              </a:lnSpc>
              <a:spcBef>
                <a:spcPts val="600"/>
              </a:spcBef>
              <a:buClr>
                <a:srgbClr val="595959"/>
              </a:buClr>
              <a:buFont typeface="Arial" pitchFamily="34" charset="0"/>
              <a:buChar char="‒"/>
              <a:defRPr>
                <a:solidFill>
                  <a:srgbClr val="595959"/>
                </a:solidFill>
                <a:latin typeface="Arial" pitchFamily="34" charset="0"/>
              </a:defRPr>
            </a:lvl2pPr>
            <a:lvl3pPr indent="-158750">
              <a:lnSpc>
                <a:spcPct val="85000"/>
              </a:lnSpc>
              <a:spcBef>
                <a:spcPts val="400"/>
              </a:spcBef>
              <a:buClr>
                <a:srgbClr val="1CBECA"/>
              </a:buClr>
              <a:buFont typeface="Arial" pitchFamily="34" charset="0"/>
              <a:buChar char="•"/>
              <a:defRPr sz="1600">
                <a:solidFill>
                  <a:srgbClr val="595959"/>
                </a:solidFill>
                <a:latin typeface="Arial" pitchFamily="34" charset="0"/>
              </a:defRPr>
            </a:lvl3pPr>
            <a:lvl4pPr indent="-149225">
              <a:lnSpc>
                <a:spcPct val="85000"/>
              </a:lnSpc>
              <a:buClr>
                <a:srgbClr val="1CBECA"/>
              </a:buClr>
              <a:buFont typeface="Arial" pitchFamily="34" charset="0"/>
              <a:buChar char="•"/>
              <a:defRPr sz="1400">
                <a:solidFill>
                  <a:srgbClr val="595959"/>
                </a:solidFill>
                <a:latin typeface="Arial" pitchFamily="34" charset="0"/>
              </a:defRPr>
            </a:lvl4pPr>
            <a:lvl5pPr indent="-141288">
              <a:lnSpc>
                <a:spcPct val="85000"/>
              </a:lnSpc>
              <a:buClr>
                <a:srgbClr val="1CBECA"/>
              </a:buClr>
              <a:buFont typeface="Arial" pitchFamily="34" charset="0"/>
              <a:buChar char="•"/>
              <a:defRPr sz="1400">
                <a:solidFill>
                  <a:srgbClr val="595959"/>
                </a:solidFill>
                <a:latin typeface="Arial" pitchFamily="34" charset="0"/>
              </a:defRPr>
            </a:lvl5pPr>
            <a:lvl6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6pPr>
            <a:lvl7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7pPr>
            <a:lvl8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8pPr>
            <a:lvl9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9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27</a:t>
            </a:r>
          </a:p>
        </p:txBody>
      </p:sp>
      <p:sp>
        <p:nvSpPr>
          <p:cNvPr id="30" name="TextBox 44"/>
          <p:cNvSpPr txBox="1">
            <a:spLocks noChangeArrowheads="1"/>
          </p:cNvSpPr>
          <p:nvPr/>
        </p:nvSpPr>
        <p:spPr bwMode="auto">
          <a:xfrm>
            <a:off x="1720086" y="5120651"/>
            <a:ext cx="223838"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lnSpc>
                <a:spcPct val="85000"/>
              </a:lnSpc>
              <a:spcBef>
                <a:spcPts val="1200"/>
              </a:spcBef>
              <a:buClr>
                <a:srgbClr val="1CBECA"/>
              </a:buClr>
              <a:buFont typeface="Arial" pitchFamily="34" charset="0"/>
              <a:buChar char="•"/>
              <a:defRPr sz="2000">
                <a:solidFill>
                  <a:srgbClr val="595959"/>
                </a:solidFill>
                <a:latin typeface="Arial" pitchFamily="34" charset="0"/>
              </a:defRPr>
            </a:lvl1pPr>
            <a:lvl2pPr indent="-263525">
              <a:lnSpc>
                <a:spcPct val="85000"/>
              </a:lnSpc>
              <a:spcBef>
                <a:spcPts val="600"/>
              </a:spcBef>
              <a:buClr>
                <a:srgbClr val="595959"/>
              </a:buClr>
              <a:buFont typeface="Arial" pitchFamily="34" charset="0"/>
              <a:buChar char="‒"/>
              <a:defRPr>
                <a:solidFill>
                  <a:srgbClr val="595959"/>
                </a:solidFill>
                <a:latin typeface="Arial" pitchFamily="34" charset="0"/>
              </a:defRPr>
            </a:lvl2pPr>
            <a:lvl3pPr indent="-158750">
              <a:lnSpc>
                <a:spcPct val="85000"/>
              </a:lnSpc>
              <a:spcBef>
                <a:spcPts val="400"/>
              </a:spcBef>
              <a:buClr>
                <a:srgbClr val="1CBECA"/>
              </a:buClr>
              <a:buFont typeface="Arial" pitchFamily="34" charset="0"/>
              <a:buChar char="•"/>
              <a:defRPr sz="1600">
                <a:solidFill>
                  <a:srgbClr val="595959"/>
                </a:solidFill>
                <a:latin typeface="Arial" pitchFamily="34" charset="0"/>
              </a:defRPr>
            </a:lvl3pPr>
            <a:lvl4pPr indent="-149225">
              <a:lnSpc>
                <a:spcPct val="85000"/>
              </a:lnSpc>
              <a:buClr>
                <a:srgbClr val="1CBECA"/>
              </a:buClr>
              <a:buFont typeface="Arial" pitchFamily="34" charset="0"/>
              <a:buChar char="•"/>
              <a:defRPr sz="1400">
                <a:solidFill>
                  <a:srgbClr val="595959"/>
                </a:solidFill>
                <a:latin typeface="Arial" pitchFamily="34" charset="0"/>
              </a:defRPr>
            </a:lvl4pPr>
            <a:lvl5pPr indent="-141288">
              <a:lnSpc>
                <a:spcPct val="85000"/>
              </a:lnSpc>
              <a:buClr>
                <a:srgbClr val="1CBECA"/>
              </a:buClr>
              <a:buFont typeface="Arial" pitchFamily="34" charset="0"/>
              <a:buChar char="•"/>
              <a:defRPr sz="1400">
                <a:solidFill>
                  <a:srgbClr val="595959"/>
                </a:solidFill>
                <a:latin typeface="Arial" pitchFamily="34" charset="0"/>
              </a:defRPr>
            </a:lvl5pPr>
            <a:lvl6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6pPr>
            <a:lvl7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7pPr>
            <a:lvl8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8pPr>
            <a:lvl9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zh-CN" sz="9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0.0</a:t>
            </a:r>
          </a:p>
        </p:txBody>
      </p:sp>
      <p:sp>
        <p:nvSpPr>
          <p:cNvPr id="31" name="TextBox 45"/>
          <p:cNvSpPr txBox="1">
            <a:spLocks noChangeArrowheads="1"/>
          </p:cNvSpPr>
          <p:nvPr/>
        </p:nvSpPr>
        <p:spPr bwMode="auto">
          <a:xfrm>
            <a:off x="1720086" y="4512639"/>
            <a:ext cx="22383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lnSpc>
                <a:spcPct val="85000"/>
              </a:lnSpc>
              <a:spcBef>
                <a:spcPts val="1200"/>
              </a:spcBef>
              <a:buClr>
                <a:srgbClr val="1CBECA"/>
              </a:buClr>
              <a:buFont typeface="Arial" pitchFamily="34" charset="0"/>
              <a:buChar char="•"/>
              <a:defRPr sz="2000">
                <a:solidFill>
                  <a:srgbClr val="595959"/>
                </a:solidFill>
                <a:latin typeface="Arial" pitchFamily="34" charset="0"/>
              </a:defRPr>
            </a:lvl1pPr>
            <a:lvl2pPr indent="-263525">
              <a:lnSpc>
                <a:spcPct val="85000"/>
              </a:lnSpc>
              <a:spcBef>
                <a:spcPts val="600"/>
              </a:spcBef>
              <a:buClr>
                <a:srgbClr val="595959"/>
              </a:buClr>
              <a:buFont typeface="Arial" pitchFamily="34" charset="0"/>
              <a:buChar char="‒"/>
              <a:defRPr>
                <a:solidFill>
                  <a:srgbClr val="595959"/>
                </a:solidFill>
                <a:latin typeface="Arial" pitchFamily="34" charset="0"/>
              </a:defRPr>
            </a:lvl2pPr>
            <a:lvl3pPr indent="-158750">
              <a:lnSpc>
                <a:spcPct val="85000"/>
              </a:lnSpc>
              <a:spcBef>
                <a:spcPts val="400"/>
              </a:spcBef>
              <a:buClr>
                <a:srgbClr val="1CBECA"/>
              </a:buClr>
              <a:buFont typeface="Arial" pitchFamily="34" charset="0"/>
              <a:buChar char="•"/>
              <a:defRPr sz="1600">
                <a:solidFill>
                  <a:srgbClr val="595959"/>
                </a:solidFill>
                <a:latin typeface="Arial" pitchFamily="34" charset="0"/>
              </a:defRPr>
            </a:lvl3pPr>
            <a:lvl4pPr indent="-149225">
              <a:lnSpc>
                <a:spcPct val="85000"/>
              </a:lnSpc>
              <a:buClr>
                <a:srgbClr val="1CBECA"/>
              </a:buClr>
              <a:buFont typeface="Arial" pitchFamily="34" charset="0"/>
              <a:buChar char="•"/>
              <a:defRPr sz="1400">
                <a:solidFill>
                  <a:srgbClr val="595959"/>
                </a:solidFill>
                <a:latin typeface="Arial" pitchFamily="34" charset="0"/>
              </a:defRPr>
            </a:lvl4pPr>
            <a:lvl5pPr indent="-141288">
              <a:lnSpc>
                <a:spcPct val="85000"/>
              </a:lnSpc>
              <a:buClr>
                <a:srgbClr val="1CBECA"/>
              </a:buClr>
              <a:buFont typeface="Arial" pitchFamily="34" charset="0"/>
              <a:buChar char="•"/>
              <a:defRPr sz="1400">
                <a:solidFill>
                  <a:srgbClr val="595959"/>
                </a:solidFill>
                <a:latin typeface="Arial" pitchFamily="34" charset="0"/>
              </a:defRPr>
            </a:lvl5pPr>
            <a:lvl6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6pPr>
            <a:lvl7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7pPr>
            <a:lvl8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8pPr>
            <a:lvl9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zh-CN" sz="9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0.2</a:t>
            </a:r>
          </a:p>
        </p:txBody>
      </p:sp>
      <p:sp>
        <p:nvSpPr>
          <p:cNvPr id="32" name="TextBox 46"/>
          <p:cNvSpPr txBox="1">
            <a:spLocks noChangeArrowheads="1"/>
          </p:cNvSpPr>
          <p:nvPr/>
        </p:nvSpPr>
        <p:spPr bwMode="auto">
          <a:xfrm>
            <a:off x="1720086" y="3904626"/>
            <a:ext cx="223838"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lnSpc>
                <a:spcPct val="85000"/>
              </a:lnSpc>
              <a:spcBef>
                <a:spcPts val="1200"/>
              </a:spcBef>
              <a:buClr>
                <a:srgbClr val="1CBECA"/>
              </a:buClr>
              <a:buFont typeface="Arial" pitchFamily="34" charset="0"/>
              <a:buChar char="•"/>
              <a:defRPr sz="2000">
                <a:solidFill>
                  <a:srgbClr val="595959"/>
                </a:solidFill>
                <a:latin typeface="Arial" pitchFamily="34" charset="0"/>
              </a:defRPr>
            </a:lvl1pPr>
            <a:lvl2pPr indent="-263525">
              <a:lnSpc>
                <a:spcPct val="85000"/>
              </a:lnSpc>
              <a:spcBef>
                <a:spcPts val="600"/>
              </a:spcBef>
              <a:buClr>
                <a:srgbClr val="595959"/>
              </a:buClr>
              <a:buFont typeface="Arial" pitchFamily="34" charset="0"/>
              <a:buChar char="‒"/>
              <a:defRPr>
                <a:solidFill>
                  <a:srgbClr val="595959"/>
                </a:solidFill>
                <a:latin typeface="Arial" pitchFamily="34" charset="0"/>
              </a:defRPr>
            </a:lvl2pPr>
            <a:lvl3pPr indent="-158750">
              <a:lnSpc>
                <a:spcPct val="85000"/>
              </a:lnSpc>
              <a:spcBef>
                <a:spcPts val="400"/>
              </a:spcBef>
              <a:buClr>
                <a:srgbClr val="1CBECA"/>
              </a:buClr>
              <a:buFont typeface="Arial" pitchFamily="34" charset="0"/>
              <a:buChar char="•"/>
              <a:defRPr sz="1600">
                <a:solidFill>
                  <a:srgbClr val="595959"/>
                </a:solidFill>
                <a:latin typeface="Arial" pitchFamily="34" charset="0"/>
              </a:defRPr>
            </a:lvl3pPr>
            <a:lvl4pPr indent="-149225">
              <a:lnSpc>
                <a:spcPct val="85000"/>
              </a:lnSpc>
              <a:buClr>
                <a:srgbClr val="1CBECA"/>
              </a:buClr>
              <a:buFont typeface="Arial" pitchFamily="34" charset="0"/>
              <a:buChar char="•"/>
              <a:defRPr sz="1400">
                <a:solidFill>
                  <a:srgbClr val="595959"/>
                </a:solidFill>
                <a:latin typeface="Arial" pitchFamily="34" charset="0"/>
              </a:defRPr>
            </a:lvl4pPr>
            <a:lvl5pPr indent="-141288">
              <a:lnSpc>
                <a:spcPct val="85000"/>
              </a:lnSpc>
              <a:buClr>
                <a:srgbClr val="1CBECA"/>
              </a:buClr>
              <a:buFont typeface="Arial" pitchFamily="34" charset="0"/>
              <a:buChar char="•"/>
              <a:defRPr sz="1400">
                <a:solidFill>
                  <a:srgbClr val="595959"/>
                </a:solidFill>
                <a:latin typeface="Arial" pitchFamily="34" charset="0"/>
              </a:defRPr>
            </a:lvl5pPr>
            <a:lvl6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6pPr>
            <a:lvl7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7pPr>
            <a:lvl8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8pPr>
            <a:lvl9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zh-CN" sz="9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0.4</a:t>
            </a:r>
          </a:p>
        </p:txBody>
      </p:sp>
      <p:sp>
        <p:nvSpPr>
          <p:cNvPr id="33" name="TextBox 47"/>
          <p:cNvSpPr txBox="1">
            <a:spLocks noChangeArrowheads="1"/>
          </p:cNvSpPr>
          <p:nvPr/>
        </p:nvSpPr>
        <p:spPr bwMode="auto">
          <a:xfrm>
            <a:off x="1720086" y="3287089"/>
            <a:ext cx="22383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lnSpc>
                <a:spcPct val="85000"/>
              </a:lnSpc>
              <a:spcBef>
                <a:spcPts val="1200"/>
              </a:spcBef>
              <a:buClr>
                <a:srgbClr val="1CBECA"/>
              </a:buClr>
              <a:buFont typeface="Arial" pitchFamily="34" charset="0"/>
              <a:buChar char="•"/>
              <a:defRPr sz="2000">
                <a:solidFill>
                  <a:srgbClr val="595959"/>
                </a:solidFill>
                <a:latin typeface="Arial" pitchFamily="34" charset="0"/>
              </a:defRPr>
            </a:lvl1pPr>
            <a:lvl2pPr indent="-263525">
              <a:lnSpc>
                <a:spcPct val="85000"/>
              </a:lnSpc>
              <a:spcBef>
                <a:spcPts val="600"/>
              </a:spcBef>
              <a:buClr>
                <a:srgbClr val="595959"/>
              </a:buClr>
              <a:buFont typeface="Arial" pitchFamily="34" charset="0"/>
              <a:buChar char="‒"/>
              <a:defRPr>
                <a:solidFill>
                  <a:srgbClr val="595959"/>
                </a:solidFill>
                <a:latin typeface="Arial" pitchFamily="34" charset="0"/>
              </a:defRPr>
            </a:lvl2pPr>
            <a:lvl3pPr indent="-158750">
              <a:lnSpc>
                <a:spcPct val="85000"/>
              </a:lnSpc>
              <a:spcBef>
                <a:spcPts val="400"/>
              </a:spcBef>
              <a:buClr>
                <a:srgbClr val="1CBECA"/>
              </a:buClr>
              <a:buFont typeface="Arial" pitchFamily="34" charset="0"/>
              <a:buChar char="•"/>
              <a:defRPr sz="1600">
                <a:solidFill>
                  <a:srgbClr val="595959"/>
                </a:solidFill>
                <a:latin typeface="Arial" pitchFamily="34" charset="0"/>
              </a:defRPr>
            </a:lvl3pPr>
            <a:lvl4pPr indent="-149225">
              <a:lnSpc>
                <a:spcPct val="85000"/>
              </a:lnSpc>
              <a:buClr>
                <a:srgbClr val="1CBECA"/>
              </a:buClr>
              <a:buFont typeface="Arial" pitchFamily="34" charset="0"/>
              <a:buChar char="•"/>
              <a:defRPr sz="1400">
                <a:solidFill>
                  <a:srgbClr val="595959"/>
                </a:solidFill>
                <a:latin typeface="Arial" pitchFamily="34" charset="0"/>
              </a:defRPr>
            </a:lvl4pPr>
            <a:lvl5pPr indent="-141288">
              <a:lnSpc>
                <a:spcPct val="85000"/>
              </a:lnSpc>
              <a:buClr>
                <a:srgbClr val="1CBECA"/>
              </a:buClr>
              <a:buFont typeface="Arial" pitchFamily="34" charset="0"/>
              <a:buChar char="•"/>
              <a:defRPr sz="1400">
                <a:solidFill>
                  <a:srgbClr val="595959"/>
                </a:solidFill>
                <a:latin typeface="Arial" pitchFamily="34" charset="0"/>
              </a:defRPr>
            </a:lvl5pPr>
            <a:lvl6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6pPr>
            <a:lvl7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7pPr>
            <a:lvl8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8pPr>
            <a:lvl9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zh-CN" sz="9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0.6</a:t>
            </a:r>
          </a:p>
        </p:txBody>
      </p:sp>
      <p:sp>
        <p:nvSpPr>
          <p:cNvPr id="34" name="TextBox 48"/>
          <p:cNvSpPr txBox="1">
            <a:spLocks noChangeArrowheads="1"/>
          </p:cNvSpPr>
          <p:nvPr/>
        </p:nvSpPr>
        <p:spPr bwMode="auto">
          <a:xfrm>
            <a:off x="1720086" y="2687014"/>
            <a:ext cx="22383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lnSpc>
                <a:spcPct val="85000"/>
              </a:lnSpc>
              <a:spcBef>
                <a:spcPts val="1200"/>
              </a:spcBef>
              <a:buClr>
                <a:srgbClr val="1CBECA"/>
              </a:buClr>
              <a:buFont typeface="Arial" pitchFamily="34" charset="0"/>
              <a:buChar char="•"/>
              <a:defRPr sz="2000">
                <a:solidFill>
                  <a:srgbClr val="595959"/>
                </a:solidFill>
                <a:latin typeface="Arial" pitchFamily="34" charset="0"/>
              </a:defRPr>
            </a:lvl1pPr>
            <a:lvl2pPr indent="-263525">
              <a:lnSpc>
                <a:spcPct val="85000"/>
              </a:lnSpc>
              <a:spcBef>
                <a:spcPts val="600"/>
              </a:spcBef>
              <a:buClr>
                <a:srgbClr val="595959"/>
              </a:buClr>
              <a:buFont typeface="Arial" pitchFamily="34" charset="0"/>
              <a:buChar char="‒"/>
              <a:defRPr>
                <a:solidFill>
                  <a:srgbClr val="595959"/>
                </a:solidFill>
                <a:latin typeface="Arial" pitchFamily="34" charset="0"/>
              </a:defRPr>
            </a:lvl2pPr>
            <a:lvl3pPr indent="-158750">
              <a:lnSpc>
                <a:spcPct val="85000"/>
              </a:lnSpc>
              <a:spcBef>
                <a:spcPts val="400"/>
              </a:spcBef>
              <a:buClr>
                <a:srgbClr val="1CBECA"/>
              </a:buClr>
              <a:buFont typeface="Arial" pitchFamily="34" charset="0"/>
              <a:buChar char="•"/>
              <a:defRPr sz="1600">
                <a:solidFill>
                  <a:srgbClr val="595959"/>
                </a:solidFill>
                <a:latin typeface="Arial" pitchFamily="34" charset="0"/>
              </a:defRPr>
            </a:lvl3pPr>
            <a:lvl4pPr indent="-149225">
              <a:lnSpc>
                <a:spcPct val="85000"/>
              </a:lnSpc>
              <a:buClr>
                <a:srgbClr val="1CBECA"/>
              </a:buClr>
              <a:buFont typeface="Arial" pitchFamily="34" charset="0"/>
              <a:buChar char="•"/>
              <a:defRPr sz="1400">
                <a:solidFill>
                  <a:srgbClr val="595959"/>
                </a:solidFill>
                <a:latin typeface="Arial" pitchFamily="34" charset="0"/>
              </a:defRPr>
            </a:lvl4pPr>
            <a:lvl5pPr indent="-141288">
              <a:lnSpc>
                <a:spcPct val="85000"/>
              </a:lnSpc>
              <a:buClr>
                <a:srgbClr val="1CBECA"/>
              </a:buClr>
              <a:buFont typeface="Arial" pitchFamily="34" charset="0"/>
              <a:buChar char="•"/>
              <a:defRPr sz="1400">
                <a:solidFill>
                  <a:srgbClr val="595959"/>
                </a:solidFill>
                <a:latin typeface="Arial" pitchFamily="34" charset="0"/>
              </a:defRPr>
            </a:lvl5pPr>
            <a:lvl6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6pPr>
            <a:lvl7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7pPr>
            <a:lvl8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8pPr>
            <a:lvl9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zh-CN" sz="9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0.8</a:t>
            </a:r>
          </a:p>
        </p:txBody>
      </p:sp>
      <p:sp>
        <p:nvSpPr>
          <p:cNvPr id="35" name="TextBox 49"/>
          <p:cNvSpPr txBox="1">
            <a:spLocks noChangeArrowheads="1"/>
          </p:cNvSpPr>
          <p:nvPr/>
        </p:nvSpPr>
        <p:spPr bwMode="auto">
          <a:xfrm>
            <a:off x="1720086" y="2082176"/>
            <a:ext cx="223838"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lnSpc>
                <a:spcPct val="85000"/>
              </a:lnSpc>
              <a:spcBef>
                <a:spcPts val="1200"/>
              </a:spcBef>
              <a:buClr>
                <a:srgbClr val="1CBECA"/>
              </a:buClr>
              <a:buFont typeface="Arial" pitchFamily="34" charset="0"/>
              <a:buChar char="•"/>
              <a:defRPr sz="2000">
                <a:solidFill>
                  <a:srgbClr val="595959"/>
                </a:solidFill>
                <a:latin typeface="Arial" pitchFamily="34" charset="0"/>
              </a:defRPr>
            </a:lvl1pPr>
            <a:lvl2pPr indent="-263525">
              <a:lnSpc>
                <a:spcPct val="85000"/>
              </a:lnSpc>
              <a:spcBef>
                <a:spcPts val="600"/>
              </a:spcBef>
              <a:buClr>
                <a:srgbClr val="595959"/>
              </a:buClr>
              <a:buFont typeface="Arial" pitchFamily="34" charset="0"/>
              <a:buChar char="‒"/>
              <a:defRPr>
                <a:solidFill>
                  <a:srgbClr val="595959"/>
                </a:solidFill>
                <a:latin typeface="Arial" pitchFamily="34" charset="0"/>
              </a:defRPr>
            </a:lvl2pPr>
            <a:lvl3pPr indent="-158750">
              <a:lnSpc>
                <a:spcPct val="85000"/>
              </a:lnSpc>
              <a:spcBef>
                <a:spcPts val="400"/>
              </a:spcBef>
              <a:buClr>
                <a:srgbClr val="1CBECA"/>
              </a:buClr>
              <a:buFont typeface="Arial" pitchFamily="34" charset="0"/>
              <a:buChar char="•"/>
              <a:defRPr sz="1600">
                <a:solidFill>
                  <a:srgbClr val="595959"/>
                </a:solidFill>
                <a:latin typeface="Arial" pitchFamily="34" charset="0"/>
              </a:defRPr>
            </a:lvl3pPr>
            <a:lvl4pPr indent="-149225">
              <a:lnSpc>
                <a:spcPct val="85000"/>
              </a:lnSpc>
              <a:buClr>
                <a:srgbClr val="1CBECA"/>
              </a:buClr>
              <a:buFont typeface="Arial" pitchFamily="34" charset="0"/>
              <a:buChar char="•"/>
              <a:defRPr sz="1400">
                <a:solidFill>
                  <a:srgbClr val="595959"/>
                </a:solidFill>
                <a:latin typeface="Arial" pitchFamily="34" charset="0"/>
              </a:defRPr>
            </a:lvl4pPr>
            <a:lvl5pPr indent="-141288">
              <a:lnSpc>
                <a:spcPct val="85000"/>
              </a:lnSpc>
              <a:buClr>
                <a:srgbClr val="1CBECA"/>
              </a:buClr>
              <a:buFont typeface="Arial" pitchFamily="34" charset="0"/>
              <a:buChar char="•"/>
              <a:defRPr sz="1400">
                <a:solidFill>
                  <a:srgbClr val="595959"/>
                </a:solidFill>
                <a:latin typeface="Arial" pitchFamily="34" charset="0"/>
              </a:defRPr>
            </a:lvl5pPr>
            <a:lvl6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6pPr>
            <a:lvl7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7pPr>
            <a:lvl8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8pPr>
            <a:lvl9pPr indent="-141288" fontAlgn="base">
              <a:lnSpc>
                <a:spcPct val="85000"/>
              </a:lnSpc>
              <a:spcBef>
                <a:spcPct val="0"/>
              </a:spcBef>
              <a:spcAft>
                <a:spcPct val="0"/>
              </a:spcAft>
              <a:buClr>
                <a:srgbClr val="1CBECA"/>
              </a:buClr>
              <a:buFont typeface="Arial" pitchFamily="34" charset="0"/>
              <a:buChar char="•"/>
              <a:defRPr sz="1400">
                <a:solidFill>
                  <a:srgbClr val="595959"/>
                </a:solidFill>
                <a:latin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zh-CN" sz="9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cs"/>
              </a:rPr>
              <a:t>1.0</a:t>
            </a:r>
          </a:p>
        </p:txBody>
      </p:sp>
      <p:sp>
        <p:nvSpPr>
          <p:cNvPr id="36" name="Freeform 38"/>
          <p:cNvSpPr/>
          <p:nvPr/>
        </p:nvSpPr>
        <p:spPr>
          <a:xfrm>
            <a:off x="2024886" y="2099639"/>
            <a:ext cx="4835525" cy="3133725"/>
          </a:xfrm>
          <a:custGeom>
            <a:avLst/>
            <a:gdLst>
              <a:gd name="connsiteX0" fmla="*/ 0 w 3384550"/>
              <a:gd name="connsiteY0" fmla="*/ 0 h 2590800"/>
              <a:gd name="connsiteX1" fmla="*/ 0 w 3384550"/>
              <a:gd name="connsiteY1" fmla="*/ 2590800 h 2590800"/>
              <a:gd name="connsiteX2" fmla="*/ 3384550 w 3384550"/>
              <a:gd name="connsiteY2" fmla="*/ 2590800 h 2590800"/>
            </a:gdLst>
            <a:ahLst/>
            <a:cxnLst>
              <a:cxn ang="0">
                <a:pos x="connsiteX0" y="connsiteY0"/>
              </a:cxn>
              <a:cxn ang="0">
                <a:pos x="connsiteX1" y="connsiteY1"/>
              </a:cxn>
              <a:cxn ang="0">
                <a:pos x="connsiteX2" y="connsiteY2"/>
              </a:cxn>
            </a:cxnLst>
            <a:rect l="l" t="t" r="r" b="b"/>
            <a:pathLst>
              <a:path w="3384550" h="2590800">
                <a:moveTo>
                  <a:pt x="0" y="0"/>
                </a:moveTo>
                <a:lnTo>
                  <a:pt x="0" y="2590800"/>
                </a:lnTo>
                <a:lnTo>
                  <a:pt x="3384550" y="2590800"/>
                </a:lnTo>
              </a:path>
            </a:pathLst>
          </a:custGeom>
          <a:noFill/>
          <a:ln w="12700" cap="rnd" cmpd="sng" algn="ctr">
            <a:solidFill>
              <a:sysClr val="windowText" lastClr="000000"/>
            </a:solidFill>
            <a:prstDash val="solid"/>
          </a:ln>
          <a:effectLst/>
        </p:spPr>
        <p:txBody>
          <a:bodyPr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cxnSp>
        <p:nvCxnSpPr>
          <p:cNvPr id="37" name="Straight Connector 39"/>
          <p:cNvCxnSpPr/>
          <p:nvPr/>
        </p:nvCxnSpPr>
        <p:spPr>
          <a:xfrm>
            <a:off x="5228461" y="5234951"/>
            <a:ext cx="0" cy="49213"/>
          </a:xfrm>
          <a:prstGeom prst="line">
            <a:avLst/>
          </a:prstGeom>
          <a:noFill/>
          <a:ln w="12700" cap="rnd" cmpd="sng" algn="ctr">
            <a:solidFill>
              <a:sysClr val="windowText" lastClr="000000"/>
            </a:solidFill>
            <a:prstDash val="solid"/>
          </a:ln>
          <a:effectLst/>
        </p:spPr>
      </p:cxnSp>
      <p:cxnSp>
        <p:nvCxnSpPr>
          <p:cNvPr id="38" name="Straight Connector 40"/>
          <p:cNvCxnSpPr/>
          <p:nvPr/>
        </p:nvCxnSpPr>
        <p:spPr>
          <a:xfrm>
            <a:off x="5750749" y="5234951"/>
            <a:ext cx="0" cy="49213"/>
          </a:xfrm>
          <a:prstGeom prst="line">
            <a:avLst/>
          </a:prstGeom>
          <a:noFill/>
          <a:ln w="12700" cap="rnd" cmpd="sng" algn="ctr">
            <a:solidFill>
              <a:sysClr val="windowText" lastClr="000000"/>
            </a:solidFill>
            <a:prstDash val="solid"/>
          </a:ln>
          <a:effectLst/>
        </p:spPr>
      </p:cxnSp>
      <p:cxnSp>
        <p:nvCxnSpPr>
          <p:cNvPr id="39" name="Straight Connector 41"/>
          <p:cNvCxnSpPr/>
          <p:nvPr/>
        </p:nvCxnSpPr>
        <p:spPr>
          <a:xfrm>
            <a:off x="6284149" y="5234951"/>
            <a:ext cx="0" cy="49213"/>
          </a:xfrm>
          <a:prstGeom prst="line">
            <a:avLst/>
          </a:prstGeom>
          <a:noFill/>
          <a:ln w="12700" cap="rnd" cmpd="sng" algn="ctr">
            <a:solidFill>
              <a:sysClr val="windowText" lastClr="000000"/>
            </a:solidFill>
            <a:prstDash val="solid"/>
          </a:ln>
          <a:effectLst/>
        </p:spPr>
      </p:cxnSp>
      <p:cxnSp>
        <p:nvCxnSpPr>
          <p:cNvPr id="40" name="Straight Connector 42"/>
          <p:cNvCxnSpPr/>
          <p:nvPr/>
        </p:nvCxnSpPr>
        <p:spPr>
          <a:xfrm>
            <a:off x="6811199" y="5234951"/>
            <a:ext cx="0" cy="49213"/>
          </a:xfrm>
          <a:prstGeom prst="line">
            <a:avLst/>
          </a:prstGeom>
          <a:noFill/>
          <a:ln w="12700" cap="rnd" cmpd="sng" algn="ctr">
            <a:solidFill>
              <a:sysClr val="windowText" lastClr="000000"/>
            </a:solidFill>
            <a:prstDash val="solid"/>
          </a:ln>
          <a:effectLst/>
        </p:spPr>
      </p:cxnSp>
      <p:grpSp>
        <p:nvGrpSpPr>
          <p:cNvPr id="45" name="Group 202"/>
          <p:cNvGrpSpPr>
            <a:grpSpLocks/>
          </p:cNvGrpSpPr>
          <p:nvPr/>
        </p:nvGrpSpPr>
        <p:grpSpPr bwMode="auto">
          <a:xfrm>
            <a:off x="2058224" y="2155201"/>
            <a:ext cx="4359275" cy="3033713"/>
            <a:chOff x="2363511" y="1712914"/>
            <a:chExt cx="4358296" cy="3033712"/>
          </a:xfrm>
        </p:grpSpPr>
        <p:grpSp>
          <p:nvGrpSpPr>
            <p:cNvPr id="46" name="Group 54"/>
            <p:cNvGrpSpPr>
              <a:grpSpLocks/>
            </p:cNvGrpSpPr>
            <p:nvPr/>
          </p:nvGrpSpPr>
          <p:grpSpPr bwMode="auto">
            <a:xfrm>
              <a:off x="5007942" y="3513348"/>
              <a:ext cx="37465" cy="37465"/>
              <a:chOff x="4553267" y="3050540"/>
              <a:chExt cx="37465" cy="37465"/>
            </a:xfrm>
          </p:grpSpPr>
          <p:cxnSp>
            <p:nvCxnSpPr>
              <p:cNvPr id="192" name="Straight Connector 55"/>
              <p:cNvCxnSpPr/>
              <p:nvPr/>
            </p:nvCxnSpPr>
            <p:spPr>
              <a:xfrm>
                <a:off x="4572063" y="3050330"/>
                <a:ext cx="0" cy="38100"/>
              </a:xfrm>
              <a:prstGeom prst="line">
                <a:avLst/>
              </a:prstGeom>
              <a:noFill/>
              <a:ln w="28575" cap="rnd" cmpd="sng" algn="ctr">
                <a:solidFill>
                  <a:srgbClr val="717073"/>
                </a:solidFill>
                <a:prstDash val="dash"/>
              </a:ln>
              <a:effectLst/>
            </p:spPr>
          </p:cxnSp>
          <p:cxnSp>
            <p:nvCxnSpPr>
              <p:cNvPr id="193" name="Straight Connector 56"/>
              <p:cNvCxnSpPr/>
              <p:nvPr/>
            </p:nvCxnSpPr>
            <p:spPr>
              <a:xfrm rot="16200000">
                <a:off x="4572063" y="3050334"/>
                <a:ext cx="0" cy="38092"/>
              </a:xfrm>
              <a:prstGeom prst="line">
                <a:avLst/>
              </a:prstGeom>
              <a:noFill/>
              <a:ln w="28575" cap="rnd" cmpd="sng" algn="ctr">
                <a:solidFill>
                  <a:srgbClr val="717073"/>
                </a:solidFill>
                <a:prstDash val="dash"/>
              </a:ln>
              <a:effectLst/>
            </p:spPr>
          </p:cxnSp>
        </p:grpSp>
        <p:grpSp>
          <p:nvGrpSpPr>
            <p:cNvPr id="47" name="Group 57"/>
            <p:cNvGrpSpPr>
              <a:grpSpLocks/>
            </p:cNvGrpSpPr>
            <p:nvPr/>
          </p:nvGrpSpPr>
          <p:grpSpPr bwMode="auto">
            <a:xfrm>
              <a:off x="5224997" y="3612639"/>
              <a:ext cx="37465" cy="37465"/>
              <a:chOff x="4553267" y="3050540"/>
              <a:chExt cx="37465" cy="37465"/>
            </a:xfrm>
          </p:grpSpPr>
          <p:cxnSp>
            <p:nvCxnSpPr>
              <p:cNvPr id="190" name="Straight Connector 58"/>
              <p:cNvCxnSpPr/>
              <p:nvPr/>
            </p:nvCxnSpPr>
            <p:spPr>
              <a:xfrm>
                <a:off x="4572446" y="3051052"/>
                <a:ext cx="0" cy="36512"/>
              </a:xfrm>
              <a:prstGeom prst="line">
                <a:avLst/>
              </a:prstGeom>
              <a:noFill/>
              <a:ln w="28575" cap="rnd" cmpd="sng" algn="ctr">
                <a:solidFill>
                  <a:srgbClr val="717073"/>
                </a:solidFill>
                <a:prstDash val="dash"/>
              </a:ln>
              <a:effectLst/>
            </p:spPr>
          </p:cxnSp>
          <p:cxnSp>
            <p:nvCxnSpPr>
              <p:cNvPr id="191" name="Straight Connector 59"/>
              <p:cNvCxnSpPr/>
              <p:nvPr/>
            </p:nvCxnSpPr>
            <p:spPr>
              <a:xfrm rot="16200000">
                <a:off x="4572446" y="3051056"/>
                <a:ext cx="0" cy="38092"/>
              </a:xfrm>
              <a:prstGeom prst="line">
                <a:avLst/>
              </a:prstGeom>
              <a:noFill/>
              <a:ln w="28575" cap="rnd" cmpd="sng" algn="ctr">
                <a:solidFill>
                  <a:srgbClr val="717073"/>
                </a:solidFill>
                <a:prstDash val="dash"/>
              </a:ln>
              <a:effectLst/>
            </p:spPr>
          </p:cxnSp>
        </p:grpSp>
        <p:grpSp>
          <p:nvGrpSpPr>
            <p:cNvPr id="48" name="Group 60"/>
            <p:cNvGrpSpPr>
              <a:grpSpLocks/>
            </p:cNvGrpSpPr>
            <p:nvPr/>
          </p:nvGrpSpPr>
          <p:grpSpPr bwMode="auto">
            <a:xfrm>
              <a:off x="5255015" y="3723475"/>
              <a:ext cx="37465" cy="37465"/>
              <a:chOff x="4553267" y="3050540"/>
              <a:chExt cx="37465" cy="37465"/>
            </a:xfrm>
          </p:grpSpPr>
          <p:cxnSp>
            <p:nvCxnSpPr>
              <p:cNvPr id="188" name="Straight Connector 61"/>
              <p:cNvCxnSpPr/>
              <p:nvPr/>
            </p:nvCxnSpPr>
            <p:spPr>
              <a:xfrm>
                <a:off x="4572584" y="3049753"/>
                <a:ext cx="0" cy="38100"/>
              </a:xfrm>
              <a:prstGeom prst="line">
                <a:avLst/>
              </a:prstGeom>
              <a:noFill/>
              <a:ln w="28575" cap="rnd" cmpd="sng" algn="ctr">
                <a:solidFill>
                  <a:srgbClr val="717073"/>
                </a:solidFill>
                <a:prstDash val="dash"/>
              </a:ln>
              <a:effectLst/>
            </p:spPr>
          </p:cxnSp>
          <p:cxnSp>
            <p:nvCxnSpPr>
              <p:cNvPr id="189" name="Straight Connector 62"/>
              <p:cNvCxnSpPr/>
              <p:nvPr/>
            </p:nvCxnSpPr>
            <p:spPr>
              <a:xfrm rot="16200000">
                <a:off x="4571790" y="3050551"/>
                <a:ext cx="0" cy="36504"/>
              </a:xfrm>
              <a:prstGeom prst="line">
                <a:avLst/>
              </a:prstGeom>
              <a:noFill/>
              <a:ln w="28575" cap="rnd" cmpd="sng" algn="ctr">
                <a:solidFill>
                  <a:srgbClr val="717073"/>
                </a:solidFill>
                <a:prstDash val="dash"/>
              </a:ln>
              <a:effectLst/>
            </p:spPr>
          </p:cxnSp>
        </p:grpSp>
        <p:grpSp>
          <p:nvGrpSpPr>
            <p:cNvPr id="49" name="Group 63"/>
            <p:cNvGrpSpPr>
              <a:grpSpLocks/>
            </p:cNvGrpSpPr>
            <p:nvPr/>
          </p:nvGrpSpPr>
          <p:grpSpPr bwMode="auto">
            <a:xfrm>
              <a:off x="5268869" y="3848166"/>
              <a:ext cx="37465" cy="37465"/>
              <a:chOff x="4553267" y="3050540"/>
              <a:chExt cx="37465" cy="37465"/>
            </a:xfrm>
          </p:grpSpPr>
          <p:cxnSp>
            <p:nvCxnSpPr>
              <p:cNvPr id="186" name="Straight Connector 64"/>
              <p:cNvCxnSpPr/>
              <p:nvPr/>
            </p:nvCxnSpPr>
            <p:spPr>
              <a:xfrm>
                <a:off x="4573014" y="3050475"/>
                <a:ext cx="0" cy="38100"/>
              </a:xfrm>
              <a:prstGeom prst="line">
                <a:avLst/>
              </a:prstGeom>
              <a:noFill/>
              <a:ln w="28575" cap="rnd" cmpd="sng" algn="ctr">
                <a:solidFill>
                  <a:srgbClr val="717073"/>
                </a:solidFill>
                <a:prstDash val="dash"/>
              </a:ln>
              <a:effectLst/>
            </p:spPr>
          </p:cxnSp>
          <p:cxnSp>
            <p:nvCxnSpPr>
              <p:cNvPr id="187" name="Straight Connector 65"/>
              <p:cNvCxnSpPr/>
              <p:nvPr/>
            </p:nvCxnSpPr>
            <p:spPr>
              <a:xfrm rot="16200000">
                <a:off x="4572221" y="3051272"/>
                <a:ext cx="0" cy="36505"/>
              </a:xfrm>
              <a:prstGeom prst="line">
                <a:avLst/>
              </a:prstGeom>
              <a:noFill/>
              <a:ln w="28575" cap="rnd" cmpd="sng" algn="ctr">
                <a:solidFill>
                  <a:srgbClr val="717073"/>
                </a:solidFill>
                <a:prstDash val="dash"/>
              </a:ln>
              <a:effectLst/>
            </p:spPr>
          </p:cxnSp>
        </p:grpSp>
        <p:grpSp>
          <p:nvGrpSpPr>
            <p:cNvPr id="50" name="Group 66"/>
            <p:cNvGrpSpPr>
              <a:grpSpLocks/>
            </p:cNvGrpSpPr>
            <p:nvPr/>
          </p:nvGrpSpPr>
          <p:grpSpPr bwMode="auto">
            <a:xfrm>
              <a:off x="5723760" y="4005184"/>
              <a:ext cx="37465" cy="37465"/>
              <a:chOff x="4553267" y="3050540"/>
              <a:chExt cx="37465" cy="37465"/>
            </a:xfrm>
          </p:grpSpPr>
          <p:cxnSp>
            <p:nvCxnSpPr>
              <p:cNvPr id="184" name="Straight Connector 67"/>
              <p:cNvCxnSpPr/>
              <p:nvPr/>
            </p:nvCxnSpPr>
            <p:spPr>
              <a:xfrm>
                <a:off x="4572046" y="3050619"/>
                <a:ext cx="0" cy="38100"/>
              </a:xfrm>
              <a:prstGeom prst="line">
                <a:avLst/>
              </a:prstGeom>
              <a:noFill/>
              <a:ln w="28575" cap="rnd" cmpd="sng" algn="ctr">
                <a:solidFill>
                  <a:srgbClr val="717073"/>
                </a:solidFill>
                <a:prstDash val="dash"/>
              </a:ln>
              <a:effectLst/>
            </p:spPr>
          </p:cxnSp>
          <p:cxnSp>
            <p:nvCxnSpPr>
              <p:cNvPr id="185" name="Straight Connector 68"/>
              <p:cNvCxnSpPr/>
              <p:nvPr/>
            </p:nvCxnSpPr>
            <p:spPr>
              <a:xfrm rot="16200000">
                <a:off x="4572046" y="3050623"/>
                <a:ext cx="0" cy="38092"/>
              </a:xfrm>
              <a:prstGeom prst="line">
                <a:avLst/>
              </a:prstGeom>
              <a:noFill/>
              <a:ln w="28575" cap="rnd" cmpd="sng" algn="ctr">
                <a:solidFill>
                  <a:srgbClr val="717073"/>
                </a:solidFill>
                <a:prstDash val="dash"/>
              </a:ln>
              <a:effectLst/>
            </p:spPr>
          </p:cxnSp>
        </p:grpSp>
        <p:grpSp>
          <p:nvGrpSpPr>
            <p:cNvPr id="51" name="Group 69"/>
            <p:cNvGrpSpPr>
              <a:grpSpLocks/>
            </p:cNvGrpSpPr>
            <p:nvPr/>
          </p:nvGrpSpPr>
          <p:grpSpPr bwMode="auto">
            <a:xfrm>
              <a:off x="5746851" y="4074457"/>
              <a:ext cx="37465" cy="37465"/>
              <a:chOff x="4553267" y="3050540"/>
              <a:chExt cx="37465" cy="37465"/>
            </a:xfrm>
          </p:grpSpPr>
          <p:cxnSp>
            <p:nvCxnSpPr>
              <p:cNvPr id="182" name="Straight Connector 70"/>
              <p:cNvCxnSpPr/>
              <p:nvPr/>
            </p:nvCxnSpPr>
            <p:spPr>
              <a:xfrm>
                <a:off x="4572763" y="3051196"/>
                <a:ext cx="0" cy="36513"/>
              </a:xfrm>
              <a:prstGeom prst="line">
                <a:avLst/>
              </a:prstGeom>
              <a:noFill/>
              <a:ln w="28575" cap="rnd" cmpd="sng" algn="ctr">
                <a:solidFill>
                  <a:srgbClr val="717073"/>
                </a:solidFill>
                <a:prstDash val="dash"/>
              </a:ln>
              <a:effectLst/>
            </p:spPr>
          </p:cxnSp>
          <p:cxnSp>
            <p:nvCxnSpPr>
              <p:cNvPr id="183" name="Straight Connector 71"/>
              <p:cNvCxnSpPr/>
              <p:nvPr/>
            </p:nvCxnSpPr>
            <p:spPr>
              <a:xfrm rot="16200000">
                <a:off x="4571969" y="3051994"/>
                <a:ext cx="0" cy="36504"/>
              </a:xfrm>
              <a:prstGeom prst="line">
                <a:avLst/>
              </a:prstGeom>
              <a:noFill/>
              <a:ln w="28575" cap="rnd" cmpd="sng" algn="ctr">
                <a:solidFill>
                  <a:srgbClr val="717073"/>
                </a:solidFill>
                <a:prstDash val="dash"/>
              </a:ln>
              <a:effectLst/>
            </p:spPr>
          </p:cxnSp>
        </p:grpSp>
        <p:grpSp>
          <p:nvGrpSpPr>
            <p:cNvPr id="52" name="Group 72"/>
            <p:cNvGrpSpPr>
              <a:grpSpLocks/>
            </p:cNvGrpSpPr>
            <p:nvPr/>
          </p:nvGrpSpPr>
          <p:grpSpPr bwMode="auto">
            <a:xfrm>
              <a:off x="5749160" y="4206075"/>
              <a:ext cx="37465" cy="37465"/>
              <a:chOff x="4553267" y="3050540"/>
              <a:chExt cx="37465" cy="37465"/>
            </a:xfrm>
          </p:grpSpPr>
          <p:cxnSp>
            <p:nvCxnSpPr>
              <p:cNvPr id="180" name="Straight Connector 73"/>
              <p:cNvCxnSpPr/>
              <p:nvPr/>
            </p:nvCxnSpPr>
            <p:spPr>
              <a:xfrm>
                <a:off x="4572040" y="3049753"/>
                <a:ext cx="0" cy="38100"/>
              </a:xfrm>
              <a:prstGeom prst="line">
                <a:avLst/>
              </a:prstGeom>
              <a:noFill/>
              <a:ln w="28575" cap="rnd" cmpd="sng" algn="ctr">
                <a:solidFill>
                  <a:srgbClr val="717073"/>
                </a:solidFill>
                <a:prstDash val="dash"/>
              </a:ln>
              <a:effectLst/>
            </p:spPr>
          </p:cxnSp>
          <p:cxnSp>
            <p:nvCxnSpPr>
              <p:cNvPr id="181" name="Straight Connector 74"/>
              <p:cNvCxnSpPr/>
              <p:nvPr/>
            </p:nvCxnSpPr>
            <p:spPr>
              <a:xfrm rot="16200000">
                <a:off x="4572040" y="3049757"/>
                <a:ext cx="0" cy="38092"/>
              </a:xfrm>
              <a:prstGeom prst="line">
                <a:avLst/>
              </a:prstGeom>
              <a:noFill/>
              <a:ln w="28575" cap="rnd" cmpd="sng" algn="ctr">
                <a:solidFill>
                  <a:srgbClr val="717073"/>
                </a:solidFill>
                <a:prstDash val="dash"/>
              </a:ln>
              <a:effectLst/>
            </p:spPr>
          </p:cxnSp>
        </p:grpSp>
        <p:grpSp>
          <p:nvGrpSpPr>
            <p:cNvPr id="53" name="Group 75"/>
            <p:cNvGrpSpPr>
              <a:grpSpLocks/>
            </p:cNvGrpSpPr>
            <p:nvPr/>
          </p:nvGrpSpPr>
          <p:grpSpPr bwMode="auto">
            <a:xfrm>
              <a:off x="5917723" y="4206075"/>
              <a:ext cx="37465" cy="37465"/>
              <a:chOff x="4553267" y="3050540"/>
              <a:chExt cx="37465" cy="37465"/>
            </a:xfrm>
          </p:grpSpPr>
          <p:cxnSp>
            <p:nvCxnSpPr>
              <p:cNvPr id="178" name="Straight Connector 76"/>
              <p:cNvCxnSpPr/>
              <p:nvPr/>
            </p:nvCxnSpPr>
            <p:spPr>
              <a:xfrm>
                <a:off x="4571715" y="3049753"/>
                <a:ext cx="0" cy="38100"/>
              </a:xfrm>
              <a:prstGeom prst="line">
                <a:avLst/>
              </a:prstGeom>
              <a:noFill/>
              <a:ln w="28575" cap="rnd" cmpd="sng" algn="ctr">
                <a:solidFill>
                  <a:srgbClr val="717073"/>
                </a:solidFill>
                <a:prstDash val="dash"/>
              </a:ln>
              <a:effectLst/>
            </p:spPr>
          </p:cxnSp>
          <p:cxnSp>
            <p:nvCxnSpPr>
              <p:cNvPr id="179" name="Straight Connector 77"/>
              <p:cNvCxnSpPr/>
              <p:nvPr/>
            </p:nvCxnSpPr>
            <p:spPr>
              <a:xfrm rot="16200000">
                <a:off x="4571715" y="3049757"/>
                <a:ext cx="0" cy="38092"/>
              </a:xfrm>
              <a:prstGeom prst="line">
                <a:avLst/>
              </a:prstGeom>
              <a:noFill/>
              <a:ln w="28575" cap="rnd" cmpd="sng" algn="ctr">
                <a:solidFill>
                  <a:srgbClr val="717073"/>
                </a:solidFill>
                <a:prstDash val="dash"/>
              </a:ln>
              <a:effectLst/>
            </p:spPr>
          </p:cxnSp>
        </p:grpSp>
        <p:grpSp>
          <p:nvGrpSpPr>
            <p:cNvPr id="54" name="Group 78"/>
            <p:cNvGrpSpPr>
              <a:grpSpLocks/>
            </p:cNvGrpSpPr>
            <p:nvPr/>
          </p:nvGrpSpPr>
          <p:grpSpPr bwMode="auto">
            <a:xfrm>
              <a:off x="6199433" y="4254565"/>
              <a:ext cx="37465" cy="37465"/>
              <a:chOff x="4553267" y="3050540"/>
              <a:chExt cx="37465" cy="37465"/>
            </a:xfrm>
          </p:grpSpPr>
          <p:cxnSp>
            <p:nvCxnSpPr>
              <p:cNvPr id="176" name="Straight Connector 79"/>
              <p:cNvCxnSpPr/>
              <p:nvPr/>
            </p:nvCxnSpPr>
            <p:spPr>
              <a:xfrm>
                <a:off x="4572516" y="3050476"/>
                <a:ext cx="0" cy="38100"/>
              </a:xfrm>
              <a:prstGeom prst="line">
                <a:avLst/>
              </a:prstGeom>
              <a:noFill/>
              <a:ln w="28575" cap="rnd" cmpd="sng" algn="ctr">
                <a:solidFill>
                  <a:srgbClr val="717073"/>
                </a:solidFill>
                <a:prstDash val="dash"/>
              </a:ln>
              <a:effectLst/>
            </p:spPr>
          </p:cxnSp>
          <p:cxnSp>
            <p:nvCxnSpPr>
              <p:cNvPr id="177" name="Straight Connector 80"/>
              <p:cNvCxnSpPr/>
              <p:nvPr/>
            </p:nvCxnSpPr>
            <p:spPr>
              <a:xfrm rot="16200000">
                <a:off x="4571723" y="3051273"/>
                <a:ext cx="0" cy="36505"/>
              </a:xfrm>
              <a:prstGeom prst="line">
                <a:avLst/>
              </a:prstGeom>
              <a:noFill/>
              <a:ln w="28575" cap="rnd" cmpd="sng" algn="ctr">
                <a:solidFill>
                  <a:srgbClr val="717073"/>
                </a:solidFill>
                <a:prstDash val="dash"/>
              </a:ln>
              <a:effectLst/>
            </p:spPr>
          </p:cxnSp>
        </p:grpSp>
        <p:grpSp>
          <p:nvGrpSpPr>
            <p:cNvPr id="55" name="Group 81"/>
            <p:cNvGrpSpPr>
              <a:grpSpLocks/>
            </p:cNvGrpSpPr>
            <p:nvPr/>
          </p:nvGrpSpPr>
          <p:grpSpPr bwMode="auto">
            <a:xfrm>
              <a:off x="6208669" y="4254565"/>
              <a:ext cx="37465" cy="37465"/>
              <a:chOff x="4553267" y="3050540"/>
              <a:chExt cx="37465" cy="37465"/>
            </a:xfrm>
          </p:grpSpPr>
          <p:cxnSp>
            <p:nvCxnSpPr>
              <p:cNvPr id="174" name="Straight Connector 82"/>
              <p:cNvCxnSpPr/>
              <p:nvPr/>
            </p:nvCxnSpPr>
            <p:spPr>
              <a:xfrm>
                <a:off x="4572803" y="3050476"/>
                <a:ext cx="0" cy="38100"/>
              </a:xfrm>
              <a:prstGeom prst="line">
                <a:avLst/>
              </a:prstGeom>
              <a:noFill/>
              <a:ln w="28575" cap="rnd" cmpd="sng" algn="ctr">
                <a:solidFill>
                  <a:srgbClr val="717073"/>
                </a:solidFill>
                <a:prstDash val="dash"/>
              </a:ln>
              <a:effectLst/>
            </p:spPr>
          </p:cxnSp>
          <p:cxnSp>
            <p:nvCxnSpPr>
              <p:cNvPr id="175" name="Straight Connector 83"/>
              <p:cNvCxnSpPr/>
              <p:nvPr/>
            </p:nvCxnSpPr>
            <p:spPr>
              <a:xfrm rot="16200000">
                <a:off x="4572010" y="3051273"/>
                <a:ext cx="0" cy="36505"/>
              </a:xfrm>
              <a:prstGeom prst="line">
                <a:avLst/>
              </a:prstGeom>
              <a:noFill/>
              <a:ln w="28575" cap="rnd" cmpd="sng" algn="ctr">
                <a:solidFill>
                  <a:srgbClr val="717073"/>
                </a:solidFill>
                <a:prstDash val="dash"/>
              </a:ln>
              <a:effectLst/>
            </p:spPr>
          </p:cxnSp>
        </p:grpSp>
        <p:grpSp>
          <p:nvGrpSpPr>
            <p:cNvPr id="56" name="Group 84"/>
            <p:cNvGrpSpPr>
              <a:grpSpLocks/>
            </p:cNvGrpSpPr>
            <p:nvPr/>
          </p:nvGrpSpPr>
          <p:grpSpPr bwMode="auto">
            <a:xfrm>
              <a:off x="6234069" y="4254565"/>
              <a:ext cx="37465" cy="37465"/>
              <a:chOff x="4553267" y="3050540"/>
              <a:chExt cx="37465" cy="37465"/>
            </a:xfrm>
          </p:grpSpPr>
          <p:cxnSp>
            <p:nvCxnSpPr>
              <p:cNvPr id="172" name="Straight Connector 85"/>
              <p:cNvCxnSpPr/>
              <p:nvPr/>
            </p:nvCxnSpPr>
            <p:spPr>
              <a:xfrm>
                <a:off x="4572798" y="3050476"/>
                <a:ext cx="0" cy="38100"/>
              </a:xfrm>
              <a:prstGeom prst="line">
                <a:avLst/>
              </a:prstGeom>
              <a:noFill/>
              <a:ln w="28575" cap="rnd" cmpd="sng" algn="ctr">
                <a:solidFill>
                  <a:srgbClr val="717073"/>
                </a:solidFill>
                <a:prstDash val="dash"/>
              </a:ln>
              <a:effectLst/>
            </p:spPr>
          </p:cxnSp>
          <p:cxnSp>
            <p:nvCxnSpPr>
              <p:cNvPr id="173" name="Straight Connector 86"/>
              <p:cNvCxnSpPr/>
              <p:nvPr/>
            </p:nvCxnSpPr>
            <p:spPr>
              <a:xfrm rot="16200000">
                <a:off x="4572005" y="3051273"/>
                <a:ext cx="0" cy="36505"/>
              </a:xfrm>
              <a:prstGeom prst="line">
                <a:avLst/>
              </a:prstGeom>
              <a:noFill/>
              <a:ln w="28575" cap="rnd" cmpd="sng" algn="ctr">
                <a:solidFill>
                  <a:srgbClr val="717073"/>
                </a:solidFill>
                <a:prstDash val="dash"/>
              </a:ln>
              <a:effectLst/>
            </p:spPr>
          </p:cxnSp>
        </p:grpSp>
        <p:grpSp>
          <p:nvGrpSpPr>
            <p:cNvPr id="57" name="Group 87"/>
            <p:cNvGrpSpPr>
              <a:grpSpLocks/>
            </p:cNvGrpSpPr>
            <p:nvPr/>
          </p:nvGrpSpPr>
          <p:grpSpPr bwMode="auto">
            <a:xfrm>
              <a:off x="6254851" y="4254565"/>
              <a:ext cx="37465" cy="37465"/>
              <a:chOff x="4553267" y="3050540"/>
              <a:chExt cx="37465" cy="37465"/>
            </a:xfrm>
          </p:grpSpPr>
          <p:cxnSp>
            <p:nvCxnSpPr>
              <p:cNvPr id="170" name="Straight Connector 88"/>
              <p:cNvCxnSpPr/>
              <p:nvPr/>
            </p:nvCxnSpPr>
            <p:spPr>
              <a:xfrm>
                <a:off x="4572649" y="3050476"/>
                <a:ext cx="0" cy="38100"/>
              </a:xfrm>
              <a:prstGeom prst="line">
                <a:avLst/>
              </a:prstGeom>
              <a:noFill/>
              <a:ln w="28575" cap="rnd" cmpd="sng" algn="ctr">
                <a:solidFill>
                  <a:srgbClr val="717073"/>
                </a:solidFill>
                <a:prstDash val="dash"/>
              </a:ln>
              <a:effectLst/>
            </p:spPr>
          </p:cxnSp>
          <p:cxnSp>
            <p:nvCxnSpPr>
              <p:cNvPr id="171" name="Straight Connector 89"/>
              <p:cNvCxnSpPr/>
              <p:nvPr/>
            </p:nvCxnSpPr>
            <p:spPr>
              <a:xfrm rot="16200000">
                <a:off x="4571855" y="3051274"/>
                <a:ext cx="0" cy="36504"/>
              </a:xfrm>
              <a:prstGeom prst="line">
                <a:avLst/>
              </a:prstGeom>
              <a:noFill/>
              <a:ln w="28575" cap="rnd" cmpd="sng" algn="ctr">
                <a:solidFill>
                  <a:srgbClr val="717073"/>
                </a:solidFill>
                <a:prstDash val="dash"/>
              </a:ln>
              <a:effectLst/>
            </p:spPr>
          </p:cxnSp>
        </p:grpSp>
        <p:grpSp>
          <p:nvGrpSpPr>
            <p:cNvPr id="58" name="Group 90"/>
            <p:cNvGrpSpPr>
              <a:grpSpLocks/>
            </p:cNvGrpSpPr>
            <p:nvPr/>
          </p:nvGrpSpPr>
          <p:grpSpPr bwMode="auto">
            <a:xfrm>
              <a:off x="6684342" y="4254565"/>
              <a:ext cx="37465" cy="37465"/>
              <a:chOff x="4553267" y="3050540"/>
              <a:chExt cx="37465" cy="37465"/>
            </a:xfrm>
          </p:grpSpPr>
          <p:cxnSp>
            <p:nvCxnSpPr>
              <p:cNvPr id="168" name="Straight Connector 91"/>
              <p:cNvCxnSpPr/>
              <p:nvPr/>
            </p:nvCxnSpPr>
            <p:spPr>
              <a:xfrm>
                <a:off x="4571686" y="3050476"/>
                <a:ext cx="0" cy="38100"/>
              </a:xfrm>
              <a:prstGeom prst="line">
                <a:avLst/>
              </a:prstGeom>
              <a:noFill/>
              <a:ln w="28575" cap="rnd" cmpd="sng" algn="ctr">
                <a:solidFill>
                  <a:srgbClr val="717073"/>
                </a:solidFill>
                <a:prstDash val="dash"/>
              </a:ln>
              <a:effectLst/>
            </p:spPr>
          </p:cxnSp>
          <p:cxnSp>
            <p:nvCxnSpPr>
              <p:cNvPr id="169" name="Straight Connector 92"/>
              <p:cNvCxnSpPr/>
              <p:nvPr/>
            </p:nvCxnSpPr>
            <p:spPr>
              <a:xfrm rot="16200000">
                <a:off x="4571686" y="3050480"/>
                <a:ext cx="0" cy="38092"/>
              </a:xfrm>
              <a:prstGeom prst="line">
                <a:avLst/>
              </a:prstGeom>
              <a:noFill/>
              <a:ln w="28575" cap="rnd" cmpd="sng" algn="ctr">
                <a:solidFill>
                  <a:srgbClr val="717073"/>
                </a:solidFill>
                <a:prstDash val="dash"/>
              </a:ln>
              <a:effectLst/>
            </p:spPr>
          </p:cxnSp>
        </p:grpSp>
        <p:grpSp>
          <p:nvGrpSpPr>
            <p:cNvPr id="59" name="Group 93"/>
            <p:cNvGrpSpPr>
              <a:grpSpLocks/>
            </p:cNvGrpSpPr>
            <p:nvPr/>
          </p:nvGrpSpPr>
          <p:grpSpPr bwMode="auto">
            <a:xfrm>
              <a:off x="4786269" y="3515657"/>
              <a:ext cx="37465" cy="37465"/>
              <a:chOff x="4553267" y="3050540"/>
              <a:chExt cx="37465" cy="37465"/>
            </a:xfrm>
          </p:grpSpPr>
          <p:cxnSp>
            <p:nvCxnSpPr>
              <p:cNvPr id="166" name="Straight Connector 94"/>
              <p:cNvCxnSpPr/>
              <p:nvPr/>
            </p:nvCxnSpPr>
            <p:spPr>
              <a:xfrm>
                <a:off x="4571536" y="3051196"/>
                <a:ext cx="0" cy="36513"/>
              </a:xfrm>
              <a:prstGeom prst="line">
                <a:avLst/>
              </a:prstGeom>
              <a:noFill/>
              <a:ln w="28575" cap="rnd" cmpd="sng" algn="ctr">
                <a:solidFill>
                  <a:srgbClr val="717073"/>
                </a:solidFill>
                <a:prstDash val="dash"/>
              </a:ln>
              <a:effectLst/>
            </p:spPr>
          </p:cxnSp>
          <p:cxnSp>
            <p:nvCxnSpPr>
              <p:cNvPr id="167" name="Straight Connector 95"/>
              <p:cNvCxnSpPr/>
              <p:nvPr/>
            </p:nvCxnSpPr>
            <p:spPr>
              <a:xfrm rot="16200000">
                <a:off x="4571536" y="3051200"/>
                <a:ext cx="0" cy="38092"/>
              </a:xfrm>
              <a:prstGeom prst="line">
                <a:avLst/>
              </a:prstGeom>
              <a:noFill/>
              <a:ln w="28575" cap="rnd" cmpd="sng" algn="ctr">
                <a:solidFill>
                  <a:srgbClr val="717073"/>
                </a:solidFill>
                <a:prstDash val="dash"/>
              </a:ln>
              <a:effectLst/>
            </p:spPr>
          </p:cxnSp>
        </p:grpSp>
        <p:grpSp>
          <p:nvGrpSpPr>
            <p:cNvPr id="60" name="Group 96"/>
            <p:cNvGrpSpPr>
              <a:grpSpLocks/>
            </p:cNvGrpSpPr>
            <p:nvPr/>
          </p:nvGrpSpPr>
          <p:grpSpPr bwMode="auto">
            <a:xfrm>
              <a:off x="4768793" y="3490516"/>
              <a:ext cx="37465" cy="37465"/>
              <a:chOff x="4553267" y="3050540"/>
              <a:chExt cx="37465" cy="37465"/>
            </a:xfrm>
          </p:grpSpPr>
          <p:cxnSp>
            <p:nvCxnSpPr>
              <p:cNvPr id="164" name="Straight Connector 97"/>
              <p:cNvCxnSpPr/>
              <p:nvPr/>
            </p:nvCxnSpPr>
            <p:spPr>
              <a:xfrm>
                <a:off x="4571553" y="3050937"/>
                <a:ext cx="0" cy="36513"/>
              </a:xfrm>
              <a:prstGeom prst="line">
                <a:avLst/>
              </a:prstGeom>
              <a:noFill/>
              <a:ln w="28575" cap="rnd" cmpd="sng" algn="ctr">
                <a:solidFill>
                  <a:srgbClr val="717073"/>
                </a:solidFill>
                <a:prstDash val="dash"/>
              </a:ln>
              <a:effectLst/>
            </p:spPr>
          </p:cxnSp>
          <p:cxnSp>
            <p:nvCxnSpPr>
              <p:cNvPr id="165" name="Straight Connector 98"/>
              <p:cNvCxnSpPr/>
              <p:nvPr/>
            </p:nvCxnSpPr>
            <p:spPr>
              <a:xfrm rot="16200000">
                <a:off x="4571553" y="3050941"/>
                <a:ext cx="0" cy="38092"/>
              </a:xfrm>
              <a:prstGeom prst="line">
                <a:avLst/>
              </a:prstGeom>
              <a:noFill/>
              <a:ln w="28575" cap="rnd" cmpd="sng" algn="ctr">
                <a:solidFill>
                  <a:srgbClr val="717073"/>
                </a:solidFill>
                <a:prstDash val="dash"/>
              </a:ln>
              <a:effectLst/>
            </p:spPr>
          </p:cxnSp>
        </p:grpSp>
        <p:grpSp>
          <p:nvGrpSpPr>
            <p:cNvPr id="61" name="Group 99"/>
            <p:cNvGrpSpPr>
              <a:grpSpLocks/>
            </p:cNvGrpSpPr>
            <p:nvPr/>
          </p:nvGrpSpPr>
          <p:grpSpPr bwMode="auto">
            <a:xfrm>
              <a:off x="4772603" y="3515281"/>
              <a:ext cx="37465" cy="37465"/>
              <a:chOff x="4553267" y="3050540"/>
              <a:chExt cx="37465" cy="37465"/>
            </a:xfrm>
          </p:grpSpPr>
          <p:cxnSp>
            <p:nvCxnSpPr>
              <p:cNvPr id="162" name="Straight Connector 100"/>
              <p:cNvCxnSpPr/>
              <p:nvPr/>
            </p:nvCxnSpPr>
            <p:spPr>
              <a:xfrm>
                <a:off x="4572505" y="3049985"/>
                <a:ext cx="0" cy="38100"/>
              </a:xfrm>
              <a:prstGeom prst="line">
                <a:avLst/>
              </a:prstGeom>
              <a:noFill/>
              <a:ln w="28575" cap="rnd" cmpd="sng" algn="ctr">
                <a:solidFill>
                  <a:srgbClr val="717073"/>
                </a:solidFill>
                <a:prstDash val="dash"/>
              </a:ln>
              <a:effectLst/>
            </p:spPr>
          </p:cxnSp>
          <p:cxnSp>
            <p:nvCxnSpPr>
              <p:cNvPr id="163" name="Straight Connector 101"/>
              <p:cNvCxnSpPr/>
              <p:nvPr/>
            </p:nvCxnSpPr>
            <p:spPr>
              <a:xfrm rot="16200000">
                <a:off x="4571711" y="3050783"/>
                <a:ext cx="0" cy="36504"/>
              </a:xfrm>
              <a:prstGeom prst="line">
                <a:avLst/>
              </a:prstGeom>
              <a:noFill/>
              <a:ln w="28575" cap="rnd" cmpd="sng" algn="ctr">
                <a:solidFill>
                  <a:srgbClr val="717073"/>
                </a:solidFill>
                <a:prstDash val="dash"/>
              </a:ln>
              <a:effectLst/>
            </p:spPr>
          </p:cxnSp>
        </p:grpSp>
        <p:grpSp>
          <p:nvGrpSpPr>
            <p:cNvPr id="62" name="Group 102"/>
            <p:cNvGrpSpPr>
              <a:grpSpLocks/>
            </p:cNvGrpSpPr>
            <p:nvPr/>
          </p:nvGrpSpPr>
          <p:grpSpPr bwMode="auto">
            <a:xfrm>
              <a:off x="4745052" y="3322848"/>
              <a:ext cx="37465" cy="37465"/>
              <a:chOff x="4553267" y="3050540"/>
              <a:chExt cx="37465" cy="37465"/>
            </a:xfrm>
          </p:grpSpPr>
          <p:cxnSp>
            <p:nvCxnSpPr>
              <p:cNvPr id="160" name="Straight Connector 103"/>
              <p:cNvCxnSpPr/>
              <p:nvPr/>
            </p:nvCxnSpPr>
            <p:spPr>
              <a:xfrm>
                <a:off x="4573074" y="3050330"/>
                <a:ext cx="0" cy="38100"/>
              </a:xfrm>
              <a:prstGeom prst="line">
                <a:avLst/>
              </a:prstGeom>
              <a:noFill/>
              <a:ln w="28575" cap="rnd" cmpd="sng" algn="ctr">
                <a:solidFill>
                  <a:srgbClr val="717073"/>
                </a:solidFill>
                <a:prstDash val="dash"/>
              </a:ln>
              <a:effectLst/>
            </p:spPr>
          </p:cxnSp>
          <p:cxnSp>
            <p:nvCxnSpPr>
              <p:cNvPr id="161" name="Straight Connector 104"/>
              <p:cNvCxnSpPr/>
              <p:nvPr/>
            </p:nvCxnSpPr>
            <p:spPr>
              <a:xfrm rot="16200000">
                <a:off x="4572281" y="3051127"/>
                <a:ext cx="0" cy="36505"/>
              </a:xfrm>
              <a:prstGeom prst="line">
                <a:avLst/>
              </a:prstGeom>
              <a:noFill/>
              <a:ln w="28575" cap="rnd" cmpd="sng" algn="ctr">
                <a:solidFill>
                  <a:srgbClr val="717073"/>
                </a:solidFill>
                <a:prstDash val="dash"/>
              </a:ln>
              <a:effectLst/>
            </p:spPr>
          </p:cxnSp>
        </p:grpSp>
        <p:grpSp>
          <p:nvGrpSpPr>
            <p:cNvPr id="63" name="Group 105"/>
            <p:cNvGrpSpPr>
              <a:grpSpLocks/>
            </p:cNvGrpSpPr>
            <p:nvPr/>
          </p:nvGrpSpPr>
          <p:grpSpPr bwMode="auto">
            <a:xfrm>
              <a:off x="4739337" y="3258078"/>
              <a:ext cx="37465" cy="37465"/>
              <a:chOff x="4553267" y="3050540"/>
              <a:chExt cx="37465" cy="37465"/>
            </a:xfrm>
          </p:grpSpPr>
          <p:cxnSp>
            <p:nvCxnSpPr>
              <p:cNvPr id="158" name="Straight Connector 106"/>
              <p:cNvCxnSpPr/>
              <p:nvPr/>
            </p:nvCxnSpPr>
            <p:spPr>
              <a:xfrm>
                <a:off x="4572440" y="3050013"/>
                <a:ext cx="0" cy="38100"/>
              </a:xfrm>
              <a:prstGeom prst="line">
                <a:avLst/>
              </a:prstGeom>
              <a:noFill/>
              <a:ln w="28575" cap="rnd" cmpd="sng" algn="ctr">
                <a:solidFill>
                  <a:srgbClr val="717073"/>
                </a:solidFill>
                <a:prstDash val="dash"/>
              </a:ln>
              <a:effectLst/>
            </p:spPr>
          </p:cxnSp>
          <p:cxnSp>
            <p:nvCxnSpPr>
              <p:cNvPr id="159" name="Straight Connector 107"/>
              <p:cNvCxnSpPr/>
              <p:nvPr/>
            </p:nvCxnSpPr>
            <p:spPr>
              <a:xfrm rot="16200000">
                <a:off x="4572440" y="3050017"/>
                <a:ext cx="0" cy="38092"/>
              </a:xfrm>
              <a:prstGeom prst="line">
                <a:avLst/>
              </a:prstGeom>
              <a:noFill/>
              <a:ln w="28575" cap="rnd" cmpd="sng" algn="ctr">
                <a:solidFill>
                  <a:srgbClr val="717073"/>
                </a:solidFill>
                <a:prstDash val="dash"/>
              </a:ln>
              <a:effectLst/>
            </p:spPr>
          </p:cxnSp>
        </p:grpSp>
        <p:grpSp>
          <p:nvGrpSpPr>
            <p:cNvPr id="64" name="Group 108"/>
            <p:cNvGrpSpPr>
              <a:grpSpLocks/>
            </p:cNvGrpSpPr>
            <p:nvPr/>
          </p:nvGrpSpPr>
          <p:grpSpPr bwMode="auto">
            <a:xfrm>
              <a:off x="4455492" y="3178068"/>
              <a:ext cx="37465" cy="37465"/>
              <a:chOff x="4553267" y="3050540"/>
              <a:chExt cx="37465" cy="37465"/>
            </a:xfrm>
          </p:grpSpPr>
          <p:cxnSp>
            <p:nvCxnSpPr>
              <p:cNvPr id="156" name="Straight Connector 109"/>
              <p:cNvCxnSpPr/>
              <p:nvPr/>
            </p:nvCxnSpPr>
            <p:spPr>
              <a:xfrm>
                <a:off x="4572187" y="3050649"/>
                <a:ext cx="0" cy="38100"/>
              </a:xfrm>
              <a:prstGeom prst="line">
                <a:avLst/>
              </a:prstGeom>
              <a:noFill/>
              <a:ln w="28575" cap="rnd" cmpd="sng" algn="ctr">
                <a:solidFill>
                  <a:srgbClr val="717073"/>
                </a:solidFill>
                <a:prstDash val="dash"/>
              </a:ln>
              <a:effectLst/>
            </p:spPr>
          </p:cxnSp>
          <p:cxnSp>
            <p:nvCxnSpPr>
              <p:cNvPr id="157" name="Straight Connector 110"/>
              <p:cNvCxnSpPr/>
              <p:nvPr/>
            </p:nvCxnSpPr>
            <p:spPr>
              <a:xfrm rot="16200000">
                <a:off x="4572187" y="3050653"/>
                <a:ext cx="0" cy="38092"/>
              </a:xfrm>
              <a:prstGeom prst="line">
                <a:avLst/>
              </a:prstGeom>
              <a:noFill/>
              <a:ln w="28575" cap="rnd" cmpd="sng" algn="ctr">
                <a:solidFill>
                  <a:srgbClr val="717073"/>
                </a:solidFill>
                <a:prstDash val="dash"/>
              </a:ln>
              <a:effectLst/>
            </p:spPr>
          </p:cxnSp>
        </p:grpSp>
        <p:grpSp>
          <p:nvGrpSpPr>
            <p:cNvPr id="65" name="Group 111"/>
            <p:cNvGrpSpPr>
              <a:grpSpLocks/>
            </p:cNvGrpSpPr>
            <p:nvPr/>
          </p:nvGrpSpPr>
          <p:grpSpPr bwMode="auto">
            <a:xfrm>
              <a:off x="4421202" y="3178068"/>
              <a:ext cx="37465" cy="37465"/>
              <a:chOff x="4553267" y="3050540"/>
              <a:chExt cx="37465" cy="37465"/>
            </a:xfrm>
          </p:grpSpPr>
          <p:cxnSp>
            <p:nvCxnSpPr>
              <p:cNvPr id="154" name="Straight Connector 112"/>
              <p:cNvCxnSpPr/>
              <p:nvPr/>
            </p:nvCxnSpPr>
            <p:spPr>
              <a:xfrm>
                <a:off x="4571560" y="3050649"/>
                <a:ext cx="0" cy="38100"/>
              </a:xfrm>
              <a:prstGeom prst="line">
                <a:avLst/>
              </a:prstGeom>
              <a:noFill/>
              <a:ln w="28575" cap="rnd" cmpd="sng" algn="ctr">
                <a:solidFill>
                  <a:srgbClr val="717073"/>
                </a:solidFill>
                <a:prstDash val="dash"/>
              </a:ln>
              <a:effectLst/>
            </p:spPr>
          </p:cxnSp>
          <p:cxnSp>
            <p:nvCxnSpPr>
              <p:cNvPr id="155" name="Straight Connector 113"/>
              <p:cNvCxnSpPr/>
              <p:nvPr/>
            </p:nvCxnSpPr>
            <p:spPr>
              <a:xfrm rot="16200000">
                <a:off x="4571560" y="3050653"/>
                <a:ext cx="0" cy="38092"/>
              </a:xfrm>
              <a:prstGeom prst="line">
                <a:avLst/>
              </a:prstGeom>
              <a:noFill/>
              <a:ln w="28575" cap="rnd" cmpd="sng" algn="ctr">
                <a:solidFill>
                  <a:srgbClr val="717073"/>
                </a:solidFill>
                <a:prstDash val="dash"/>
              </a:ln>
              <a:effectLst/>
            </p:spPr>
          </p:cxnSp>
        </p:grpSp>
        <p:grpSp>
          <p:nvGrpSpPr>
            <p:cNvPr id="66" name="Group 114"/>
            <p:cNvGrpSpPr>
              <a:grpSpLocks/>
            </p:cNvGrpSpPr>
            <p:nvPr/>
          </p:nvGrpSpPr>
          <p:grpSpPr bwMode="auto">
            <a:xfrm>
              <a:off x="4295472" y="3035193"/>
              <a:ext cx="37465" cy="37465"/>
              <a:chOff x="4553267" y="3050540"/>
              <a:chExt cx="37465" cy="37465"/>
            </a:xfrm>
          </p:grpSpPr>
          <p:cxnSp>
            <p:nvCxnSpPr>
              <p:cNvPr id="152" name="Straight Connector 115"/>
              <p:cNvCxnSpPr/>
              <p:nvPr/>
            </p:nvCxnSpPr>
            <p:spPr>
              <a:xfrm>
                <a:off x="4571905" y="3050649"/>
                <a:ext cx="0" cy="38100"/>
              </a:xfrm>
              <a:prstGeom prst="line">
                <a:avLst/>
              </a:prstGeom>
              <a:noFill/>
              <a:ln w="28575" cap="rnd" cmpd="sng" algn="ctr">
                <a:solidFill>
                  <a:srgbClr val="717073"/>
                </a:solidFill>
                <a:prstDash val="dash"/>
              </a:ln>
              <a:effectLst/>
            </p:spPr>
          </p:cxnSp>
          <p:cxnSp>
            <p:nvCxnSpPr>
              <p:cNvPr id="153" name="Straight Connector 116"/>
              <p:cNvCxnSpPr/>
              <p:nvPr/>
            </p:nvCxnSpPr>
            <p:spPr>
              <a:xfrm rot="16200000">
                <a:off x="4571905" y="3050653"/>
                <a:ext cx="0" cy="38092"/>
              </a:xfrm>
              <a:prstGeom prst="line">
                <a:avLst/>
              </a:prstGeom>
              <a:noFill/>
              <a:ln w="28575" cap="rnd" cmpd="sng" algn="ctr">
                <a:solidFill>
                  <a:srgbClr val="717073"/>
                </a:solidFill>
                <a:prstDash val="dash"/>
              </a:ln>
              <a:effectLst/>
            </p:spPr>
          </p:cxnSp>
        </p:grpSp>
        <p:grpSp>
          <p:nvGrpSpPr>
            <p:cNvPr id="67" name="Group 117"/>
            <p:cNvGrpSpPr>
              <a:grpSpLocks/>
            </p:cNvGrpSpPr>
            <p:nvPr/>
          </p:nvGrpSpPr>
          <p:grpSpPr bwMode="auto">
            <a:xfrm>
              <a:off x="4284042" y="3035193"/>
              <a:ext cx="37465" cy="37465"/>
              <a:chOff x="4553267" y="3050540"/>
              <a:chExt cx="37465" cy="37465"/>
            </a:xfrm>
          </p:grpSpPr>
          <p:cxnSp>
            <p:nvCxnSpPr>
              <p:cNvPr id="150" name="Straight Connector 118"/>
              <p:cNvCxnSpPr/>
              <p:nvPr/>
            </p:nvCxnSpPr>
            <p:spPr>
              <a:xfrm>
                <a:off x="4572226" y="3050649"/>
                <a:ext cx="0" cy="38100"/>
              </a:xfrm>
              <a:prstGeom prst="line">
                <a:avLst/>
              </a:prstGeom>
              <a:noFill/>
              <a:ln w="28575" cap="rnd" cmpd="sng" algn="ctr">
                <a:solidFill>
                  <a:srgbClr val="717073"/>
                </a:solidFill>
                <a:prstDash val="dash"/>
              </a:ln>
              <a:effectLst/>
            </p:spPr>
          </p:cxnSp>
          <p:cxnSp>
            <p:nvCxnSpPr>
              <p:cNvPr id="151" name="Straight Connector 119"/>
              <p:cNvCxnSpPr/>
              <p:nvPr/>
            </p:nvCxnSpPr>
            <p:spPr>
              <a:xfrm rot="16200000">
                <a:off x="4572226" y="3050653"/>
                <a:ext cx="0" cy="38092"/>
              </a:xfrm>
              <a:prstGeom prst="line">
                <a:avLst/>
              </a:prstGeom>
              <a:noFill/>
              <a:ln w="28575" cap="rnd" cmpd="sng" algn="ctr">
                <a:solidFill>
                  <a:srgbClr val="717073"/>
                </a:solidFill>
                <a:prstDash val="dash"/>
              </a:ln>
              <a:effectLst/>
            </p:spPr>
          </p:cxnSp>
        </p:grpSp>
        <p:grpSp>
          <p:nvGrpSpPr>
            <p:cNvPr id="68" name="Group 120"/>
            <p:cNvGrpSpPr>
              <a:grpSpLocks/>
            </p:cNvGrpSpPr>
            <p:nvPr/>
          </p:nvGrpSpPr>
          <p:grpSpPr bwMode="auto">
            <a:xfrm>
              <a:off x="4055442" y="2928513"/>
              <a:ext cx="37465" cy="37465"/>
              <a:chOff x="4553267" y="3050540"/>
              <a:chExt cx="37465" cy="37465"/>
            </a:xfrm>
          </p:grpSpPr>
          <p:cxnSp>
            <p:nvCxnSpPr>
              <p:cNvPr id="148" name="Straight Connector 121"/>
              <p:cNvCxnSpPr/>
              <p:nvPr/>
            </p:nvCxnSpPr>
            <p:spPr>
              <a:xfrm>
                <a:off x="4572277" y="3050966"/>
                <a:ext cx="0" cy="36513"/>
              </a:xfrm>
              <a:prstGeom prst="line">
                <a:avLst/>
              </a:prstGeom>
              <a:noFill/>
              <a:ln w="28575" cap="rnd" cmpd="sng" algn="ctr">
                <a:solidFill>
                  <a:srgbClr val="717073"/>
                </a:solidFill>
                <a:prstDash val="dash"/>
              </a:ln>
              <a:effectLst/>
            </p:spPr>
          </p:cxnSp>
          <p:cxnSp>
            <p:nvCxnSpPr>
              <p:cNvPr id="149" name="Straight Connector 122"/>
              <p:cNvCxnSpPr/>
              <p:nvPr/>
            </p:nvCxnSpPr>
            <p:spPr>
              <a:xfrm rot="16200000">
                <a:off x="4572277" y="3050970"/>
                <a:ext cx="0" cy="38092"/>
              </a:xfrm>
              <a:prstGeom prst="line">
                <a:avLst/>
              </a:prstGeom>
              <a:noFill/>
              <a:ln w="28575" cap="rnd" cmpd="sng" algn="ctr">
                <a:solidFill>
                  <a:srgbClr val="717073"/>
                </a:solidFill>
                <a:prstDash val="dash"/>
              </a:ln>
              <a:effectLst/>
            </p:spPr>
          </p:cxnSp>
        </p:grpSp>
        <p:grpSp>
          <p:nvGrpSpPr>
            <p:cNvPr id="69" name="Group 123"/>
            <p:cNvGrpSpPr>
              <a:grpSpLocks/>
            </p:cNvGrpSpPr>
            <p:nvPr/>
          </p:nvGrpSpPr>
          <p:grpSpPr bwMode="auto">
            <a:xfrm>
              <a:off x="4042107" y="2888508"/>
              <a:ext cx="37465" cy="37465"/>
              <a:chOff x="4553267" y="3050540"/>
              <a:chExt cx="37465" cy="37465"/>
            </a:xfrm>
          </p:grpSpPr>
          <p:cxnSp>
            <p:nvCxnSpPr>
              <p:cNvPr id="146" name="Straight Connector 124"/>
              <p:cNvCxnSpPr/>
              <p:nvPr/>
            </p:nvCxnSpPr>
            <p:spPr>
              <a:xfrm>
                <a:off x="4572915" y="3051284"/>
                <a:ext cx="0" cy="36512"/>
              </a:xfrm>
              <a:prstGeom prst="line">
                <a:avLst/>
              </a:prstGeom>
              <a:noFill/>
              <a:ln w="28575" cap="rnd" cmpd="sng" algn="ctr">
                <a:solidFill>
                  <a:srgbClr val="717073"/>
                </a:solidFill>
                <a:prstDash val="dash"/>
              </a:ln>
              <a:effectLst/>
            </p:spPr>
          </p:cxnSp>
          <p:cxnSp>
            <p:nvCxnSpPr>
              <p:cNvPr id="147" name="Straight Connector 125"/>
              <p:cNvCxnSpPr/>
              <p:nvPr/>
            </p:nvCxnSpPr>
            <p:spPr>
              <a:xfrm rot="16200000">
                <a:off x="4572121" y="3052082"/>
                <a:ext cx="0" cy="36504"/>
              </a:xfrm>
              <a:prstGeom prst="line">
                <a:avLst/>
              </a:prstGeom>
              <a:noFill/>
              <a:ln w="28575" cap="rnd" cmpd="sng" algn="ctr">
                <a:solidFill>
                  <a:srgbClr val="717073"/>
                </a:solidFill>
                <a:prstDash val="dash"/>
              </a:ln>
              <a:effectLst/>
            </p:spPr>
          </p:cxnSp>
        </p:grpSp>
        <p:grpSp>
          <p:nvGrpSpPr>
            <p:cNvPr id="70" name="Group 126"/>
            <p:cNvGrpSpPr>
              <a:grpSpLocks/>
            </p:cNvGrpSpPr>
            <p:nvPr/>
          </p:nvGrpSpPr>
          <p:grpSpPr bwMode="auto">
            <a:xfrm>
              <a:off x="4026867" y="2838978"/>
              <a:ext cx="37465" cy="37465"/>
              <a:chOff x="4553267" y="3050540"/>
              <a:chExt cx="37465" cy="37465"/>
            </a:xfrm>
          </p:grpSpPr>
          <p:cxnSp>
            <p:nvCxnSpPr>
              <p:cNvPr id="144" name="Straight Connector 127"/>
              <p:cNvCxnSpPr/>
              <p:nvPr/>
            </p:nvCxnSpPr>
            <p:spPr>
              <a:xfrm>
                <a:off x="4572283" y="3050014"/>
                <a:ext cx="0" cy="38100"/>
              </a:xfrm>
              <a:prstGeom prst="line">
                <a:avLst/>
              </a:prstGeom>
              <a:noFill/>
              <a:ln w="28575" cap="rnd" cmpd="sng" algn="ctr">
                <a:solidFill>
                  <a:srgbClr val="717073"/>
                </a:solidFill>
                <a:prstDash val="dash"/>
              </a:ln>
              <a:effectLst/>
            </p:spPr>
          </p:cxnSp>
          <p:cxnSp>
            <p:nvCxnSpPr>
              <p:cNvPr id="145" name="Straight Connector 128"/>
              <p:cNvCxnSpPr/>
              <p:nvPr/>
            </p:nvCxnSpPr>
            <p:spPr>
              <a:xfrm rot="16200000">
                <a:off x="4572283" y="3050018"/>
                <a:ext cx="0" cy="38092"/>
              </a:xfrm>
              <a:prstGeom prst="line">
                <a:avLst/>
              </a:prstGeom>
              <a:noFill/>
              <a:ln w="28575" cap="rnd" cmpd="sng" algn="ctr">
                <a:solidFill>
                  <a:srgbClr val="717073"/>
                </a:solidFill>
                <a:prstDash val="dash"/>
              </a:ln>
              <a:effectLst/>
            </p:spPr>
          </p:cxnSp>
        </p:grpSp>
        <p:grpSp>
          <p:nvGrpSpPr>
            <p:cNvPr id="71" name="Group 129"/>
            <p:cNvGrpSpPr>
              <a:grpSpLocks/>
            </p:cNvGrpSpPr>
            <p:nvPr/>
          </p:nvGrpSpPr>
          <p:grpSpPr bwMode="auto">
            <a:xfrm>
              <a:off x="3805887" y="2736108"/>
              <a:ext cx="37465" cy="37465"/>
              <a:chOff x="4553267" y="3050540"/>
              <a:chExt cx="37465" cy="37465"/>
            </a:xfrm>
          </p:grpSpPr>
          <p:cxnSp>
            <p:nvCxnSpPr>
              <p:cNvPr id="142" name="Straight Connector 130"/>
              <p:cNvCxnSpPr/>
              <p:nvPr/>
            </p:nvCxnSpPr>
            <p:spPr>
              <a:xfrm>
                <a:off x="4572650" y="3051284"/>
                <a:ext cx="0" cy="36512"/>
              </a:xfrm>
              <a:prstGeom prst="line">
                <a:avLst/>
              </a:prstGeom>
              <a:noFill/>
              <a:ln w="28575" cap="rnd" cmpd="sng" algn="ctr">
                <a:solidFill>
                  <a:srgbClr val="717073"/>
                </a:solidFill>
                <a:prstDash val="dash"/>
              </a:ln>
              <a:effectLst/>
            </p:spPr>
          </p:cxnSp>
          <p:cxnSp>
            <p:nvCxnSpPr>
              <p:cNvPr id="143" name="Straight Connector 131"/>
              <p:cNvCxnSpPr/>
              <p:nvPr/>
            </p:nvCxnSpPr>
            <p:spPr>
              <a:xfrm rot="16200000">
                <a:off x="4571857" y="3052081"/>
                <a:ext cx="0" cy="36505"/>
              </a:xfrm>
              <a:prstGeom prst="line">
                <a:avLst/>
              </a:prstGeom>
              <a:noFill/>
              <a:ln w="28575" cap="rnd" cmpd="sng" algn="ctr">
                <a:solidFill>
                  <a:srgbClr val="717073"/>
                </a:solidFill>
                <a:prstDash val="dash"/>
              </a:ln>
              <a:effectLst/>
            </p:spPr>
          </p:cxnSp>
        </p:grpSp>
        <p:grpSp>
          <p:nvGrpSpPr>
            <p:cNvPr id="72" name="Group 132"/>
            <p:cNvGrpSpPr>
              <a:grpSpLocks/>
            </p:cNvGrpSpPr>
            <p:nvPr/>
          </p:nvGrpSpPr>
          <p:grpSpPr bwMode="auto">
            <a:xfrm>
              <a:off x="4264992" y="2991378"/>
              <a:ext cx="37465" cy="37465"/>
              <a:chOff x="4553267" y="3050540"/>
              <a:chExt cx="37465" cy="37465"/>
            </a:xfrm>
          </p:grpSpPr>
          <p:cxnSp>
            <p:nvCxnSpPr>
              <p:cNvPr id="140" name="Straight Connector 133"/>
              <p:cNvCxnSpPr/>
              <p:nvPr/>
            </p:nvCxnSpPr>
            <p:spPr>
              <a:xfrm>
                <a:off x="4572230" y="3050014"/>
                <a:ext cx="0" cy="38100"/>
              </a:xfrm>
              <a:prstGeom prst="line">
                <a:avLst/>
              </a:prstGeom>
              <a:noFill/>
              <a:ln w="28575" cap="rnd" cmpd="sng" algn="ctr">
                <a:solidFill>
                  <a:srgbClr val="717073"/>
                </a:solidFill>
                <a:prstDash val="dash"/>
              </a:ln>
              <a:effectLst/>
            </p:spPr>
          </p:cxnSp>
          <p:cxnSp>
            <p:nvCxnSpPr>
              <p:cNvPr id="141" name="Straight Connector 134"/>
              <p:cNvCxnSpPr/>
              <p:nvPr/>
            </p:nvCxnSpPr>
            <p:spPr>
              <a:xfrm rot="16200000">
                <a:off x="4572230" y="3050018"/>
                <a:ext cx="0" cy="38092"/>
              </a:xfrm>
              <a:prstGeom prst="line">
                <a:avLst/>
              </a:prstGeom>
              <a:noFill/>
              <a:ln w="28575" cap="rnd" cmpd="sng" algn="ctr">
                <a:solidFill>
                  <a:srgbClr val="717073"/>
                </a:solidFill>
                <a:prstDash val="dash"/>
              </a:ln>
              <a:effectLst/>
            </p:spPr>
          </p:cxnSp>
        </p:grpSp>
        <p:grpSp>
          <p:nvGrpSpPr>
            <p:cNvPr id="73" name="Group 135"/>
            <p:cNvGrpSpPr>
              <a:grpSpLocks/>
            </p:cNvGrpSpPr>
            <p:nvPr/>
          </p:nvGrpSpPr>
          <p:grpSpPr bwMode="auto">
            <a:xfrm>
              <a:off x="4255467" y="2991378"/>
              <a:ext cx="37465" cy="37465"/>
              <a:chOff x="4553267" y="3050540"/>
              <a:chExt cx="37465" cy="37465"/>
            </a:xfrm>
          </p:grpSpPr>
          <p:cxnSp>
            <p:nvCxnSpPr>
              <p:cNvPr id="138" name="Straight Connector 136"/>
              <p:cNvCxnSpPr/>
              <p:nvPr/>
            </p:nvCxnSpPr>
            <p:spPr>
              <a:xfrm>
                <a:off x="4572232" y="3050014"/>
                <a:ext cx="0" cy="38100"/>
              </a:xfrm>
              <a:prstGeom prst="line">
                <a:avLst/>
              </a:prstGeom>
              <a:noFill/>
              <a:ln w="28575" cap="rnd" cmpd="sng" algn="ctr">
                <a:solidFill>
                  <a:srgbClr val="717073"/>
                </a:solidFill>
                <a:prstDash val="dash"/>
              </a:ln>
              <a:effectLst/>
            </p:spPr>
          </p:cxnSp>
          <p:cxnSp>
            <p:nvCxnSpPr>
              <p:cNvPr id="139" name="Straight Connector 137"/>
              <p:cNvCxnSpPr/>
              <p:nvPr/>
            </p:nvCxnSpPr>
            <p:spPr>
              <a:xfrm rot="16200000">
                <a:off x="4572232" y="3050018"/>
                <a:ext cx="0" cy="38092"/>
              </a:xfrm>
              <a:prstGeom prst="line">
                <a:avLst/>
              </a:prstGeom>
              <a:noFill/>
              <a:ln w="28575" cap="rnd" cmpd="sng" algn="ctr">
                <a:solidFill>
                  <a:srgbClr val="717073"/>
                </a:solidFill>
                <a:prstDash val="dash"/>
              </a:ln>
              <a:effectLst/>
            </p:spPr>
          </p:cxnSp>
        </p:grpSp>
        <p:grpSp>
          <p:nvGrpSpPr>
            <p:cNvPr id="74" name="Group 138"/>
            <p:cNvGrpSpPr>
              <a:grpSpLocks/>
            </p:cNvGrpSpPr>
            <p:nvPr/>
          </p:nvGrpSpPr>
          <p:grpSpPr bwMode="auto">
            <a:xfrm>
              <a:off x="4245942" y="2991378"/>
              <a:ext cx="37465" cy="37465"/>
              <a:chOff x="4553267" y="3050540"/>
              <a:chExt cx="37465" cy="37465"/>
            </a:xfrm>
          </p:grpSpPr>
          <p:cxnSp>
            <p:nvCxnSpPr>
              <p:cNvPr id="136" name="Straight Connector 139"/>
              <p:cNvCxnSpPr/>
              <p:nvPr/>
            </p:nvCxnSpPr>
            <p:spPr>
              <a:xfrm>
                <a:off x="4572234" y="3050014"/>
                <a:ext cx="0" cy="38100"/>
              </a:xfrm>
              <a:prstGeom prst="line">
                <a:avLst/>
              </a:prstGeom>
              <a:noFill/>
              <a:ln w="28575" cap="rnd" cmpd="sng" algn="ctr">
                <a:solidFill>
                  <a:srgbClr val="717073"/>
                </a:solidFill>
                <a:prstDash val="dash"/>
              </a:ln>
              <a:effectLst/>
            </p:spPr>
          </p:cxnSp>
          <p:cxnSp>
            <p:nvCxnSpPr>
              <p:cNvPr id="137" name="Straight Connector 140"/>
              <p:cNvCxnSpPr/>
              <p:nvPr/>
            </p:nvCxnSpPr>
            <p:spPr>
              <a:xfrm rot="16200000">
                <a:off x="4572234" y="3050018"/>
                <a:ext cx="0" cy="38092"/>
              </a:xfrm>
              <a:prstGeom prst="line">
                <a:avLst/>
              </a:prstGeom>
              <a:noFill/>
              <a:ln w="28575" cap="rnd" cmpd="sng" algn="ctr">
                <a:solidFill>
                  <a:srgbClr val="717073"/>
                </a:solidFill>
                <a:prstDash val="dash"/>
              </a:ln>
              <a:effectLst/>
            </p:spPr>
          </p:cxnSp>
        </p:grpSp>
        <p:grpSp>
          <p:nvGrpSpPr>
            <p:cNvPr id="75" name="Group 141"/>
            <p:cNvGrpSpPr>
              <a:grpSpLocks/>
            </p:cNvGrpSpPr>
            <p:nvPr/>
          </p:nvGrpSpPr>
          <p:grpSpPr bwMode="auto">
            <a:xfrm>
              <a:off x="4270707" y="3019953"/>
              <a:ext cx="37465" cy="37465"/>
              <a:chOff x="4553267" y="3050540"/>
              <a:chExt cx="37465" cy="37465"/>
            </a:xfrm>
          </p:grpSpPr>
          <p:cxnSp>
            <p:nvCxnSpPr>
              <p:cNvPr id="134" name="Straight Connector 142"/>
              <p:cNvCxnSpPr/>
              <p:nvPr/>
            </p:nvCxnSpPr>
            <p:spPr>
              <a:xfrm>
                <a:off x="4572864" y="3050014"/>
                <a:ext cx="0" cy="38100"/>
              </a:xfrm>
              <a:prstGeom prst="line">
                <a:avLst/>
              </a:prstGeom>
              <a:noFill/>
              <a:ln w="28575" cap="rnd" cmpd="sng" algn="ctr">
                <a:solidFill>
                  <a:srgbClr val="717073"/>
                </a:solidFill>
                <a:prstDash val="dash"/>
              </a:ln>
              <a:effectLst/>
            </p:spPr>
          </p:cxnSp>
          <p:cxnSp>
            <p:nvCxnSpPr>
              <p:cNvPr id="135" name="Straight Connector 143"/>
              <p:cNvCxnSpPr/>
              <p:nvPr/>
            </p:nvCxnSpPr>
            <p:spPr>
              <a:xfrm rot="16200000">
                <a:off x="4572070" y="3050812"/>
                <a:ext cx="0" cy="36504"/>
              </a:xfrm>
              <a:prstGeom prst="line">
                <a:avLst/>
              </a:prstGeom>
              <a:noFill/>
              <a:ln w="28575" cap="rnd" cmpd="sng" algn="ctr">
                <a:solidFill>
                  <a:srgbClr val="717073"/>
                </a:solidFill>
                <a:prstDash val="dash"/>
              </a:ln>
              <a:effectLst/>
            </p:spPr>
          </p:cxnSp>
        </p:grpSp>
        <p:grpSp>
          <p:nvGrpSpPr>
            <p:cNvPr id="76" name="Group 144"/>
            <p:cNvGrpSpPr>
              <a:grpSpLocks/>
            </p:cNvGrpSpPr>
            <p:nvPr/>
          </p:nvGrpSpPr>
          <p:grpSpPr bwMode="auto">
            <a:xfrm>
              <a:off x="3560142" y="2503698"/>
              <a:ext cx="37465" cy="37465"/>
              <a:chOff x="4553267" y="3050540"/>
              <a:chExt cx="37465" cy="37465"/>
            </a:xfrm>
          </p:grpSpPr>
          <p:cxnSp>
            <p:nvCxnSpPr>
              <p:cNvPr id="132" name="Straight Connector 145"/>
              <p:cNvCxnSpPr/>
              <p:nvPr/>
            </p:nvCxnSpPr>
            <p:spPr>
              <a:xfrm>
                <a:off x="4572388" y="3050331"/>
                <a:ext cx="0" cy="38100"/>
              </a:xfrm>
              <a:prstGeom prst="line">
                <a:avLst/>
              </a:prstGeom>
              <a:noFill/>
              <a:ln w="28575" cap="rnd" cmpd="sng" algn="ctr">
                <a:solidFill>
                  <a:srgbClr val="717073"/>
                </a:solidFill>
                <a:prstDash val="dash"/>
              </a:ln>
              <a:effectLst/>
            </p:spPr>
          </p:cxnSp>
          <p:cxnSp>
            <p:nvCxnSpPr>
              <p:cNvPr id="133" name="Straight Connector 146"/>
              <p:cNvCxnSpPr/>
              <p:nvPr/>
            </p:nvCxnSpPr>
            <p:spPr>
              <a:xfrm rot="16200000">
                <a:off x="4572388" y="3050335"/>
                <a:ext cx="0" cy="38092"/>
              </a:xfrm>
              <a:prstGeom prst="line">
                <a:avLst/>
              </a:prstGeom>
              <a:noFill/>
              <a:ln w="28575" cap="rnd" cmpd="sng" algn="ctr">
                <a:solidFill>
                  <a:srgbClr val="717073"/>
                </a:solidFill>
                <a:prstDash val="dash"/>
              </a:ln>
              <a:effectLst/>
            </p:spPr>
          </p:cxnSp>
        </p:grpSp>
        <p:grpSp>
          <p:nvGrpSpPr>
            <p:cNvPr id="77" name="Group 147"/>
            <p:cNvGrpSpPr>
              <a:grpSpLocks/>
            </p:cNvGrpSpPr>
            <p:nvPr/>
          </p:nvGrpSpPr>
          <p:grpSpPr bwMode="auto">
            <a:xfrm>
              <a:off x="3527757" y="2395113"/>
              <a:ext cx="37465" cy="37465"/>
              <a:chOff x="4553267" y="3050540"/>
              <a:chExt cx="37465" cy="37465"/>
            </a:xfrm>
          </p:grpSpPr>
          <p:cxnSp>
            <p:nvCxnSpPr>
              <p:cNvPr id="130" name="Straight Connector 148"/>
              <p:cNvCxnSpPr/>
              <p:nvPr/>
            </p:nvCxnSpPr>
            <p:spPr>
              <a:xfrm>
                <a:off x="4573030" y="3050966"/>
                <a:ext cx="0" cy="36513"/>
              </a:xfrm>
              <a:prstGeom prst="line">
                <a:avLst/>
              </a:prstGeom>
              <a:noFill/>
              <a:ln w="28575" cap="rnd" cmpd="sng" algn="ctr">
                <a:solidFill>
                  <a:srgbClr val="717073"/>
                </a:solidFill>
                <a:prstDash val="dash"/>
              </a:ln>
              <a:effectLst/>
            </p:spPr>
          </p:cxnSp>
          <p:cxnSp>
            <p:nvCxnSpPr>
              <p:cNvPr id="131" name="Straight Connector 149"/>
              <p:cNvCxnSpPr/>
              <p:nvPr/>
            </p:nvCxnSpPr>
            <p:spPr>
              <a:xfrm rot="16200000">
                <a:off x="4572236" y="3051764"/>
                <a:ext cx="0" cy="36504"/>
              </a:xfrm>
              <a:prstGeom prst="line">
                <a:avLst/>
              </a:prstGeom>
              <a:noFill/>
              <a:ln w="28575" cap="rnd" cmpd="sng" algn="ctr">
                <a:solidFill>
                  <a:srgbClr val="717073"/>
                </a:solidFill>
                <a:prstDash val="dash"/>
              </a:ln>
              <a:effectLst/>
            </p:spPr>
          </p:cxnSp>
        </p:grpSp>
        <p:grpSp>
          <p:nvGrpSpPr>
            <p:cNvPr id="78" name="Group 150"/>
            <p:cNvGrpSpPr>
              <a:grpSpLocks/>
            </p:cNvGrpSpPr>
            <p:nvPr/>
          </p:nvGrpSpPr>
          <p:grpSpPr bwMode="auto">
            <a:xfrm>
              <a:off x="3329637" y="2351298"/>
              <a:ext cx="37465" cy="37465"/>
              <a:chOff x="4553267" y="3050540"/>
              <a:chExt cx="37465" cy="37465"/>
            </a:xfrm>
          </p:grpSpPr>
          <p:cxnSp>
            <p:nvCxnSpPr>
              <p:cNvPr id="128" name="Straight Connector 151"/>
              <p:cNvCxnSpPr/>
              <p:nvPr/>
            </p:nvCxnSpPr>
            <p:spPr>
              <a:xfrm>
                <a:off x="4572757" y="3050331"/>
                <a:ext cx="0" cy="38100"/>
              </a:xfrm>
              <a:prstGeom prst="line">
                <a:avLst/>
              </a:prstGeom>
              <a:noFill/>
              <a:ln w="28575" cap="rnd" cmpd="sng" algn="ctr">
                <a:solidFill>
                  <a:srgbClr val="717073"/>
                </a:solidFill>
                <a:prstDash val="dash"/>
              </a:ln>
              <a:effectLst/>
            </p:spPr>
          </p:cxnSp>
          <p:cxnSp>
            <p:nvCxnSpPr>
              <p:cNvPr id="129" name="Straight Connector 152"/>
              <p:cNvCxnSpPr/>
              <p:nvPr/>
            </p:nvCxnSpPr>
            <p:spPr>
              <a:xfrm rot="16200000">
                <a:off x="4571964" y="3051128"/>
                <a:ext cx="0" cy="36505"/>
              </a:xfrm>
              <a:prstGeom prst="line">
                <a:avLst/>
              </a:prstGeom>
              <a:noFill/>
              <a:ln w="28575" cap="rnd" cmpd="sng" algn="ctr">
                <a:solidFill>
                  <a:srgbClr val="717073"/>
                </a:solidFill>
                <a:prstDash val="dash"/>
              </a:ln>
              <a:effectLst/>
            </p:spPr>
          </p:cxnSp>
        </p:grpSp>
        <p:grpSp>
          <p:nvGrpSpPr>
            <p:cNvPr id="79" name="Group 153"/>
            <p:cNvGrpSpPr>
              <a:grpSpLocks/>
            </p:cNvGrpSpPr>
            <p:nvPr/>
          </p:nvGrpSpPr>
          <p:grpSpPr bwMode="auto">
            <a:xfrm>
              <a:off x="3314397" y="2351298"/>
              <a:ext cx="37465" cy="37465"/>
              <a:chOff x="4553267" y="3050540"/>
              <a:chExt cx="37465" cy="37465"/>
            </a:xfrm>
          </p:grpSpPr>
          <p:cxnSp>
            <p:nvCxnSpPr>
              <p:cNvPr id="126" name="Straight Connector 154"/>
              <p:cNvCxnSpPr/>
              <p:nvPr/>
            </p:nvCxnSpPr>
            <p:spPr>
              <a:xfrm>
                <a:off x="4572125" y="3050331"/>
                <a:ext cx="0" cy="38100"/>
              </a:xfrm>
              <a:prstGeom prst="line">
                <a:avLst/>
              </a:prstGeom>
              <a:noFill/>
              <a:ln w="28575" cap="rnd" cmpd="sng" algn="ctr">
                <a:solidFill>
                  <a:srgbClr val="717073"/>
                </a:solidFill>
                <a:prstDash val="dash"/>
              </a:ln>
              <a:effectLst/>
            </p:spPr>
          </p:cxnSp>
          <p:cxnSp>
            <p:nvCxnSpPr>
              <p:cNvPr id="127" name="Straight Connector 155"/>
              <p:cNvCxnSpPr/>
              <p:nvPr/>
            </p:nvCxnSpPr>
            <p:spPr>
              <a:xfrm rot="16200000">
                <a:off x="4572125" y="3050335"/>
                <a:ext cx="0" cy="38092"/>
              </a:xfrm>
              <a:prstGeom prst="line">
                <a:avLst/>
              </a:prstGeom>
              <a:noFill/>
              <a:ln w="28575" cap="rnd" cmpd="sng" algn="ctr">
                <a:solidFill>
                  <a:srgbClr val="717073"/>
                </a:solidFill>
                <a:prstDash val="dash"/>
              </a:ln>
              <a:effectLst/>
            </p:spPr>
          </p:cxnSp>
        </p:grpSp>
        <p:grpSp>
          <p:nvGrpSpPr>
            <p:cNvPr id="80" name="Group 156"/>
            <p:cNvGrpSpPr>
              <a:grpSpLocks/>
            </p:cNvGrpSpPr>
            <p:nvPr/>
          </p:nvGrpSpPr>
          <p:grpSpPr bwMode="auto">
            <a:xfrm>
              <a:off x="3306777" y="2351298"/>
              <a:ext cx="37465" cy="37465"/>
              <a:chOff x="4553267" y="3050540"/>
              <a:chExt cx="37465" cy="37465"/>
            </a:xfrm>
          </p:grpSpPr>
          <p:cxnSp>
            <p:nvCxnSpPr>
              <p:cNvPr id="124" name="Straight Connector 157"/>
              <p:cNvCxnSpPr/>
              <p:nvPr/>
            </p:nvCxnSpPr>
            <p:spPr>
              <a:xfrm>
                <a:off x="4571810" y="3050331"/>
                <a:ext cx="0" cy="38100"/>
              </a:xfrm>
              <a:prstGeom prst="line">
                <a:avLst/>
              </a:prstGeom>
              <a:noFill/>
              <a:ln w="28575" cap="rnd" cmpd="sng" algn="ctr">
                <a:solidFill>
                  <a:srgbClr val="717073"/>
                </a:solidFill>
                <a:prstDash val="dash"/>
              </a:ln>
              <a:effectLst/>
            </p:spPr>
          </p:cxnSp>
          <p:cxnSp>
            <p:nvCxnSpPr>
              <p:cNvPr id="125" name="Straight Connector 158"/>
              <p:cNvCxnSpPr/>
              <p:nvPr/>
            </p:nvCxnSpPr>
            <p:spPr>
              <a:xfrm rot="16200000">
                <a:off x="4571810" y="3050335"/>
                <a:ext cx="0" cy="38092"/>
              </a:xfrm>
              <a:prstGeom prst="line">
                <a:avLst/>
              </a:prstGeom>
              <a:noFill/>
              <a:ln w="28575" cap="rnd" cmpd="sng" algn="ctr">
                <a:solidFill>
                  <a:srgbClr val="717073"/>
                </a:solidFill>
                <a:prstDash val="dash"/>
              </a:ln>
              <a:effectLst/>
            </p:spPr>
          </p:cxnSp>
        </p:grpSp>
        <p:grpSp>
          <p:nvGrpSpPr>
            <p:cNvPr id="81" name="Group 159"/>
            <p:cNvGrpSpPr>
              <a:grpSpLocks/>
            </p:cNvGrpSpPr>
            <p:nvPr/>
          </p:nvGrpSpPr>
          <p:grpSpPr bwMode="auto">
            <a:xfrm>
              <a:off x="3276297" y="2303673"/>
              <a:ext cx="37465" cy="37465"/>
              <a:chOff x="4553267" y="3050540"/>
              <a:chExt cx="37465" cy="37465"/>
            </a:xfrm>
          </p:grpSpPr>
          <p:cxnSp>
            <p:nvCxnSpPr>
              <p:cNvPr id="122" name="Straight Connector 160"/>
              <p:cNvCxnSpPr/>
              <p:nvPr/>
            </p:nvCxnSpPr>
            <p:spPr>
              <a:xfrm>
                <a:off x="4572134" y="3050331"/>
                <a:ext cx="0" cy="38100"/>
              </a:xfrm>
              <a:prstGeom prst="line">
                <a:avLst/>
              </a:prstGeom>
              <a:noFill/>
              <a:ln w="28575" cap="rnd" cmpd="sng" algn="ctr">
                <a:solidFill>
                  <a:srgbClr val="717073"/>
                </a:solidFill>
                <a:prstDash val="dash"/>
              </a:ln>
              <a:effectLst/>
            </p:spPr>
          </p:cxnSp>
          <p:cxnSp>
            <p:nvCxnSpPr>
              <p:cNvPr id="123" name="Straight Connector 161"/>
              <p:cNvCxnSpPr/>
              <p:nvPr/>
            </p:nvCxnSpPr>
            <p:spPr>
              <a:xfrm rot="16200000">
                <a:off x="4572134" y="3050335"/>
                <a:ext cx="0" cy="38092"/>
              </a:xfrm>
              <a:prstGeom prst="line">
                <a:avLst/>
              </a:prstGeom>
              <a:noFill/>
              <a:ln w="28575" cap="rnd" cmpd="sng" algn="ctr">
                <a:solidFill>
                  <a:srgbClr val="717073"/>
                </a:solidFill>
                <a:prstDash val="dash"/>
              </a:ln>
              <a:effectLst/>
            </p:spPr>
          </p:cxnSp>
        </p:grpSp>
        <p:grpSp>
          <p:nvGrpSpPr>
            <p:cNvPr id="82" name="Group 162"/>
            <p:cNvGrpSpPr>
              <a:grpSpLocks/>
            </p:cNvGrpSpPr>
            <p:nvPr/>
          </p:nvGrpSpPr>
          <p:grpSpPr bwMode="auto">
            <a:xfrm>
              <a:off x="3230577" y="2236998"/>
              <a:ext cx="37465" cy="37465"/>
              <a:chOff x="4553267" y="3050540"/>
              <a:chExt cx="37465" cy="37465"/>
            </a:xfrm>
          </p:grpSpPr>
          <p:cxnSp>
            <p:nvCxnSpPr>
              <p:cNvPr id="120" name="Straight Connector 163"/>
              <p:cNvCxnSpPr/>
              <p:nvPr/>
            </p:nvCxnSpPr>
            <p:spPr>
              <a:xfrm>
                <a:off x="4571827" y="3050331"/>
                <a:ext cx="0" cy="38100"/>
              </a:xfrm>
              <a:prstGeom prst="line">
                <a:avLst/>
              </a:prstGeom>
              <a:noFill/>
              <a:ln w="28575" cap="rnd" cmpd="sng" algn="ctr">
                <a:solidFill>
                  <a:srgbClr val="717073"/>
                </a:solidFill>
                <a:prstDash val="dash"/>
              </a:ln>
              <a:effectLst/>
            </p:spPr>
          </p:cxnSp>
          <p:cxnSp>
            <p:nvCxnSpPr>
              <p:cNvPr id="121" name="Straight Connector 164"/>
              <p:cNvCxnSpPr/>
              <p:nvPr/>
            </p:nvCxnSpPr>
            <p:spPr>
              <a:xfrm rot="16200000">
                <a:off x="4571827" y="3050335"/>
                <a:ext cx="0" cy="38092"/>
              </a:xfrm>
              <a:prstGeom prst="line">
                <a:avLst/>
              </a:prstGeom>
              <a:noFill/>
              <a:ln w="28575" cap="rnd" cmpd="sng" algn="ctr">
                <a:solidFill>
                  <a:srgbClr val="717073"/>
                </a:solidFill>
                <a:prstDash val="dash"/>
              </a:ln>
              <a:effectLst/>
            </p:spPr>
          </p:cxnSp>
        </p:grpSp>
        <p:grpSp>
          <p:nvGrpSpPr>
            <p:cNvPr id="83" name="Group 165"/>
            <p:cNvGrpSpPr>
              <a:grpSpLocks/>
            </p:cNvGrpSpPr>
            <p:nvPr/>
          </p:nvGrpSpPr>
          <p:grpSpPr bwMode="auto">
            <a:xfrm>
              <a:off x="3068652" y="2206518"/>
              <a:ext cx="37465" cy="37465"/>
              <a:chOff x="4553267" y="3050540"/>
              <a:chExt cx="37465" cy="37465"/>
            </a:xfrm>
          </p:grpSpPr>
          <p:cxnSp>
            <p:nvCxnSpPr>
              <p:cNvPr id="118" name="Straight Connector 166"/>
              <p:cNvCxnSpPr/>
              <p:nvPr/>
            </p:nvCxnSpPr>
            <p:spPr>
              <a:xfrm>
                <a:off x="4571864" y="3050649"/>
                <a:ext cx="0" cy="38100"/>
              </a:xfrm>
              <a:prstGeom prst="line">
                <a:avLst/>
              </a:prstGeom>
              <a:noFill/>
              <a:ln w="28575" cap="rnd" cmpd="sng" algn="ctr">
                <a:solidFill>
                  <a:srgbClr val="717073"/>
                </a:solidFill>
                <a:prstDash val="dash"/>
              </a:ln>
              <a:effectLst/>
            </p:spPr>
          </p:cxnSp>
          <p:cxnSp>
            <p:nvCxnSpPr>
              <p:cNvPr id="119" name="Straight Connector 167"/>
              <p:cNvCxnSpPr/>
              <p:nvPr/>
            </p:nvCxnSpPr>
            <p:spPr>
              <a:xfrm rot="16200000">
                <a:off x="4571864" y="3050653"/>
                <a:ext cx="0" cy="38092"/>
              </a:xfrm>
              <a:prstGeom prst="line">
                <a:avLst/>
              </a:prstGeom>
              <a:noFill/>
              <a:ln w="28575" cap="rnd" cmpd="sng" algn="ctr">
                <a:solidFill>
                  <a:srgbClr val="717073"/>
                </a:solidFill>
                <a:prstDash val="dash"/>
              </a:ln>
              <a:effectLst/>
            </p:spPr>
          </p:cxnSp>
        </p:grpSp>
        <p:grpSp>
          <p:nvGrpSpPr>
            <p:cNvPr id="84" name="Group 168"/>
            <p:cNvGrpSpPr>
              <a:grpSpLocks/>
            </p:cNvGrpSpPr>
            <p:nvPr/>
          </p:nvGrpSpPr>
          <p:grpSpPr bwMode="auto">
            <a:xfrm>
              <a:off x="3045792" y="2158893"/>
              <a:ext cx="37465" cy="37465"/>
              <a:chOff x="4553267" y="3050540"/>
              <a:chExt cx="37465" cy="37465"/>
            </a:xfrm>
          </p:grpSpPr>
          <p:cxnSp>
            <p:nvCxnSpPr>
              <p:cNvPr id="116" name="Straight Connector 169"/>
              <p:cNvCxnSpPr/>
              <p:nvPr/>
            </p:nvCxnSpPr>
            <p:spPr>
              <a:xfrm>
                <a:off x="4572504" y="3050649"/>
                <a:ext cx="0" cy="38100"/>
              </a:xfrm>
              <a:prstGeom prst="line">
                <a:avLst/>
              </a:prstGeom>
              <a:noFill/>
              <a:ln w="28575" cap="rnd" cmpd="sng" algn="ctr">
                <a:solidFill>
                  <a:srgbClr val="717073"/>
                </a:solidFill>
                <a:prstDash val="dash"/>
              </a:ln>
              <a:effectLst/>
            </p:spPr>
          </p:cxnSp>
          <p:cxnSp>
            <p:nvCxnSpPr>
              <p:cNvPr id="117" name="Straight Connector 170"/>
              <p:cNvCxnSpPr/>
              <p:nvPr/>
            </p:nvCxnSpPr>
            <p:spPr>
              <a:xfrm rot="16200000">
                <a:off x="4571710" y="3051447"/>
                <a:ext cx="0" cy="36504"/>
              </a:xfrm>
              <a:prstGeom prst="line">
                <a:avLst/>
              </a:prstGeom>
              <a:noFill/>
              <a:ln w="28575" cap="rnd" cmpd="sng" algn="ctr">
                <a:solidFill>
                  <a:srgbClr val="717073"/>
                </a:solidFill>
                <a:prstDash val="dash"/>
              </a:ln>
              <a:effectLst/>
            </p:spPr>
          </p:cxnSp>
        </p:grpSp>
        <p:grpSp>
          <p:nvGrpSpPr>
            <p:cNvPr id="85" name="Group 171"/>
            <p:cNvGrpSpPr>
              <a:grpSpLocks/>
            </p:cNvGrpSpPr>
            <p:nvPr/>
          </p:nvGrpSpPr>
          <p:grpSpPr bwMode="auto">
            <a:xfrm>
              <a:off x="2878152" y="2073168"/>
              <a:ext cx="37465" cy="37465"/>
              <a:chOff x="4553267" y="3050540"/>
              <a:chExt cx="37465" cy="37465"/>
            </a:xfrm>
          </p:grpSpPr>
          <p:cxnSp>
            <p:nvCxnSpPr>
              <p:cNvPr id="114" name="Straight Connector 172"/>
              <p:cNvCxnSpPr/>
              <p:nvPr/>
            </p:nvCxnSpPr>
            <p:spPr>
              <a:xfrm>
                <a:off x="4571906" y="3050649"/>
                <a:ext cx="0" cy="38100"/>
              </a:xfrm>
              <a:prstGeom prst="line">
                <a:avLst/>
              </a:prstGeom>
              <a:noFill/>
              <a:ln w="28575" cap="rnd" cmpd="sng" algn="ctr">
                <a:solidFill>
                  <a:srgbClr val="717073"/>
                </a:solidFill>
                <a:prstDash val="dash"/>
              </a:ln>
              <a:effectLst/>
            </p:spPr>
          </p:cxnSp>
          <p:cxnSp>
            <p:nvCxnSpPr>
              <p:cNvPr id="115" name="Straight Connector 173"/>
              <p:cNvCxnSpPr/>
              <p:nvPr/>
            </p:nvCxnSpPr>
            <p:spPr>
              <a:xfrm rot="16200000">
                <a:off x="4571906" y="3050653"/>
                <a:ext cx="0" cy="38092"/>
              </a:xfrm>
              <a:prstGeom prst="line">
                <a:avLst/>
              </a:prstGeom>
              <a:noFill/>
              <a:ln w="28575" cap="rnd" cmpd="sng" algn="ctr">
                <a:solidFill>
                  <a:srgbClr val="717073"/>
                </a:solidFill>
                <a:prstDash val="dash"/>
              </a:ln>
              <a:effectLst/>
            </p:spPr>
          </p:cxnSp>
        </p:grpSp>
        <p:grpSp>
          <p:nvGrpSpPr>
            <p:cNvPr id="86" name="Group 174"/>
            <p:cNvGrpSpPr>
              <a:grpSpLocks/>
            </p:cNvGrpSpPr>
            <p:nvPr/>
          </p:nvGrpSpPr>
          <p:grpSpPr bwMode="auto">
            <a:xfrm>
              <a:off x="2824812" y="1996968"/>
              <a:ext cx="37465" cy="37465"/>
              <a:chOff x="4553267" y="3050540"/>
              <a:chExt cx="37465" cy="37465"/>
            </a:xfrm>
          </p:grpSpPr>
          <p:cxnSp>
            <p:nvCxnSpPr>
              <p:cNvPr id="112" name="Straight Connector 175"/>
              <p:cNvCxnSpPr/>
              <p:nvPr/>
            </p:nvCxnSpPr>
            <p:spPr>
              <a:xfrm>
                <a:off x="4572870" y="3050649"/>
                <a:ext cx="0" cy="38100"/>
              </a:xfrm>
              <a:prstGeom prst="line">
                <a:avLst/>
              </a:prstGeom>
              <a:noFill/>
              <a:ln w="28575" cap="rnd" cmpd="sng" algn="ctr">
                <a:solidFill>
                  <a:srgbClr val="717073"/>
                </a:solidFill>
                <a:prstDash val="dash"/>
              </a:ln>
              <a:effectLst/>
            </p:spPr>
          </p:cxnSp>
          <p:cxnSp>
            <p:nvCxnSpPr>
              <p:cNvPr id="113" name="Straight Connector 176"/>
              <p:cNvCxnSpPr/>
              <p:nvPr/>
            </p:nvCxnSpPr>
            <p:spPr>
              <a:xfrm rot="16200000">
                <a:off x="4572077" y="3051446"/>
                <a:ext cx="0" cy="36505"/>
              </a:xfrm>
              <a:prstGeom prst="line">
                <a:avLst/>
              </a:prstGeom>
              <a:noFill/>
              <a:ln w="28575" cap="rnd" cmpd="sng" algn="ctr">
                <a:solidFill>
                  <a:srgbClr val="717073"/>
                </a:solidFill>
                <a:prstDash val="dash"/>
              </a:ln>
              <a:effectLst/>
            </p:spPr>
          </p:cxnSp>
        </p:grpSp>
        <p:grpSp>
          <p:nvGrpSpPr>
            <p:cNvPr id="87" name="Group 177"/>
            <p:cNvGrpSpPr>
              <a:grpSpLocks/>
            </p:cNvGrpSpPr>
            <p:nvPr/>
          </p:nvGrpSpPr>
          <p:grpSpPr bwMode="auto">
            <a:xfrm>
              <a:off x="2792427" y="1947438"/>
              <a:ext cx="37465" cy="37465"/>
              <a:chOff x="4553267" y="3050540"/>
              <a:chExt cx="37465" cy="37465"/>
            </a:xfrm>
          </p:grpSpPr>
          <p:cxnSp>
            <p:nvCxnSpPr>
              <p:cNvPr id="110" name="Straight Connector 178"/>
              <p:cNvCxnSpPr/>
              <p:nvPr/>
            </p:nvCxnSpPr>
            <p:spPr>
              <a:xfrm>
                <a:off x="4571926" y="3050966"/>
                <a:ext cx="0" cy="36513"/>
              </a:xfrm>
              <a:prstGeom prst="line">
                <a:avLst/>
              </a:prstGeom>
              <a:noFill/>
              <a:ln w="28575" cap="rnd" cmpd="sng" algn="ctr">
                <a:solidFill>
                  <a:srgbClr val="717073"/>
                </a:solidFill>
                <a:prstDash val="dash"/>
              </a:ln>
              <a:effectLst/>
            </p:spPr>
          </p:cxnSp>
          <p:cxnSp>
            <p:nvCxnSpPr>
              <p:cNvPr id="111" name="Straight Connector 179"/>
              <p:cNvCxnSpPr/>
              <p:nvPr/>
            </p:nvCxnSpPr>
            <p:spPr>
              <a:xfrm rot="16200000">
                <a:off x="4571926" y="3050970"/>
                <a:ext cx="0" cy="38092"/>
              </a:xfrm>
              <a:prstGeom prst="line">
                <a:avLst/>
              </a:prstGeom>
              <a:noFill/>
              <a:ln w="28575" cap="rnd" cmpd="sng" algn="ctr">
                <a:solidFill>
                  <a:srgbClr val="717073"/>
                </a:solidFill>
                <a:prstDash val="dash"/>
              </a:ln>
              <a:effectLst/>
            </p:spPr>
          </p:cxnSp>
        </p:grpSp>
        <p:grpSp>
          <p:nvGrpSpPr>
            <p:cNvPr id="88" name="Group 180"/>
            <p:cNvGrpSpPr>
              <a:grpSpLocks/>
            </p:cNvGrpSpPr>
            <p:nvPr/>
          </p:nvGrpSpPr>
          <p:grpSpPr bwMode="auto">
            <a:xfrm>
              <a:off x="2632407" y="1859808"/>
              <a:ext cx="37465" cy="37465"/>
              <a:chOff x="4553267" y="3050540"/>
              <a:chExt cx="37465" cy="37465"/>
            </a:xfrm>
          </p:grpSpPr>
          <p:cxnSp>
            <p:nvCxnSpPr>
              <p:cNvPr id="108" name="Straight Connector 181"/>
              <p:cNvCxnSpPr/>
              <p:nvPr/>
            </p:nvCxnSpPr>
            <p:spPr>
              <a:xfrm>
                <a:off x="4571644" y="3051284"/>
                <a:ext cx="0" cy="36512"/>
              </a:xfrm>
              <a:prstGeom prst="line">
                <a:avLst/>
              </a:prstGeom>
              <a:noFill/>
              <a:ln w="28575" cap="rnd" cmpd="sng" algn="ctr">
                <a:solidFill>
                  <a:srgbClr val="717073"/>
                </a:solidFill>
                <a:prstDash val="dash"/>
              </a:ln>
              <a:effectLst/>
            </p:spPr>
          </p:cxnSp>
          <p:cxnSp>
            <p:nvCxnSpPr>
              <p:cNvPr id="109" name="Straight Connector 182"/>
              <p:cNvCxnSpPr/>
              <p:nvPr/>
            </p:nvCxnSpPr>
            <p:spPr>
              <a:xfrm rot="16200000">
                <a:off x="4571644" y="3051288"/>
                <a:ext cx="0" cy="38092"/>
              </a:xfrm>
              <a:prstGeom prst="line">
                <a:avLst/>
              </a:prstGeom>
              <a:noFill/>
              <a:ln w="28575" cap="rnd" cmpd="sng" algn="ctr">
                <a:solidFill>
                  <a:srgbClr val="717073"/>
                </a:solidFill>
                <a:prstDash val="dash"/>
              </a:ln>
              <a:effectLst/>
            </p:spPr>
          </p:cxnSp>
        </p:grpSp>
        <p:grpSp>
          <p:nvGrpSpPr>
            <p:cNvPr id="89" name="Group 183"/>
            <p:cNvGrpSpPr>
              <a:grpSpLocks/>
            </p:cNvGrpSpPr>
            <p:nvPr/>
          </p:nvGrpSpPr>
          <p:grpSpPr bwMode="auto">
            <a:xfrm>
              <a:off x="2580972" y="1844568"/>
              <a:ext cx="37465" cy="37465"/>
              <a:chOff x="4553267" y="3050540"/>
              <a:chExt cx="37465" cy="37465"/>
            </a:xfrm>
          </p:grpSpPr>
          <p:cxnSp>
            <p:nvCxnSpPr>
              <p:cNvPr id="106" name="Straight Connector 184"/>
              <p:cNvCxnSpPr/>
              <p:nvPr/>
            </p:nvCxnSpPr>
            <p:spPr>
              <a:xfrm>
                <a:off x="4572290" y="3050649"/>
                <a:ext cx="0" cy="38100"/>
              </a:xfrm>
              <a:prstGeom prst="line">
                <a:avLst/>
              </a:prstGeom>
              <a:noFill/>
              <a:ln w="28575" cap="rnd" cmpd="sng" algn="ctr">
                <a:solidFill>
                  <a:srgbClr val="717073"/>
                </a:solidFill>
                <a:prstDash val="dash"/>
              </a:ln>
              <a:effectLst/>
            </p:spPr>
          </p:cxnSp>
          <p:cxnSp>
            <p:nvCxnSpPr>
              <p:cNvPr id="107" name="Straight Connector 185"/>
              <p:cNvCxnSpPr/>
              <p:nvPr/>
            </p:nvCxnSpPr>
            <p:spPr>
              <a:xfrm rot="16200000">
                <a:off x="4572290" y="3050653"/>
                <a:ext cx="0" cy="38092"/>
              </a:xfrm>
              <a:prstGeom prst="line">
                <a:avLst/>
              </a:prstGeom>
              <a:noFill/>
              <a:ln w="28575" cap="rnd" cmpd="sng" algn="ctr">
                <a:solidFill>
                  <a:srgbClr val="717073"/>
                </a:solidFill>
                <a:prstDash val="dash"/>
              </a:ln>
              <a:effectLst/>
            </p:spPr>
          </p:cxnSp>
        </p:grpSp>
        <p:grpSp>
          <p:nvGrpSpPr>
            <p:cNvPr id="90" name="Group 186"/>
            <p:cNvGrpSpPr>
              <a:grpSpLocks/>
            </p:cNvGrpSpPr>
            <p:nvPr/>
          </p:nvGrpSpPr>
          <p:grpSpPr bwMode="auto">
            <a:xfrm>
              <a:off x="2577162" y="1793133"/>
              <a:ext cx="37465" cy="37465"/>
              <a:chOff x="4553267" y="3050540"/>
              <a:chExt cx="37465" cy="37465"/>
            </a:xfrm>
          </p:grpSpPr>
          <p:cxnSp>
            <p:nvCxnSpPr>
              <p:cNvPr id="104" name="Straight Connector 187"/>
              <p:cNvCxnSpPr/>
              <p:nvPr/>
            </p:nvCxnSpPr>
            <p:spPr>
              <a:xfrm>
                <a:off x="4572926" y="3051284"/>
                <a:ext cx="0" cy="36512"/>
              </a:xfrm>
              <a:prstGeom prst="line">
                <a:avLst/>
              </a:prstGeom>
              <a:noFill/>
              <a:ln w="28575" cap="rnd" cmpd="sng" algn="ctr">
                <a:solidFill>
                  <a:srgbClr val="717073"/>
                </a:solidFill>
                <a:prstDash val="dash"/>
              </a:ln>
              <a:effectLst/>
            </p:spPr>
          </p:cxnSp>
          <p:cxnSp>
            <p:nvCxnSpPr>
              <p:cNvPr id="105" name="Straight Connector 188"/>
              <p:cNvCxnSpPr/>
              <p:nvPr/>
            </p:nvCxnSpPr>
            <p:spPr>
              <a:xfrm rot="16200000">
                <a:off x="4572133" y="3052081"/>
                <a:ext cx="0" cy="36505"/>
              </a:xfrm>
              <a:prstGeom prst="line">
                <a:avLst/>
              </a:prstGeom>
              <a:noFill/>
              <a:ln w="28575" cap="rnd" cmpd="sng" algn="ctr">
                <a:solidFill>
                  <a:srgbClr val="717073"/>
                </a:solidFill>
                <a:prstDash val="dash"/>
              </a:ln>
              <a:effectLst/>
            </p:spPr>
          </p:cxnSp>
        </p:grpSp>
        <p:grpSp>
          <p:nvGrpSpPr>
            <p:cNvPr id="91" name="Group 189"/>
            <p:cNvGrpSpPr>
              <a:grpSpLocks/>
            </p:cNvGrpSpPr>
            <p:nvPr/>
          </p:nvGrpSpPr>
          <p:grpSpPr bwMode="auto">
            <a:xfrm>
              <a:off x="2552397" y="1783608"/>
              <a:ext cx="37465" cy="37465"/>
              <a:chOff x="4553267" y="3050540"/>
              <a:chExt cx="37465" cy="37465"/>
            </a:xfrm>
          </p:grpSpPr>
          <p:cxnSp>
            <p:nvCxnSpPr>
              <p:cNvPr id="102" name="Straight Connector 190"/>
              <p:cNvCxnSpPr/>
              <p:nvPr/>
            </p:nvCxnSpPr>
            <p:spPr>
              <a:xfrm>
                <a:off x="4572297" y="3051284"/>
                <a:ext cx="0" cy="36512"/>
              </a:xfrm>
              <a:prstGeom prst="line">
                <a:avLst/>
              </a:prstGeom>
              <a:noFill/>
              <a:ln w="28575" cap="rnd" cmpd="sng" algn="ctr">
                <a:solidFill>
                  <a:srgbClr val="717073"/>
                </a:solidFill>
                <a:prstDash val="dash"/>
              </a:ln>
              <a:effectLst/>
            </p:spPr>
          </p:cxnSp>
          <p:cxnSp>
            <p:nvCxnSpPr>
              <p:cNvPr id="103" name="Straight Connector 191"/>
              <p:cNvCxnSpPr/>
              <p:nvPr/>
            </p:nvCxnSpPr>
            <p:spPr>
              <a:xfrm rot="16200000">
                <a:off x="4572297" y="3051288"/>
                <a:ext cx="0" cy="38092"/>
              </a:xfrm>
              <a:prstGeom prst="line">
                <a:avLst/>
              </a:prstGeom>
              <a:noFill/>
              <a:ln w="28575" cap="rnd" cmpd="sng" algn="ctr">
                <a:solidFill>
                  <a:srgbClr val="717073"/>
                </a:solidFill>
                <a:prstDash val="dash"/>
              </a:ln>
              <a:effectLst/>
            </p:spPr>
          </p:cxnSp>
        </p:grpSp>
        <p:grpSp>
          <p:nvGrpSpPr>
            <p:cNvPr id="92" name="Group 192"/>
            <p:cNvGrpSpPr>
              <a:grpSpLocks/>
            </p:cNvGrpSpPr>
            <p:nvPr/>
          </p:nvGrpSpPr>
          <p:grpSpPr bwMode="auto">
            <a:xfrm>
              <a:off x="2561922" y="1783608"/>
              <a:ext cx="37465" cy="37465"/>
              <a:chOff x="4553267" y="3050540"/>
              <a:chExt cx="37465" cy="37465"/>
            </a:xfrm>
          </p:grpSpPr>
          <p:cxnSp>
            <p:nvCxnSpPr>
              <p:cNvPr id="100" name="Straight Connector 193"/>
              <p:cNvCxnSpPr/>
              <p:nvPr/>
            </p:nvCxnSpPr>
            <p:spPr>
              <a:xfrm>
                <a:off x="4572294" y="3051284"/>
                <a:ext cx="0" cy="36512"/>
              </a:xfrm>
              <a:prstGeom prst="line">
                <a:avLst/>
              </a:prstGeom>
              <a:noFill/>
              <a:ln w="28575" cap="rnd" cmpd="sng" algn="ctr">
                <a:solidFill>
                  <a:srgbClr val="717073"/>
                </a:solidFill>
                <a:prstDash val="dash"/>
              </a:ln>
              <a:effectLst/>
            </p:spPr>
          </p:cxnSp>
          <p:cxnSp>
            <p:nvCxnSpPr>
              <p:cNvPr id="101" name="Straight Connector 194"/>
              <p:cNvCxnSpPr/>
              <p:nvPr/>
            </p:nvCxnSpPr>
            <p:spPr>
              <a:xfrm rot="16200000">
                <a:off x="4572294" y="3051288"/>
                <a:ext cx="0" cy="38092"/>
              </a:xfrm>
              <a:prstGeom prst="line">
                <a:avLst/>
              </a:prstGeom>
              <a:noFill/>
              <a:ln w="28575" cap="rnd" cmpd="sng" algn="ctr">
                <a:solidFill>
                  <a:srgbClr val="717073"/>
                </a:solidFill>
                <a:prstDash val="dash"/>
              </a:ln>
              <a:effectLst/>
            </p:spPr>
          </p:cxnSp>
        </p:grpSp>
        <p:grpSp>
          <p:nvGrpSpPr>
            <p:cNvPr id="93" name="Group 195"/>
            <p:cNvGrpSpPr>
              <a:grpSpLocks/>
            </p:cNvGrpSpPr>
            <p:nvPr/>
          </p:nvGrpSpPr>
          <p:grpSpPr bwMode="auto">
            <a:xfrm>
              <a:off x="2567637" y="1783608"/>
              <a:ext cx="37465" cy="37465"/>
              <a:chOff x="4553267" y="3050540"/>
              <a:chExt cx="37465" cy="37465"/>
            </a:xfrm>
          </p:grpSpPr>
          <p:cxnSp>
            <p:nvCxnSpPr>
              <p:cNvPr id="98" name="Straight Connector 196"/>
              <p:cNvCxnSpPr/>
              <p:nvPr/>
            </p:nvCxnSpPr>
            <p:spPr>
              <a:xfrm>
                <a:off x="4572928" y="3051284"/>
                <a:ext cx="0" cy="36512"/>
              </a:xfrm>
              <a:prstGeom prst="line">
                <a:avLst/>
              </a:prstGeom>
              <a:noFill/>
              <a:ln w="28575" cap="rnd" cmpd="sng" algn="ctr">
                <a:solidFill>
                  <a:srgbClr val="717073"/>
                </a:solidFill>
                <a:prstDash val="dash"/>
              </a:ln>
              <a:effectLst/>
            </p:spPr>
          </p:cxnSp>
          <p:cxnSp>
            <p:nvCxnSpPr>
              <p:cNvPr id="99" name="Straight Connector 197"/>
              <p:cNvCxnSpPr/>
              <p:nvPr/>
            </p:nvCxnSpPr>
            <p:spPr>
              <a:xfrm rot="16200000">
                <a:off x="4572135" y="3052081"/>
                <a:ext cx="0" cy="36505"/>
              </a:xfrm>
              <a:prstGeom prst="line">
                <a:avLst/>
              </a:prstGeom>
              <a:noFill/>
              <a:ln w="28575" cap="rnd" cmpd="sng" algn="ctr">
                <a:solidFill>
                  <a:srgbClr val="717073"/>
                </a:solidFill>
                <a:prstDash val="dash"/>
              </a:ln>
              <a:effectLst/>
            </p:spPr>
          </p:cxnSp>
        </p:grpSp>
        <p:grpSp>
          <p:nvGrpSpPr>
            <p:cNvPr id="94" name="Group 198"/>
            <p:cNvGrpSpPr>
              <a:grpSpLocks/>
            </p:cNvGrpSpPr>
            <p:nvPr/>
          </p:nvGrpSpPr>
          <p:grpSpPr bwMode="auto">
            <a:xfrm>
              <a:off x="2550492" y="1739793"/>
              <a:ext cx="37465" cy="37465"/>
              <a:chOff x="4553267" y="3050540"/>
              <a:chExt cx="37465" cy="37465"/>
            </a:xfrm>
          </p:grpSpPr>
          <p:cxnSp>
            <p:nvCxnSpPr>
              <p:cNvPr id="96" name="Straight Connector 199"/>
              <p:cNvCxnSpPr/>
              <p:nvPr/>
            </p:nvCxnSpPr>
            <p:spPr>
              <a:xfrm>
                <a:off x="4572615" y="3050649"/>
                <a:ext cx="0" cy="38100"/>
              </a:xfrm>
              <a:prstGeom prst="line">
                <a:avLst/>
              </a:prstGeom>
              <a:noFill/>
              <a:ln w="28575" cap="rnd" cmpd="sng" algn="ctr">
                <a:solidFill>
                  <a:srgbClr val="717073"/>
                </a:solidFill>
                <a:prstDash val="dash"/>
              </a:ln>
              <a:effectLst/>
            </p:spPr>
          </p:cxnSp>
          <p:cxnSp>
            <p:nvCxnSpPr>
              <p:cNvPr id="97" name="Straight Connector 200"/>
              <p:cNvCxnSpPr/>
              <p:nvPr/>
            </p:nvCxnSpPr>
            <p:spPr>
              <a:xfrm rot="16200000">
                <a:off x="4571821" y="3051447"/>
                <a:ext cx="0" cy="36504"/>
              </a:xfrm>
              <a:prstGeom prst="line">
                <a:avLst/>
              </a:prstGeom>
              <a:noFill/>
              <a:ln w="28575" cap="rnd" cmpd="sng" algn="ctr">
                <a:solidFill>
                  <a:srgbClr val="717073"/>
                </a:solidFill>
                <a:prstDash val="dash"/>
              </a:ln>
              <a:effectLst/>
            </p:spPr>
          </p:cxnSp>
        </p:grpSp>
        <p:sp>
          <p:nvSpPr>
            <p:cNvPr id="95" name="Freeform 2"/>
            <p:cNvSpPr>
              <a:spLocks/>
            </p:cNvSpPr>
            <p:nvPr/>
          </p:nvSpPr>
          <p:spPr bwMode="auto">
            <a:xfrm>
              <a:off x="2363511" y="1712914"/>
              <a:ext cx="4346575" cy="3033712"/>
            </a:xfrm>
            <a:custGeom>
              <a:avLst/>
              <a:gdLst>
                <a:gd name="T0" fmla="*/ 2738 w 2738"/>
                <a:gd name="T1" fmla="*/ 1610 h 1911"/>
                <a:gd name="T2" fmla="*/ 2425 w 2738"/>
                <a:gd name="T3" fmla="*/ 1578 h 1911"/>
                <a:gd name="T4" fmla="*/ 2142 w 2738"/>
                <a:gd name="T5" fmla="*/ 1475 h 1911"/>
                <a:gd name="T6" fmla="*/ 2125 w 2738"/>
                <a:gd name="T7" fmla="*/ 1454 h 1911"/>
                <a:gd name="T8" fmla="*/ 2123 w 2738"/>
                <a:gd name="T9" fmla="*/ 1422 h 1911"/>
                <a:gd name="T10" fmla="*/ 2118 w 2738"/>
                <a:gd name="T11" fmla="*/ 1381 h 1911"/>
                <a:gd name="T12" fmla="*/ 2101 w 2738"/>
                <a:gd name="T13" fmla="*/ 1365 h 1911"/>
                <a:gd name="T14" fmla="*/ 1964 w 2738"/>
                <a:gd name="T15" fmla="*/ 1344 h 1911"/>
                <a:gd name="T16" fmla="*/ 1829 w 2738"/>
                <a:gd name="T17" fmla="*/ 1257 h 1911"/>
                <a:gd name="T18" fmla="*/ 1820 w 2738"/>
                <a:gd name="T19" fmla="*/ 1230 h 1911"/>
                <a:gd name="T20" fmla="*/ 1809 w 2738"/>
                <a:gd name="T21" fmla="*/ 1161 h 1911"/>
                <a:gd name="T22" fmla="*/ 1709 w 2738"/>
                <a:gd name="T23" fmla="*/ 1145 h 1911"/>
                <a:gd name="T24" fmla="*/ 1526 w 2738"/>
                <a:gd name="T25" fmla="*/ 1077 h 1911"/>
                <a:gd name="T26" fmla="*/ 1518 w 2738"/>
                <a:gd name="T27" fmla="*/ 1035 h 1911"/>
                <a:gd name="T28" fmla="*/ 1509 w 2738"/>
                <a:gd name="T29" fmla="*/ 945 h 1911"/>
                <a:gd name="T30" fmla="*/ 1407 w 2738"/>
                <a:gd name="T31" fmla="*/ 935 h 1911"/>
                <a:gd name="T32" fmla="*/ 1296 w 2738"/>
                <a:gd name="T33" fmla="*/ 920 h 1911"/>
                <a:gd name="T34" fmla="*/ 1266 w 2738"/>
                <a:gd name="T35" fmla="*/ 911 h 1911"/>
                <a:gd name="T36" fmla="*/ 1251 w 2738"/>
                <a:gd name="T37" fmla="*/ 895 h 1911"/>
                <a:gd name="T38" fmla="*/ 1235 w 2738"/>
                <a:gd name="T39" fmla="*/ 859 h 1911"/>
                <a:gd name="T40" fmla="*/ 1226 w 2738"/>
                <a:gd name="T41" fmla="*/ 837 h 1911"/>
                <a:gd name="T42" fmla="*/ 1202 w 2738"/>
                <a:gd name="T43" fmla="*/ 799 h 1911"/>
                <a:gd name="T44" fmla="*/ 1152 w 2738"/>
                <a:gd name="T45" fmla="*/ 789 h 1911"/>
                <a:gd name="T46" fmla="*/ 1092 w 2738"/>
                <a:gd name="T47" fmla="*/ 776 h 1911"/>
                <a:gd name="T48" fmla="*/ 1070 w 2738"/>
                <a:gd name="T49" fmla="*/ 733 h 1911"/>
                <a:gd name="T50" fmla="*/ 1049 w 2738"/>
                <a:gd name="T51" fmla="*/ 723 h 1911"/>
                <a:gd name="T52" fmla="*/ 987 w 2738"/>
                <a:gd name="T53" fmla="*/ 679 h 1911"/>
                <a:gd name="T54" fmla="*/ 919 w 2738"/>
                <a:gd name="T55" fmla="*/ 666 h 1911"/>
                <a:gd name="T56" fmla="*/ 912 w 2738"/>
                <a:gd name="T57" fmla="*/ 632 h 1911"/>
                <a:gd name="T58" fmla="*/ 899 w 2738"/>
                <a:gd name="T59" fmla="*/ 585 h 1911"/>
                <a:gd name="T60" fmla="*/ 877 w 2738"/>
                <a:gd name="T61" fmla="*/ 537 h 1911"/>
                <a:gd name="T62" fmla="*/ 871 w 2738"/>
                <a:gd name="T63" fmla="*/ 528 h 1911"/>
                <a:gd name="T64" fmla="*/ 845 w 2738"/>
                <a:gd name="T65" fmla="*/ 518 h 1911"/>
                <a:gd name="T66" fmla="*/ 765 w 2738"/>
                <a:gd name="T67" fmla="*/ 511 h 1911"/>
                <a:gd name="T68" fmla="*/ 745 w 2738"/>
                <a:gd name="T69" fmla="*/ 465 h 1911"/>
                <a:gd name="T70" fmla="*/ 731 w 2738"/>
                <a:gd name="T71" fmla="*/ 435 h 1911"/>
                <a:gd name="T72" fmla="*/ 693 w 2738"/>
                <a:gd name="T73" fmla="*/ 423 h 1911"/>
                <a:gd name="T74" fmla="*/ 603 w 2738"/>
                <a:gd name="T75" fmla="*/ 415 h 1911"/>
                <a:gd name="T76" fmla="*/ 590 w 2738"/>
                <a:gd name="T77" fmla="*/ 407 h 1911"/>
                <a:gd name="T78" fmla="*/ 509 w 2738"/>
                <a:gd name="T79" fmla="*/ 344 h 1911"/>
                <a:gd name="T80" fmla="*/ 481 w 2738"/>
                <a:gd name="T81" fmla="*/ 335 h 1911"/>
                <a:gd name="T82" fmla="*/ 458 w 2738"/>
                <a:gd name="T83" fmla="*/ 324 h 1911"/>
                <a:gd name="T84" fmla="*/ 445 w 2738"/>
                <a:gd name="T85" fmla="*/ 314 h 1911"/>
                <a:gd name="T86" fmla="*/ 439 w 2738"/>
                <a:gd name="T87" fmla="*/ 272 h 1911"/>
                <a:gd name="T88" fmla="*/ 433 w 2738"/>
                <a:gd name="T89" fmla="*/ 253 h 1911"/>
                <a:gd name="T90" fmla="*/ 385 w 2738"/>
                <a:gd name="T91" fmla="*/ 245 h 1911"/>
                <a:gd name="T92" fmla="*/ 336 w 2738"/>
                <a:gd name="T93" fmla="*/ 231 h 1911"/>
                <a:gd name="T94" fmla="*/ 311 w 2738"/>
                <a:gd name="T95" fmla="*/ 218 h 1911"/>
                <a:gd name="T96" fmla="*/ 303 w 2738"/>
                <a:gd name="T97" fmla="*/ 183 h 1911"/>
                <a:gd name="T98" fmla="*/ 287 w 2738"/>
                <a:gd name="T99" fmla="*/ 158 h 1911"/>
                <a:gd name="T100" fmla="*/ 281 w 2738"/>
                <a:gd name="T101" fmla="*/ 128 h 1911"/>
                <a:gd name="T102" fmla="*/ 211 w 2738"/>
                <a:gd name="T103" fmla="*/ 108 h 1911"/>
                <a:gd name="T104" fmla="*/ 158 w 2738"/>
                <a:gd name="T105" fmla="*/ 84 h 1911"/>
                <a:gd name="T106" fmla="*/ 135 w 2738"/>
                <a:gd name="T107" fmla="*/ 51 h 1911"/>
                <a:gd name="T108" fmla="*/ 80 w 2738"/>
                <a:gd name="T109" fmla="*/ 20 h 1911"/>
                <a:gd name="T110" fmla="*/ 0 w 2738"/>
                <a:gd name="T111" fmla="*/ 0 h 19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738" h="1911">
                  <a:moveTo>
                    <a:pt x="2737" y="1911"/>
                  </a:moveTo>
                  <a:lnTo>
                    <a:pt x="2738" y="1610"/>
                  </a:lnTo>
                  <a:lnTo>
                    <a:pt x="2425" y="1609"/>
                  </a:lnTo>
                  <a:lnTo>
                    <a:pt x="2425" y="1578"/>
                  </a:lnTo>
                  <a:lnTo>
                    <a:pt x="2145" y="1584"/>
                  </a:lnTo>
                  <a:lnTo>
                    <a:pt x="2142" y="1475"/>
                  </a:lnTo>
                  <a:lnTo>
                    <a:pt x="2130" y="1476"/>
                  </a:lnTo>
                  <a:lnTo>
                    <a:pt x="2125" y="1454"/>
                  </a:lnTo>
                  <a:lnTo>
                    <a:pt x="2126" y="1441"/>
                  </a:lnTo>
                  <a:lnTo>
                    <a:pt x="2123" y="1422"/>
                  </a:lnTo>
                  <a:lnTo>
                    <a:pt x="2119" y="1423"/>
                  </a:lnTo>
                  <a:lnTo>
                    <a:pt x="2118" y="1381"/>
                  </a:lnTo>
                  <a:lnTo>
                    <a:pt x="2101" y="1382"/>
                  </a:lnTo>
                  <a:lnTo>
                    <a:pt x="2101" y="1365"/>
                  </a:lnTo>
                  <a:lnTo>
                    <a:pt x="1964" y="1364"/>
                  </a:lnTo>
                  <a:lnTo>
                    <a:pt x="1964" y="1344"/>
                  </a:lnTo>
                  <a:lnTo>
                    <a:pt x="1838" y="1343"/>
                  </a:lnTo>
                  <a:lnTo>
                    <a:pt x="1829" y="1257"/>
                  </a:lnTo>
                  <a:lnTo>
                    <a:pt x="1824" y="1257"/>
                  </a:lnTo>
                  <a:lnTo>
                    <a:pt x="1820" y="1230"/>
                  </a:lnTo>
                  <a:lnTo>
                    <a:pt x="1813" y="1231"/>
                  </a:lnTo>
                  <a:lnTo>
                    <a:pt x="1809" y="1161"/>
                  </a:lnTo>
                  <a:lnTo>
                    <a:pt x="1707" y="1163"/>
                  </a:lnTo>
                  <a:lnTo>
                    <a:pt x="1709" y="1145"/>
                  </a:lnTo>
                  <a:lnTo>
                    <a:pt x="1527" y="1148"/>
                  </a:lnTo>
                  <a:lnTo>
                    <a:pt x="1526" y="1077"/>
                  </a:lnTo>
                  <a:lnTo>
                    <a:pt x="1519" y="1068"/>
                  </a:lnTo>
                  <a:lnTo>
                    <a:pt x="1518" y="1035"/>
                  </a:lnTo>
                  <a:lnTo>
                    <a:pt x="1513" y="1029"/>
                  </a:lnTo>
                  <a:lnTo>
                    <a:pt x="1509" y="945"/>
                  </a:lnTo>
                  <a:lnTo>
                    <a:pt x="1409" y="947"/>
                  </a:lnTo>
                  <a:lnTo>
                    <a:pt x="1407" y="935"/>
                  </a:lnTo>
                  <a:lnTo>
                    <a:pt x="1298" y="935"/>
                  </a:lnTo>
                  <a:lnTo>
                    <a:pt x="1296" y="920"/>
                  </a:lnTo>
                  <a:lnTo>
                    <a:pt x="1268" y="920"/>
                  </a:lnTo>
                  <a:lnTo>
                    <a:pt x="1266" y="911"/>
                  </a:lnTo>
                  <a:lnTo>
                    <a:pt x="1253" y="912"/>
                  </a:lnTo>
                  <a:lnTo>
                    <a:pt x="1251" y="895"/>
                  </a:lnTo>
                  <a:lnTo>
                    <a:pt x="1238" y="894"/>
                  </a:lnTo>
                  <a:lnTo>
                    <a:pt x="1235" y="859"/>
                  </a:lnTo>
                  <a:lnTo>
                    <a:pt x="1224" y="861"/>
                  </a:lnTo>
                  <a:lnTo>
                    <a:pt x="1226" y="837"/>
                  </a:lnTo>
                  <a:lnTo>
                    <a:pt x="1205" y="836"/>
                  </a:lnTo>
                  <a:lnTo>
                    <a:pt x="1202" y="799"/>
                  </a:lnTo>
                  <a:lnTo>
                    <a:pt x="1153" y="801"/>
                  </a:lnTo>
                  <a:lnTo>
                    <a:pt x="1152" y="789"/>
                  </a:lnTo>
                  <a:lnTo>
                    <a:pt x="1092" y="788"/>
                  </a:lnTo>
                  <a:lnTo>
                    <a:pt x="1092" y="776"/>
                  </a:lnTo>
                  <a:lnTo>
                    <a:pt x="1069" y="775"/>
                  </a:lnTo>
                  <a:lnTo>
                    <a:pt x="1070" y="733"/>
                  </a:lnTo>
                  <a:lnTo>
                    <a:pt x="1062" y="725"/>
                  </a:lnTo>
                  <a:lnTo>
                    <a:pt x="1049" y="723"/>
                  </a:lnTo>
                  <a:lnTo>
                    <a:pt x="1045" y="678"/>
                  </a:lnTo>
                  <a:lnTo>
                    <a:pt x="987" y="679"/>
                  </a:lnTo>
                  <a:lnTo>
                    <a:pt x="985" y="666"/>
                  </a:lnTo>
                  <a:lnTo>
                    <a:pt x="919" y="666"/>
                  </a:lnTo>
                  <a:lnTo>
                    <a:pt x="921" y="648"/>
                  </a:lnTo>
                  <a:lnTo>
                    <a:pt x="912" y="632"/>
                  </a:lnTo>
                  <a:lnTo>
                    <a:pt x="908" y="595"/>
                  </a:lnTo>
                  <a:lnTo>
                    <a:pt x="899" y="585"/>
                  </a:lnTo>
                  <a:lnTo>
                    <a:pt x="893" y="541"/>
                  </a:lnTo>
                  <a:lnTo>
                    <a:pt x="877" y="537"/>
                  </a:lnTo>
                  <a:lnTo>
                    <a:pt x="879" y="530"/>
                  </a:lnTo>
                  <a:lnTo>
                    <a:pt x="871" y="528"/>
                  </a:lnTo>
                  <a:lnTo>
                    <a:pt x="872" y="522"/>
                  </a:lnTo>
                  <a:lnTo>
                    <a:pt x="845" y="518"/>
                  </a:lnTo>
                  <a:lnTo>
                    <a:pt x="848" y="510"/>
                  </a:lnTo>
                  <a:lnTo>
                    <a:pt x="765" y="511"/>
                  </a:lnTo>
                  <a:lnTo>
                    <a:pt x="763" y="467"/>
                  </a:lnTo>
                  <a:lnTo>
                    <a:pt x="745" y="465"/>
                  </a:lnTo>
                  <a:lnTo>
                    <a:pt x="745" y="435"/>
                  </a:lnTo>
                  <a:lnTo>
                    <a:pt x="731" y="435"/>
                  </a:lnTo>
                  <a:lnTo>
                    <a:pt x="731" y="426"/>
                  </a:lnTo>
                  <a:lnTo>
                    <a:pt x="693" y="423"/>
                  </a:lnTo>
                  <a:lnTo>
                    <a:pt x="692" y="416"/>
                  </a:lnTo>
                  <a:lnTo>
                    <a:pt x="603" y="415"/>
                  </a:lnTo>
                  <a:lnTo>
                    <a:pt x="608" y="407"/>
                  </a:lnTo>
                  <a:lnTo>
                    <a:pt x="590" y="407"/>
                  </a:lnTo>
                  <a:lnTo>
                    <a:pt x="590" y="344"/>
                  </a:lnTo>
                  <a:lnTo>
                    <a:pt x="509" y="344"/>
                  </a:lnTo>
                  <a:lnTo>
                    <a:pt x="507" y="335"/>
                  </a:lnTo>
                  <a:lnTo>
                    <a:pt x="481" y="335"/>
                  </a:lnTo>
                  <a:lnTo>
                    <a:pt x="477" y="325"/>
                  </a:lnTo>
                  <a:lnTo>
                    <a:pt x="458" y="324"/>
                  </a:lnTo>
                  <a:lnTo>
                    <a:pt x="458" y="315"/>
                  </a:lnTo>
                  <a:lnTo>
                    <a:pt x="445" y="314"/>
                  </a:lnTo>
                  <a:lnTo>
                    <a:pt x="441" y="294"/>
                  </a:lnTo>
                  <a:lnTo>
                    <a:pt x="439" y="272"/>
                  </a:lnTo>
                  <a:lnTo>
                    <a:pt x="435" y="269"/>
                  </a:lnTo>
                  <a:lnTo>
                    <a:pt x="433" y="253"/>
                  </a:lnTo>
                  <a:lnTo>
                    <a:pt x="385" y="253"/>
                  </a:lnTo>
                  <a:lnTo>
                    <a:pt x="385" y="245"/>
                  </a:lnTo>
                  <a:lnTo>
                    <a:pt x="335" y="242"/>
                  </a:lnTo>
                  <a:lnTo>
                    <a:pt x="336" y="231"/>
                  </a:lnTo>
                  <a:lnTo>
                    <a:pt x="313" y="231"/>
                  </a:lnTo>
                  <a:lnTo>
                    <a:pt x="311" y="218"/>
                  </a:lnTo>
                  <a:lnTo>
                    <a:pt x="305" y="209"/>
                  </a:lnTo>
                  <a:lnTo>
                    <a:pt x="303" y="183"/>
                  </a:lnTo>
                  <a:lnTo>
                    <a:pt x="284" y="181"/>
                  </a:lnTo>
                  <a:lnTo>
                    <a:pt x="287" y="158"/>
                  </a:lnTo>
                  <a:lnTo>
                    <a:pt x="278" y="149"/>
                  </a:lnTo>
                  <a:lnTo>
                    <a:pt x="281" y="128"/>
                  </a:lnTo>
                  <a:lnTo>
                    <a:pt x="211" y="127"/>
                  </a:lnTo>
                  <a:lnTo>
                    <a:pt x="211" y="108"/>
                  </a:lnTo>
                  <a:lnTo>
                    <a:pt x="161" y="104"/>
                  </a:lnTo>
                  <a:lnTo>
                    <a:pt x="158" y="84"/>
                  </a:lnTo>
                  <a:lnTo>
                    <a:pt x="150" y="68"/>
                  </a:lnTo>
                  <a:lnTo>
                    <a:pt x="135" y="51"/>
                  </a:lnTo>
                  <a:lnTo>
                    <a:pt x="138" y="20"/>
                  </a:lnTo>
                  <a:lnTo>
                    <a:pt x="80" y="20"/>
                  </a:lnTo>
                  <a:lnTo>
                    <a:pt x="80" y="0"/>
                  </a:lnTo>
                  <a:lnTo>
                    <a:pt x="0" y="0"/>
                  </a:lnTo>
                </a:path>
              </a:pathLst>
            </a:custGeom>
            <a:noFill/>
            <a:ln w="28575" cmpd="sng">
              <a:solidFill>
                <a:srgbClr val="1CBECA"/>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pSp>
      <p:grpSp>
        <p:nvGrpSpPr>
          <p:cNvPr id="2" name="组合 1"/>
          <p:cNvGrpSpPr/>
          <p:nvPr/>
        </p:nvGrpSpPr>
        <p:grpSpPr>
          <a:xfrm>
            <a:off x="6475318" y="3252293"/>
            <a:ext cx="1951038" cy="662404"/>
            <a:chOff x="6475318" y="3252293"/>
            <a:chExt cx="1951038" cy="662404"/>
          </a:xfrm>
        </p:grpSpPr>
        <p:cxnSp>
          <p:nvCxnSpPr>
            <p:cNvPr id="41" name="Straight Connector 43"/>
            <p:cNvCxnSpPr/>
            <p:nvPr/>
          </p:nvCxnSpPr>
          <p:spPr>
            <a:xfrm>
              <a:off x="6475318" y="3330497"/>
              <a:ext cx="231775" cy="0"/>
            </a:xfrm>
            <a:prstGeom prst="line">
              <a:avLst/>
            </a:prstGeom>
            <a:noFill/>
            <a:ln w="28575" cap="rnd" cmpd="sng" algn="ctr">
              <a:solidFill>
                <a:srgbClr val="1CBECA"/>
              </a:solidFill>
              <a:prstDash val="solid"/>
            </a:ln>
            <a:effectLst/>
          </p:spPr>
        </p:cxnSp>
        <p:cxnSp>
          <p:nvCxnSpPr>
            <p:cNvPr id="42" name="Straight Connector 44"/>
            <p:cNvCxnSpPr/>
            <p:nvPr/>
          </p:nvCxnSpPr>
          <p:spPr>
            <a:xfrm>
              <a:off x="6475318" y="3486570"/>
              <a:ext cx="231775" cy="0"/>
            </a:xfrm>
            <a:prstGeom prst="line">
              <a:avLst/>
            </a:prstGeom>
            <a:noFill/>
            <a:ln w="28575" cap="rnd" cmpd="sng" algn="ctr">
              <a:solidFill>
                <a:srgbClr val="717073"/>
              </a:solidFill>
              <a:prstDash val="solid"/>
            </a:ln>
            <a:effectLst/>
          </p:spPr>
        </p:cxnSp>
        <p:sp>
          <p:nvSpPr>
            <p:cNvPr id="43" name="TextBox 304"/>
            <p:cNvSpPr txBox="1">
              <a:spLocks noChangeArrowheads="1"/>
            </p:cNvSpPr>
            <p:nvPr/>
          </p:nvSpPr>
          <p:spPr bwMode="auto">
            <a:xfrm>
              <a:off x="6765831" y="3252293"/>
              <a:ext cx="166052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0">
                <a:tabLst>
                  <a:tab pos="914400" algn="l"/>
                </a:tabLst>
                <a:defRPr>
                  <a:solidFill>
                    <a:schemeClr val="tx1"/>
                  </a:solidFill>
                  <a:latin typeface="Arial" pitchFamily="34" charset="0"/>
                </a:defRPr>
              </a:lvl1pPr>
              <a:lvl2pPr marL="742950" indent="-285750" defTabSz="0">
                <a:tabLst>
                  <a:tab pos="914400" algn="l"/>
                </a:tabLst>
                <a:defRPr>
                  <a:solidFill>
                    <a:schemeClr val="tx1"/>
                  </a:solidFill>
                  <a:latin typeface="Arial" pitchFamily="34" charset="0"/>
                </a:defRPr>
              </a:lvl2pPr>
              <a:lvl3pPr marL="1143000" indent="-228600" defTabSz="0">
                <a:tabLst>
                  <a:tab pos="914400" algn="l"/>
                </a:tabLst>
                <a:defRPr>
                  <a:solidFill>
                    <a:schemeClr val="tx1"/>
                  </a:solidFill>
                  <a:latin typeface="Arial" pitchFamily="34" charset="0"/>
                </a:defRPr>
              </a:lvl3pPr>
              <a:lvl4pPr marL="1600200" indent="-228600" defTabSz="0">
                <a:tabLst>
                  <a:tab pos="914400" algn="l"/>
                </a:tabLst>
                <a:defRPr>
                  <a:solidFill>
                    <a:schemeClr val="tx1"/>
                  </a:solidFill>
                  <a:latin typeface="Arial" pitchFamily="34" charset="0"/>
                </a:defRPr>
              </a:lvl4pPr>
              <a:lvl5pPr marL="2057400" indent="-228600" defTabSz="0">
                <a:tabLst>
                  <a:tab pos="914400" algn="l"/>
                </a:tabLst>
                <a:defRPr>
                  <a:solidFill>
                    <a:schemeClr val="tx1"/>
                  </a:solidFill>
                  <a:latin typeface="Arial" pitchFamily="34" charset="0"/>
                </a:defRPr>
              </a:lvl5pPr>
              <a:lvl6pPr marL="2514600" indent="-228600" defTabSz="0" fontAlgn="base">
                <a:spcBef>
                  <a:spcPct val="0"/>
                </a:spcBef>
                <a:spcAft>
                  <a:spcPct val="0"/>
                </a:spcAft>
                <a:tabLst>
                  <a:tab pos="914400" algn="l"/>
                </a:tabLst>
                <a:defRPr>
                  <a:solidFill>
                    <a:schemeClr val="tx1"/>
                  </a:solidFill>
                  <a:latin typeface="Arial" pitchFamily="34" charset="0"/>
                </a:defRPr>
              </a:lvl6pPr>
              <a:lvl7pPr marL="2971800" indent="-228600" defTabSz="0" fontAlgn="base">
                <a:spcBef>
                  <a:spcPct val="0"/>
                </a:spcBef>
                <a:spcAft>
                  <a:spcPct val="0"/>
                </a:spcAft>
                <a:tabLst>
                  <a:tab pos="914400" algn="l"/>
                </a:tabLst>
                <a:defRPr>
                  <a:solidFill>
                    <a:schemeClr val="tx1"/>
                  </a:solidFill>
                  <a:latin typeface="Arial" pitchFamily="34" charset="0"/>
                </a:defRPr>
              </a:lvl7pPr>
              <a:lvl8pPr marL="3429000" indent="-228600" defTabSz="0" fontAlgn="base">
                <a:spcBef>
                  <a:spcPct val="0"/>
                </a:spcBef>
                <a:spcAft>
                  <a:spcPct val="0"/>
                </a:spcAft>
                <a:tabLst>
                  <a:tab pos="914400" algn="l"/>
                </a:tabLst>
                <a:defRPr>
                  <a:solidFill>
                    <a:schemeClr val="tx1"/>
                  </a:solidFill>
                  <a:latin typeface="Arial" pitchFamily="34" charset="0"/>
                </a:defRPr>
              </a:lvl8pPr>
              <a:lvl9pPr marL="3886200" indent="-228600" defTabSz="0" fontAlgn="base">
                <a:spcBef>
                  <a:spcPct val="0"/>
                </a:spcBef>
                <a:spcAft>
                  <a:spcPct val="0"/>
                </a:spcAft>
                <a:tabLst>
                  <a:tab pos="914400" algn="l"/>
                </a:tabLst>
                <a:defRPr>
                  <a:solidFill>
                    <a:schemeClr val="tx1"/>
                  </a:solidFill>
                  <a:latin typeface="Arial" pitchFamily="34" charset="0"/>
                </a:defRPr>
              </a:lvl9pPr>
            </a:lstStyle>
            <a:p>
              <a:pPr marL="0" marR="0" lvl="0" indent="0" algn="l" defTabSz="0" rtl="0" eaLnBrk="1" fontAlgn="base" latinLnBrk="0" hangingPunct="1">
                <a:lnSpc>
                  <a:spcPct val="110000"/>
                </a:lnSpc>
                <a:spcBef>
                  <a:spcPct val="0"/>
                </a:spcBef>
                <a:spcAft>
                  <a:spcPct val="0"/>
                </a:spcAft>
                <a:buClrTx/>
                <a:buSzTx/>
                <a:buFontTx/>
                <a:buNone/>
                <a:tabLst>
                  <a:tab pos="914400" algn="l"/>
                </a:tabLst>
                <a:defRPr/>
              </a:pPr>
              <a:r>
                <a:rPr kumimoji="0" lang="zh-CN" altLang="en-US" sz="1000" b="0" i="0" u="none" strike="noStrike" kern="1200" cap="none" spc="0" normalizeH="0" baseline="0" noProof="0" dirty="0">
                  <a:ln>
                    <a:noFill/>
                  </a:ln>
                  <a:solidFill>
                    <a:srgbClr val="1CBECA"/>
                  </a:solidFill>
                  <a:effectLst/>
                  <a:uLnTx/>
                  <a:uFillTx/>
                  <a:latin typeface="微软雅黑" panose="020B0503020204020204" pitchFamily="34" charset="-122"/>
                  <a:ea typeface="微软雅黑" panose="020B0503020204020204" pitchFamily="34" charset="-122"/>
                  <a:cs typeface="Arial" pitchFamily="34" charset="0"/>
                </a:rPr>
                <a:t>吉泰瑞 </a:t>
              </a:r>
              <a:r>
                <a:rPr kumimoji="0" lang="en-GB" altLang="zh-CN" sz="1000" b="0" i="0" u="none" strike="noStrike" kern="1200" cap="none" spc="0" normalizeH="0" baseline="0" noProof="0" dirty="0">
                  <a:ln>
                    <a:noFill/>
                  </a:ln>
                  <a:solidFill>
                    <a:srgbClr val="1CBECA"/>
                  </a:solidFill>
                  <a:effectLst/>
                  <a:uLnTx/>
                  <a:uFillTx/>
                  <a:latin typeface="微软雅黑" panose="020B0503020204020204" pitchFamily="34" charset="-122"/>
                  <a:ea typeface="微软雅黑" panose="020B0503020204020204" pitchFamily="34" charset="-122"/>
                  <a:cs typeface="Arial" pitchFamily="34" charset="0"/>
                </a:rPr>
                <a:t>LUX-Lung 3</a:t>
              </a:r>
              <a:endParaRPr kumimoji="0" lang="en-GB" altLang="zh-CN" sz="1000" b="0" i="0" u="none" strike="noStrike" kern="1200" cap="none" spc="0" normalizeH="0" baseline="0" noProof="0" dirty="0">
                <a:ln>
                  <a:noFill/>
                </a:ln>
                <a:solidFill>
                  <a:srgbClr val="1CBECA"/>
                </a:solidFill>
                <a:effectLst/>
                <a:uLnTx/>
                <a:uFillTx/>
                <a:latin typeface="微软雅黑" panose="020B0503020204020204" pitchFamily="34" charset="-122"/>
                <a:ea typeface="微软雅黑" panose="020B0503020204020204" pitchFamily="34" charset="-122"/>
                <a:cs typeface="Arial" pitchFamily="34" charset="0"/>
                <a:sym typeface="Symbol" pitchFamily="18" charset="2"/>
              </a:endParaRPr>
            </a:p>
            <a:p>
              <a:pPr marL="0" marR="0" lvl="0" indent="0" algn="l" defTabSz="0" rtl="0" eaLnBrk="1" fontAlgn="base" latinLnBrk="0" hangingPunct="1">
                <a:lnSpc>
                  <a:spcPct val="110000"/>
                </a:lnSpc>
                <a:spcBef>
                  <a:spcPct val="0"/>
                </a:spcBef>
                <a:spcAft>
                  <a:spcPct val="0"/>
                </a:spcAft>
                <a:buClrTx/>
                <a:buSzTx/>
                <a:buFontTx/>
                <a:buNone/>
                <a:tabLst>
                  <a:tab pos="914400" algn="l"/>
                </a:tabLst>
                <a:defRPr/>
              </a:pPr>
              <a:r>
                <a:rPr kumimoji="0" lang="zh-CN" altLang="en-US" sz="1000" b="0" i="0" u="none" strike="noStrike" kern="1200" cap="none" spc="0" normalizeH="0" baseline="0" noProof="0" dirty="0">
                  <a:ln>
                    <a:noFill/>
                  </a:ln>
                  <a:solidFill>
                    <a:srgbClr val="595959"/>
                  </a:solidFill>
                  <a:effectLst/>
                  <a:uLnTx/>
                  <a:uFillTx/>
                  <a:latin typeface="微软雅黑" panose="020B0503020204020204" pitchFamily="34" charset="-122"/>
                  <a:ea typeface="微软雅黑" panose="020B0503020204020204" pitchFamily="34" charset="-122"/>
                  <a:cs typeface="Arial" pitchFamily="34" charset="0"/>
                </a:rPr>
                <a:t>顺铂</a:t>
              </a:r>
              <a:r>
                <a:rPr kumimoji="0" lang="en-US" altLang="zh-CN" sz="1000" b="0" i="0" u="none" strike="noStrike" kern="1200" cap="none" spc="0" normalizeH="0" baseline="0" noProof="0" dirty="0">
                  <a:ln>
                    <a:noFill/>
                  </a:ln>
                  <a:solidFill>
                    <a:srgbClr val="595959"/>
                  </a:solidFill>
                  <a:effectLst/>
                  <a:uLnTx/>
                  <a:uFillTx/>
                  <a:latin typeface="微软雅黑" panose="020B0503020204020204" pitchFamily="34" charset="-122"/>
                  <a:ea typeface="微软雅黑" panose="020B0503020204020204" pitchFamily="34" charset="-122"/>
                  <a:cs typeface="Arial" pitchFamily="34" charset="0"/>
                </a:rPr>
                <a:t>/</a:t>
              </a:r>
              <a:r>
                <a:rPr kumimoji="0" lang="zh-CN" altLang="en-US" sz="1000" b="0" i="0" u="none" strike="noStrike" kern="1200" cap="none" spc="0" normalizeH="0" baseline="0" noProof="0" dirty="0">
                  <a:ln>
                    <a:noFill/>
                  </a:ln>
                  <a:solidFill>
                    <a:srgbClr val="595959"/>
                  </a:solidFill>
                  <a:effectLst/>
                  <a:uLnTx/>
                  <a:uFillTx/>
                  <a:latin typeface="微软雅黑" panose="020B0503020204020204" pitchFamily="34" charset="-122"/>
                  <a:ea typeface="微软雅黑" panose="020B0503020204020204" pitchFamily="34" charset="-122"/>
                  <a:cs typeface="Arial" pitchFamily="34" charset="0"/>
                </a:rPr>
                <a:t>培美曲塞 </a:t>
              </a:r>
              <a:r>
                <a:rPr kumimoji="0" lang="de-DE" altLang="zh-CN" sz="1000" b="0" i="0" u="none" strike="noStrike" kern="1200" cap="none" spc="0" normalizeH="0" baseline="0" noProof="0" dirty="0">
                  <a:ln>
                    <a:noFill/>
                  </a:ln>
                  <a:solidFill>
                    <a:srgbClr val="595959"/>
                  </a:solidFill>
                  <a:effectLst/>
                  <a:uLnTx/>
                  <a:uFillTx/>
                  <a:latin typeface="微软雅黑" panose="020B0503020204020204" pitchFamily="34" charset="-122"/>
                  <a:ea typeface="微软雅黑" panose="020B0503020204020204" pitchFamily="34" charset="-122"/>
                  <a:cs typeface="Arial" pitchFamily="34" charset="0"/>
                </a:rPr>
                <a:t>LUX-Lung 3</a:t>
              </a:r>
              <a:endParaRPr kumimoji="0" lang="en-GB" altLang="zh-CN" sz="1000" b="0" i="0" u="none" strike="noStrike" kern="1200" cap="none" spc="0" normalizeH="0" baseline="0" noProof="0" dirty="0">
                <a:ln>
                  <a:noFill/>
                </a:ln>
                <a:solidFill>
                  <a:srgbClr val="595959"/>
                </a:solidFill>
                <a:effectLst/>
                <a:uLnTx/>
                <a:uFillTx/>
                <a:latin typeface="微软雅黑" panose="020B0503020204020204" pitchFamily="34" charset="-122"/>
                <a:ea typeface="微软雅黑" panose="020B0503020204020204" pitchFamily="34" charset="-122"/>
                <a:cs typeface="Arial" pitchFamily="34" charset="0"/>
                <a:sym typeface="Symbol" pitchFamily="18" charset="2"/>
              </a:endParaRPr>
            </a:p>
          </p:txBody>
        </p:sp>
        <p:sp>
          <p:nvSpPr>
            <p:cNvPr id="44" name="TextBox 304"/>
            <p:cNvSpPr txBox="1">
              <a:spLocks noChangeArrowheads="1"/>
            </p:cNvSpPr>
            <p:nvPr/>
          </p:nvSpPr>
          <p:spPr bwMode="auto">
            <a:xfrm>
              <a:off x="6756306" y="3576143"/>
              <a:ext cx="159702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0">
                <a:tabLst>
                  <a:tab pos="914400" algn="l"/>
                </a:tabLst>
                <a:defRPr>
                  <a:solidFill>
                    <a:schemeClr val="tx1"/>
                  </a:solidFill>
                  <a:latin typeface="Arial" pitchFamily="34" charset="0"/>
                </a:defRPr>
              </a:lvl1pPr>
              <a:lvl2pPr marL="742950" indent="-285750" defTabSz="0">
                <a:tabLst>
                  <a:tab pos="914400" algn="l"/>
                </a:tabLst>
                <a:defRPr>
                  <a:solidFill>
                    <a:schemeClr val="tx1"/>
                  </a:solidFill>
                  <a:latin typeface="Arial" pitchFamily="34" charset="0"/>
                </a:defRPr>
              </a:lvl2pPr>
              <a:lvl3pPr marL="1143000" indent="-228600" defTabSz="0">
                <a:tabLst>
                  <a:tab pos="914400" algn="l"/>
                </a:tabLst>
                <a:defRPr>
                  <a:solidFill>
                    <a:schemeClr val="tx1"/>
                  </a:solidFill>
                  <a:latin typeface="Arial" pitchFamily="34" charset="0"/>
                </a:defRPr>
              </a:lvl3pPr>
              <a:lvl4pPr marL="1600200" indent="-228600" defTabSz="0">
                <a:tabLst>
                  <a:tab pos="914400" algn="l"/>
                </a:tabLst>
                <a:defRPr>
                  <a:solidFill>
                    <a:schemeClr val="tx1"/>
                  </a:solidFill>
                  <a:latin typeface="Arial" pitchFamily="34" charset="0"/>
                </a:defRPr>
              </a:lvl4pPr>
              <a:lvl5pPr marL="2057400" indent="-228600" defTabSz="0">
                <a:tabLst>
                  <a:tab pos="914400" algn="l"/>
                </a:tabLst>
                <a:defRPr>
                  <a:solidFill>
                    <a:schemeClr val="tx1"/>
                  </a:solidFill>
                  <a:latin typeface="Arial" pitchFamily="34" charset="0"/>
                </a:defRPr>
              </a:lvl5pPr>
              <a:lvl6pPr marL="2514600" indent="-228600" defTabSz="0" fontAlgn="base">
                <a:spcBef>
                  <a:spcPct val="0"/>
                </a:spcBef>
                <a:spcAft>
                  <a:spcPct val="0"/>
                </a:spcAft>
                <a:tabLst>
                  <a:tab pos="914400" algn="l"/>
                </a:tabLst>
                <a:defRPr>
                  <a:solidFill>
                    <a:schemeClr val="tx1"/>
                  </a:solidFill>
                  <a:latin typeface="Arial" pitchFamily="34" charset="0"/>
                </a:defRPr>
              </a:lvl6pPr>
              <a:lvl7pPr marL="2971800" indent="-228600" defTabSz="0" fontAlgn="base">
                <a:spcBef>
                  <a:spcPct val="0"/>
                </a:spcBef>
                <a:spcAft>
                  <a:spcPct val="0"/>
                </a:spcAft>
                <a:tabLst>
                  <a:tab pos="914400" algn="l"/>
                </a:tabLst>
                <a:defRPr>
                  <a:solidFill>
                    <a:schemeClr val="tx1"/>
                  </a:solidFill>
                  <a:latin typeface="Arial" pitchFamily="34" charset="0"/>
                </a:defRPr>
              </a:lvl7pPr>
              <a:lvl8pPr marL="3429000" indent="-228600" defTabSz="0" fontAlgn="base">
                <a:spcBef>
                  <a:spcPct val="0"/>
                </a:spcBef>
                <a:spcAft>
                  <a:spcPct val="0"/>
                </a:spcAft>
                <a:tabLst>
                  <a:tab pos="914400" algn="l"/>
                </a:tabLst>
                <a:defRPr>
                  <a:solidFill>
                    <a:schemeClr val="tx1"/>
                  </a:solidFill>
                  <a:latin typeface="Arial" pitchFamily="34" charset="0"/>
                </a:defRPr>
              </a:lvl8pPr>
              <a:lvl9pPr marL="3886200" indent="-228600" defTabSz="0" fontAlgn="base">
                <a:spcBef>
                  <a:spcPct val="0"/>
                </a:spcBef>
                <a:spcAft>
                  <a:spcPct val="0"/>
                </a:spcAft>
                <a:tabLst>
                  <a:tab pos="914400" algn="l"/>
                </a:tabLst>
                <a:defRPr>
                  <a:solidFill>
                    <a:schemeClr val="tx1"/>
                  </a:solidFill>
                  <a:latin typeface="Arial" pitchFamily="34" charset="0"/>
                </a:defRPr>
              </a:lvl9pPr>
            </a:lstStyle>
            <a:p>
              <a:pPr marL="0" marR="0" lvl="0" indent="0" algn="l" defTabSz="0" rtl="0" eaLnBrk="1" fontAlgn="base" latinLnBrk="0" hangingPunct="1">
                <a:lnSpc>
                  <a:spcPct val="110000"/>
                </a:lnSpc>
                <a:spcBef>
                  <a:spcPct val="0"/>
                </a:spcBef>
                <a:spcAft>
                  <a:spcPct val="0"/>
                </a:spcAft>
                <a:buClrTx/>
                <a:buSzTx/>
                <a:buFontTx/>
                <a:buNone/>
                <a:tabLst>
                  <a:tab pos="914400" algn="l"/>
                </a:tabLst>
                <a:defRPr/>
              </a:pPr>
              <a:r>
                <a:rPr kumimoji="0" lang="zh-CN" altLang="en-US" sz="1000" b="0" i="0" u="none" strike="noStrike" kern="1200" cap="none" spc="0" normalizeH="0" baseline="0" noProof="0" dirty="0">
                  <a:ln>
                    <a:noFill/>
                  </a:ln>
                  <a:solidFill>
                    <a:srgbClr val="C3B600"/>
                  </a:solidFill>
                  <a:effectLst/>
                  <a:uLnTx/>
                  <a:uFillTx/>
                  <a:latin typeface="微软雅黑" panose="020B0503020204020204" pitchFamily="34" charset="-122"/>
                  <a:ea typeface="微软雅黑" panose="020B0503020204020204" pitchFamily="34" charset="-122"/>
                  <a:cs typeface="Arial" pitchFamily="34" charset="0"/>
                </a:rPr>
                <a:t>吉泰瑞 </a:t>
              </a:r>
              <a:r>
                <a:rPr kumimoji="0" lang="en-GB" altLang="zh-CN" sz="1000" b="0" i="0" u="none" strike="noStrike" kern="1200" cap="none" spc="0" normalizeH="0" baseline="0" noProof="0" dirty="0">
                  <a:ln>
                    <a:noFill/>
                  </a:ln>
                  <a:solidFill>
                    <a:srgbClr val="C3B600"/>
                  </a:solidFill>
                  <a:effectLst/>
                  <a:uLnTx/>
                  <a:uFillTx/>
                  <a:latin typeface="微软雅黑" panose="020B0503020204020204" pitchFamily="34" charset="-122"/>
                  <a:ea typeface="微软雅黑" panose="020B0503020204020204" pitchFamily="34" charset="-122"/>
                  <a:cs typeface="Arial" pitchFamily="34" charset="0"/>
                </a:rPr>
                <a:t>LUX-Lung 6</a:t>
              </a:r>
              <a:endParaRPr kumimoji="0" lang="en-GB" altLang="zh-CN" sz="1000" b="0" i="0" u="none" strike="noStrike" kern="1200" cap="none" spc="0" normalizeH="0" baseline="0" noProof="0" dirty="0">
                <a:ln>
                  <a:noFill/>
                </a:ln>
                <a:solidFill>
                  <a:srgbClr val="C3B600"/>
                </a:solidFill>
                <a:effectLst/>
                <a:uLnTx/>
                <a:uFillTx/>
                <a:latin typeface="微软雅黑" panose="020B0503020204020204" pitchFamily="34" charset="-122"/>
                <a:ea typeface="微软雅黑" panose="020B0503020204020204" pitchFamily="34" charset="-122"/>
                <a:cs typeface="Arial" pitchFamily="34" charset="0"/>
                <a:sym typeface="Symbol" pitchFamily="18" charset="2"/>
              </a:endParaRPr>
            </a:p>
            <a:p>
              <a:pPr marL="0" marR="0" lvl="0" indent="0" algn="l" defTabSz="0" rtl="0" eaLnBrk="1" fontAlgn="base" latinLnBrk="0" hangingPunct="1">
                <a:lnSpc>
                  <a:spcPct val="110000"/>
                </a:lnSpc>
                <a:spcBef>
                  <a:spcPct val="0"/>
                </a:spcBef>
                <a:spcAft>
                  <a:spcPct val="0"/>
                </a:spcAft>
                <a:buClrTx/>
                <a:buSzTx/>
                <a:buFontTx/>
                <a:buNone/>
                <a:tabLst>
                  <a:tab pos="914400" algn="l"/>
                </a:tabLst>
                <a:defRPr/>
              </a:pPr>
              <a:r>
                <a:rPr kumimoji="0" lang="zh-CN" altLang="en-US" sz="1000" b="0" i="0" u="none" strike="noStrike" kern="1200" cap="none" spc="0" normalizeH="0" baseline="0" noProof="0" dirty="0">
                  <a:ln>
                    <a:noFill/>
                  </a:ln>
                  <a:solidFill>
                    <a:prstClr val="white">
                      <a:lumMod val="50000"/>
                    </a:prstClr>
                  </a:solidFill>
                  <a:effectLst/>
                  <a:uLnTx/>
                  <a:uFillTx/>
                  <a:latin typeface="微软雅黑" panose="020B0503020204020204" pitchFamily="34" charset="-122"/>
                  <a:ea typeface="微软雅黑" panose="020B0503020204020204" pitchFamily="34" charset="-122"/>
                  <a:cs typeface="Arial" pitchFamily="34" charset="0"/>
                </a:rPr>
                <a:t>顺铂</a:t>
              </a:r>
              <a:r>
                <a:rPr kumimoji="0" lang="en-US" altLang="zh-CN" sz="1000" b="0" i="0" u="none" strike="noStrike" kern="1200" cap="none" spc="0" normalizeH="0" baseline="0" noProof="0" dirty="0">
                  <a:ln>
                    <a:noFill/>
                  </a:ln>
                  <a:solidFill>
                    <a:prstClr val="white">
                      <a:lumMod val="50000"/>
                    </a:prstClr>
                  </a:solidFill>
                  <a:effectLst/>
                  <a:uLnTx/>
                  <a:uFillTx/>
                  <a:latin typeface="微软雅黑" panose="020B0503020204020204" pitchFamily="34" charset="-122"/>
                  <a:ea typeface="微软雅黑" panose="020B0503020204020204" pitchFamily="34" charset="-122"/>
                  <a:cs typeface="Arial" pitchFamily="34" charset="0"/>
                </a:rPr>
                <a:t>/</a:t>
              </a:r>
              <a:r>
                <a:rPr kumimoji="0" lang="zh-CN" altLang="en-US" sz="1000" b="0" i="0" u="none" strike="noStrike" kern="1200" cap="none" spc="0" normalizeH="0" baseline="0" noProof="0" dirty="0">
                  <a:ln>
                    <a:noFill/>
                  </a:ln>
                  <a:solidFill>
                    <a:prstClr val="white">
                      <a:lumMod val="50000"/>
                    </a:prstClr>
                  </a:solidFill>
                  <a:effectLst/>
                  <a:uLnTx/>
                  <a:uFillTx/>
                  <a:latin typeface="微软雅黑" panose="020B0503020204020204" pitchFamily="34" charset="-122"/>
                  <a:ea typeface="微软雅黑" panose="020B0503020204020204" pitchFamily="34" charset="-122"/>
                  <a:cs typeface="Arial" pitchFamily="34" charset="0"/>
                </a:rPr>
                <a:t>吉西他滨 </a:t>
              </a:r>
              <a:r>
                <a:rPr kumimoji="0" lang="en-GB" altLang="zh-CN" sz="1000" b="0" i="0" u="none" strike="noStrike" kern="1200" cap="none" spc="0" normalizeH="0" baseline="0" noProof="0" dirty="0">
                  <a:ln>
                    <a:noFill/>
                  </a:ln>
                  <a:solidFill>
                    <a:prstClr val="white">
                      <a:lumMod val="50000"/>
                    </a:prstClr>
                  </a:solidFill>
                  <a:effectLst/>
                  <a:uLnTx/>
                  <a:uFillTx/>
                  <a:latin typeface="微软雅黑" panose="020B0503020204020204" pitchFamily="34" charset="-122"/>
                  <a:ea typeface="微软雅黑" panose="020B0503020204020204" pitchFamily="34" charset="-122"/>
                  <a:cs typeface="Arial" pitchFamily="34" charset="0"/>
                </a:rPr>
                <a:t>LUX-Lung 6</a:t>
              </a:r>
            </a:p>
          </p:txBody>
        </p:sp>
        <p:cxnSp>
          <p:nvCxnSpPr>
            <p:cNvPr id="194" name="Straight Connector 203"/>
            <p:cNvCxnSpPr/>
            <p:nvPr/>
          </p:nvCxnSpPr>
          <p:spPr>
            <a:xfrm>
              <a:off x="6475318" y="3684509"/>
              <a:ext cx="231775" cy="0"/>
            </a:xfrm>
            <a:prstGeom prst="line">
              <a:avLst/>
            </a:prstGeom>
            <a:noFill/>
            <a:ln w="28575" cap="rnd" cmpd="sng" algn="ctr">
              <a:solidFill>
                <a:schemeClr val="accent2"/>
              </a:solidFill>
              <a:prstDash val="sysDash"/>
            </a:ln>
            <a:effectLst/>
          </p:spPr>
        </p:cxnSp>
        <p:cxnSp>
          <p:nvCxnSpPr>
            <p:cNvPr id="195" name="Straight Connector 204"/>
            <p:cNvCxnSpPr/>
            <p:nvPr/>
          </p:nvCxnSpPr>
          <p:spPr>
            <a:xfrm>
              <a:off x="6475318" y="3841672"/>
              <a:ext cx="231775" cy="0"/>
            </a:xfrm>
            <a:prstGeom prst="line">
              <a:avLst/>
            </a:prstGeom>
            <a:noFill/>
            <a:ln w="28575" cap="rnd" cmpd="sng" algn="ctr">
              <a:solidFill>
                <a:schemeClr val="bg1">
                  <a:lumMod val="50000"/>
                </a:schemeClr>
              </a:solidFill>
              <a:prstDash val="sysDash"/>
            </a:ln>
            <a:effectLst/>
          </p:spPr>
        </p:cxnSp>
      </p:grpSp>
      <p:grpSp>
        <p:nvGrpSpPr>
          <p:cNvPr id="196" name="Group 6"/>
          <p:cNvGrpSpPr>
            <a:grpSpLocks/>
          </p:cNvGrpSpPr>
          <p:nvPr/>
        </p:nvGrpSpPr>
        <p:grpSpPr bwMode="auto">
          <a:xfrm>
            <a:off x="2031236" y="2153614"/>
            <a:ext cx="4432300" cy="2481262"/>
            <a:chOff x="2216777" y="1722212"/>
            <a:chExt cx="4431004" cy="2480867"/>
          </a:xfrm>
        </p:grpSpPr>
        <p:grpSp>
          <p:nvGrpSpPr>
            <p:cNvPr id="197" name="Group 3"/>
            <p:cNvGrpSpPr>
              <a:grpSpLocks/>
            </p:cNvGrpSpPr>
            <p:nvPr/>
          </p:nvGrpSpPr>
          <p:grpSpPr bwMode="auto">
            <a:xfrm>
              <a:off x="6568406" y="4165614"/>
              <a:ext cx="37465" cy="37465"/>
              <a:chOff x="4553267" y="3050540"/>
              <a:chExt cx="37465" cy="37465"/>
            </a:xfrm>
          </p:grpSpPr>
          <p:cxnSp>
            <p:nvCxnSpPr>
              <p:cNvPr id="340" name="Straight Connector 4"/>
              <p:cNvCxnSpPr/>
              <p:nvPr/>
            </p:nvCxnSpPr>
            <p:spPr>
              <a:xfrm>
                <a:off x="4572334" y="3049911"/>
                <a:ext cx="0" cy="38094"/>
              </a:xfrm>
              <a:prstGeom prst="line">
                <a:avLst/>
              </a:prstGeom>
              <a:noFill/>
              <a:ln w="12700" cap="rnd" cmpd="sng" algn="ctr">
                <a:solidFill>
                  <a:schemeClr val="accent2"/>
                </a:solidFill>
                <a:prstDash val="solid"/>
              </a:ln>
              <a:effectLst/>
            </p:spPr>
          </p:cxnSp>
          <p:cxnSp>
            <p:nvCxnSpPr>
              <p:cNvPr id="341" name="Straight Connector 5"/>
              <p:cNvCxnSpPr/>
              <p:nvPr/>
            </p:nvCxnSpPr>
            <p:spPr>
              <a:xfrm rot="16200000">
                <a:off x="4572334" y="3049914"/>
                <a:ext cx="0" cy="38089"/>
              </a:xfrm>
              <a:prstGeom prst="line">
                <a:avLst/>
              </a:prstGeom>
              <a:noFill/>
              <a:ln w="12700" cap="rnd" cmpd="sng" algn="ctr">
                <a:solidFill>
                  <a:schemeClr val="accent2"/>
                </a:solidFill>
                <a:prstDash val="solid"/>
              </a:ln>
              <a:effectLst/>
            </p:spPr>
          </p:cxnSp>
        </p:grpSp>
        <p:grpSp>
          <p:nvGrpSpPr>
            <p:cNvPr id="198" name="Group 6"/>
            <p:cNvGrpSpPr>
              <a:grpSpLocks/>
            </p:cNvGrpSpPr>
            <p:nvPr/>
          </p:nvGrpSpPr>
          <p:grpSpPr bwMode="auto">
            <a:xfrm>
              <a:off x="6583646" y="4165614"/>
              <a:ext cx="37465" cy="37465"/>
              <a:chOff x="4553267" y="3050540"/>
              <a:chExt cx="37465" cy="37465"/>
            </a:xfrm>
          </p:grpSpPr>
          <p:cxnSp>
            <p:nvCxnSpPr>
              <p:cNvPr id="338" name="Straight Connector 7"/>
              <p:cNvCxnSpPr/>
              <p:nvPr/>
            </p:nvCxnSpPr>
            <p:spPr>
              <a:xfrm>
                <a:off x="4572965" y="3049911"/>
                <a:ext cx="0" cy="38094"/>
              </a:xfrm>
              <a:prstGeom prst="line">
                <a:avLst/>
              </a:prstGeom>
              <a:noFill/>
              <a:ln w="12700" cap="rnd" cmpd="sng" algn="ctr">
                <a:solidFill>
                  <a:schemeClr val="accent2"/>
                </a:solidFill>
                <a:prstDash val="solid"/>
              </a:ln>
              <a:effectLst/>
            </p:spPr>
          </p:cxnSp>
          <p:cxnSp>
            <p:nvCxnSpPr>
              <p:cNvPr id="339" name="Straight Connector 8"/>
              <p:cNvCxnSpPr/>
              <p:nvPr/>
            </p:nvCxnSpPr>
            <p:spPr>
              <a:xfrm rot="16200000">
                <a:off x="4572172" y="3050706"/>
                <a:ext cx="0" cy="36502"/>
              </a:xfrm>
              <a:prstGeom prst="line">
                <a:avLst/>
              </a:prstGeom>
              <a:noFill/>
              <a:ln w="12700" cap="rnd" cmpd="sng" algn="ctr">
                <a:solidFill>
                  <a:schemeClr val="accent2"/>
                </a:solidFill>
                <a:prstDash val="solid"/>
              </a:ln>
              <a:effectLst/>
            </p:spPr>
          </p:cxnSp>
        </p:grpSp>
        <p:grpSp>
          <p:nvGrpSpPr>
            <p:cNvPr id="199" name="Group 9"/>
            <p:cNvGrpSpPr>
              <a:grpSpLocks/>
            </p:cNvGrpSpPr>
            <p:nvPr/>
          </p:nvGrpSpPr>
          <p:grpSpPr bwMode="auto">
            <a:xfrm>
              <a:off x="6610316" y="4165614"/>
              <a:ext cx="37465" cy="37465"/>
              <a:chOff x="4553267" y="3050540"/>
              <a:chExt cx="37465" cy="37465"/>
            </a:xfrm>
          </p:grpSpPr>
          <p:cxnSp>
            <p:nvCxnSpPr>
              <p:cNvPr id="336" name="Straight Connector 10"/>
              <p:cNvCxnSpPr/>
              <p:nvPr/>
            </p:nvCxnSpPr>
            <p:spPr>
              <a:xfrm>
                <a:off x="4571688" y="3049911"/>
                <a:ext cx="0" cy="38094"/>
              </a:xfrm>
              <a:prstGeom prst="line">
                <a:avLst/>
              </a:prstGeom>
              <a:noFill/>
              <a:ln w="12700" cap="rnd" cmpd="sng" algn="ctr">
                <a:solidFill>
                  <a:schemeClr val="accent2"/>
                </a:solidFill>
                <a:prstDash val="solid"/>
              </a:ln>
              <a:effectLst/>
            </p:spPr>
          </p:cxnSp>
          <p:cxnSp>
            <p:nvCxnSpPr>
              <p:cNvPr id="337" name="Straight Connector 11"/>
              <p:cNvCxnSpPr/>
              <p:nvPr/>
            </p:nvCxnSpPr>
            <p:spPr>
              <a:xfrm rot="16200000">
                <a:off x="4571688" y="3049914"/>
                <a:ext cx="0" cy="38089"/>
              </a:xfrm>
              <a:prstGeom prst="line">
                <a:avLst/>
              </a:prstGeom>
              <a:noFill/>
              <a:ln w="12700" cap="rnd" cmpd="sng" algn="ctr">
                <a:solidFill>
                  <a:schemeClr val="accent2"/>
                </a:solidFill>
                <a:prstDash val="solid"/>
              </a:ln>
              <a:effectLst/>
            </p:spPr>
          </p:cxnSp>
        </p:grpSp>
        <p:grpSp>
          <p:nvGrpSpPr>
            <p:cNvPr id="200" name="Group 12"/>
            <p:cNvGrpSpPr>
              <a:grpSpLocks/>
            </p:cNvGrpSpPr>
            <p:nvPr/>
          </p:nvGrpSpPr>
          <p:grpSpPr bwMode="auto">
            <a:xfrm>
              <a:off x="6600791" y="4165614"/>
              <a:ext cx="37465" cy="37465"/>
              <a:chOff x="4553267" y="3050540"/>
              <a:chExt cx="37465" cy="37465"/>
            </a:xfrm>
          </p:grpSpPr>
          <p:cxnSp>
            <p:nvCxnSpPr>
              <p:cNvPr id="334" name="Straight Connector 13"/>
              <p:cNvCxnSpPr/>
              <p:nvPr/>
            </p:nvCxnSpPr>
            <p:spPr>
              <a:xfrm>
                <a:off x="4571691" y="3049911"/>
                <a:ext cx="0" cy="38094"/>
              </a:xfrm>
              <a:prstGeom prst="line">
                <a:avLst/>
              </a:prstGeom>
              <a:noFill/>
              <a:ln w="12700" cap="rnd" cmpd="sng" algn="ctr">
                <a:solidFill>
                  <a:schemeClr val="accent2"/>
                </a:solidFill>
                <a:prstDash val="solid"/>
              </a:ln>
              <a:effectLst/>
            </p:spPr>
          </p:cxnSp>
          <p:cxnSp>
            <p:nvCxnSpPr>
              <p:cNvPr id="335" name="Straight Connector 14"/>
              <p:cNvCxnSpPr/>
              <p:nvPr/>
            </p:nvCxnSpPr>
            <p:spPr>
              <a:xfrm rot="16200000">
                <a:off x="4571691" y="3049914"/>
                <a:ext cx="0" cy="38089"/>
              </a:xfrm>
              <a:prstGeom prst="line">
                <a:avLst/>
              </a:prstGeom>
              <a:noFill/>
              <a:ln w="12700" cap="rnd" cmpd="sng" algn="ctr">
                <a:solidFill>
                  <a:schemeClr val="accent2"/>
                </a:solidFill>
                <a:prstDash val="solid"/>
              </a:ln>
              <a:effectLst/>
            </p:spPr>
          </p:cxnSp>
        </p:grpSp>
        <p:grpSp>
          <p:nvGrpSpPr>
            <p:cNvPr id="201" name="Group 15"/>
            <p:cNvGrpSpPr>
              <a:grpSpLocks/>
            </p:cNvGrpSpPr>
            <p:nvPr/>
          </p:nvGrpSpPr>
          <p:grpSpPr bwMode="auto">
            <a:xfrm>
              <a:off x="6132161" y="4165614"/>
              <a:ext cx="37465" cy="37465"/>
              <a:chOff x="4553267" y="3050540"/>
              <a:chExt cx="37465" cy="37465"/>
            </a:xfrm>
          </p:grpSpPr>
          <p:cxnSp>
            <p:nvCxnSpPr>
              <p:cNvPr id="332" name="Straight Connector 16"/>
              <p:cNvCxnSpPr/>
              <p:nvPr/>
            </p:nvCxnSpPr>
            <p:spPr>
              <a:xfrm>
                <a:off x="4572145" y="3049911"/>
                <a:ext cx="0" cy="38094"/>
              </a:xfrm>
              <a:prstGeom prst="line">
                <a:avLst/>
              </a:prstGeom>
              <a:noFill/>
              <a:ln w="12700" cap="rnd" cmpd="sng" algn="ctr">
                <a:solidFill>
                  <a:schemeClr val="accent2"/>
                </a:solidFill>
                <a:prstDash val="solid"/>
              </a:ln>
              <a:effectLst/>
            </p:spPr>
          </p:cxnSp>
          <p:cxnSp>
            <p:nvCxnSpPr>
              <p:cNvPr id="333" name="Straight Connector 17"/>
              <p:cNvCxnSpPr/>
              <p:nvPr/>
            </p:nvCxnSpPr>
            <p:spPr>
              <a:xfrm rot="16200000">
                <a:off x="4572145" y="3049914"/>
                <a:ext cx="0" cy="38089"/>
              </a:xfrm>
              <a:prstGeom prst="line">
                <a:avLst/>
              </a:prstGeom>
              <a:noFill/>
              <a:ln w="12700" cap="rnd" cmpd="sng" algn="ctr">
                <a:solidFill>
                  <a:schemeClr val="accent2"/>
                </a:solidFill>
                <a:prstDash val="solid"/>
              </a:ln>
              <a:effectLst/>
            </p:spPr>
          </p:cxnSp>
        </p:grpSp>
        <p:grpSp>
          <p:nvGrpSpPr>
            <p:cNvPr id="202" name="Group 18"/>
            <p:cNvGrpSpPr>
              <a:grpSpLocks/>
            </p:cNvGrpSpPr>
            <p:nvPr/>
          </p:nvGrpSpPr>
          <p:grpSpPr bwMode="auto">
            <a:xfrm>
              <a:off x="6118826" y="4165614"/>
              <a:ext cx="37465" cy="37465"/>
              <a:chOff x="4553267" y="3050540"/>
              <a:chExt cx="37465" cy="37465"/>
            </a:xfrm>
          </p:grpSpPr>
          <p:cxnSp>
            <p:nvCxnSpPr>
              <p:cNvPr id="330" name="Straight Connector 19"/>
              <p:cNvCxnSpPr/>
              <p:nvPr/>
            </p:nvCxnSpPr>
            <p:spPr>
              <a:xfrm>
                <a:off x="4572784" y="3049911"/>
                <a:ext cx="0" cy="38094"/>
              </a:xfrm>
              <a:prstGeom prst="line">
                <a:avLst/>
              </a:prstGeom>
              <a:noFill/>
              <a:ln w="12700" cap="rnd" cmpd="sng" algn="ctr">
                <a:solidFill>
                  <a:schemeClr val="accent2"/>
                </a:solidFill>
                <a:prstDash val="solid"/>
              </a:ln>
              <a:effectLst/>
            </p:spPr>
          </p:cxnSp>
          <p:cxnSp>
            <p:nvCxnSpPr>
              <p:cNvPr id="331" name="Straight Connector 20"/>
              <p:cNvCxnSpPr/>
              <p:nvPr/>
            </p:nvCxnSpPr>
            <p:spPr>
              <a:xfrm rot="16200000">
                <a:off x="4571991" y="3050707"/>
                <a:ext cx="0" cy="36501"/>
              </a:xfrm>
              <a:prstGeom prst="line">
                <a:avLst/>
              </a:prstGeom>
              <a:noFill/>
              <a:ln w="12700" cap="rnd" cmpd="sng" algn="ctr">
                <a:solidFill>
                  <a:schemeClr val="accent2"/>
                </a:solidFill>
                <a:prstDash val="solid"/>
              </a:ln>
              <a:effectLst/>
            </p:spPr>
          </p:cxnSp>
        </p:grpSp>
        <p:grpSp>
          <p:nvGrpSpPr>
            <p:cNvPr id="203" name="Group 21"/>
            <p:cNvGrpSpPr>
              <a:grpSpLocks/>
            </p:cNvGrpSpPr>
            <p:nvPr/>
          </p:nvGrpSpPr>
          <p:grpSpPr bwMode="auto">
            <a:xfrm>
              <a:off x="6101681" y="4083699"/>
              <a:ext cx="37465" cy="37465"/>
              <a:chOff x="4553267" y="3050540"/>
              <a:chExt cx="37465" cy="37465"/>
            </a:xfrm>
          </p:grpSpPr>
          <p:cxnSp>
            <p:nvCxnSpPr>
              <p:cNvPr id="328" name="Straight Connector 22"/>
              <p:cNvCxnSpPr/>
              <p:nvPr/>
            </p:nvCxnSpPr>
            <p:spPr>
              <a:xfrm>
                <a:off x="4572471" y="3050877"/>
                <a:ext cx="0" cy="36506"/>
              </a:xfrm>
              <a:prstGeom prst="line">
                <a:avLst/>
              </a:prstGeom>
              <a:noFill/>
              <a:ln w="12700" cap="rnd" cmpd="sng" algn="ctr">
                <a:solidFill>
                  <a:schemeClr val="accent2"/>
                </a:solidFill>
                <a:prstDash val="solid"/>
              </a:ln>
              <a:effectLst/>
            </p:spPr>
          </p:cxnSp>
          <p:cxnSp>
            <p:nvCxnSpPr>
              <p:cNvPr id="329" name="Straight Connector 23"/>
              <p:cNvCxnSpPr/>
              <p:nvPr/>
            </p:nvCxnSpPr>
            <p:spPr>
              <a:xfrm rot="16200000">
                <a:off x="4572471" y="3050879"/>
                <a:ext cx="0" cy="38089"/>
              </a:xfrm>
              <a:prstGeom prst="line">
                <a:avLst/>
              </a:prstGeom>
              <a:noFill/>
              <a:ln w="12700" cap="rnd" cmpd="sng" algn="ctr">
                <a:solidFill>
                  <a:schemeClr val="accent2"/>
                </a:solidFill>
                <a:prstDash val="solid"/>
              </a:ln>
              <a:effectLst/>
            </p:spPr>
          </p:cxnSp>
        </p:grpSp>
        <p:grpSp>
          <p:nvGrpSpPr>
            <p:cNvPr id="204" name="Group 24"/>
            <p:cNvGrpSpPr>
              <a:grpSpLocks/>
            </p:cNvGrpSpPr>
            <p:nvPr/>
          </p:nvGrpSpPr>
          <p:grpSpPr bwMode="auto">
            <a:xfrm>
              <a:off x="6094061" y="4083699"/>
              <a:ext cx="37465" cy="37465"/>
              <a:chOff x="4553267" y="3050540"/>
              <a:chExt cx="37465" cy="37465"/>
            </a:xfrm>
          </p:grpSpPr>
          <p:cxnSp>
            <p:nvCxnSpPr>
              <p:cNvPr id="326" name="Straight Connector 25"/>
              <p:cNvCxnSpPr/>
              <p:nvPr/>
            </p:nvCxnSpPr>
            <p:spPr>
              <a:xfrm>
                <a:off x="4572156" y="3050877"/>
                <a:ext cx="0" cy="36506"/>
              </a:xfrm>
              <a:prstGeom prst="line">
                <a:avLst/>
              </a:prstGeom>
              <a:noFill/>
              <a:ln w="12700" cap="rnd" cmpd="sng" algn="ctr">
                <a:solidFill>
                  <a:schemeClr val="accent2"/>
                </a:solidFill>
                <a:prstDash val="solid"/>
              </a:ln>
              <a:effectLst/>
            </p:spPr>
          </p:cxnSp>
          <p:cxnSp>
            <p:nvCxnSpPr>
              <p:cNvPr id="327" name="Straight Connector 26"/>
              <p:cNvCxnSpPr/>
              <p:nvPr/>
            </p:nvCxnSpPr>
            <p:spPr>
              <a:xfrm rot="16200000">
                <a:off x="4572156" y="3050879"/>
                <a:ext cx="0" cy="38089"/>
              </a:xfrm>
              <a:prstGeom prst="line">
                <a:avLst/>
              </a:prstGeom>
              <a:noFill/>
              <a:ln w="12700" cap="rnd" cmpd="sng" algn="ctr">
                <a:solidFill>
                  <a:schemeClr val="accent2"/>
                </a:solidFill>
                <a:prstDash val="solid"/>
              </a:ln>
              <a:effectLst/>
            </p:spPr>
          </p:cxnSp>
        </p:grpSp>
        <p:grpSp>
          <p:nvGrpSpPr>
            <p:cNvPr id="205" name="Group 27"/>
            <p:cNvGrpSpPr>
              <a:grpSpLocks/>
            </p:cNvGrpSpPr>
            <p:nvPr/>
          </p:nvGrpSpPr>
          <p:grpSpPr bwMode="auto">
            <a:xfrm>
              <a:off x="6084536" y="4083699"/>
              <a:ext cx="37465" cy="37465"/>
              <a:chOff x="4553267" y="3050540"/>
              <a:chExt cx="37465" cy="37465"/>
            </a:xfrm>
          </p:grpSpPr>
          <p:cxnSp>
            <p:nvCxnSpPr>
              <p:cNvPr id="324" name="Straight Connector 28"/>
              <p:cNvCxnSpPr/>
              <p:nvPr/>
            </p:nvCxnSpPr>
            <p:spPr>
              <a:xfrm>
                <a:off x="4572159" y="3050877"/>
                <a:ext cx="0" cy="36506"/>
              </a:xfrm>
              <a:prstGeom prst="line">
                <a:avLst/>
              </a:prstGeom>
              <a:noFill/>
              <a:ln w="12700" cap="rnd" cmpd="sng" algn="ctr">
                <a:solidFill>
                  <a:schemeClr val="accent2"/>
                </a:solidFill>
                <a:prstDash val="solid"/>
              </a:ln>
              <a:effectLst/>
            </p:spPr>
          </p:cxnSp>
          <p:cxnSp>
            <p:nvCxnSpPr>
              <p:cNvPr id="325" name="Straight Connector 29"/>
              <p:cNvCxnSpPr/>
              <p:nvPr/>
            </p:nvCxnSpPr>
            <p:spPr>
              <a:xfrm rot="16200000">
                <a:off x="4572159" y="3050879"/>
                <a:ext cx="0" cy="38089"/>
              </a:xfrm>
              <a:prstGeom prst="line">
                <a:avLst/>
              </a:prstGeom>
              <a:noFill/>
              <a:ln w="12700" cap="rnd" cmpd="sng" algn="ctr">
                <a:solidFill>
                  <a:schemeClr val="accent2"/>
                </a:solidFill>
                <a:prstDash val="solid"/>
              </a:ln>
              <a:effectLst/>
            </p:spPr>
          </p:cxnSp>
        </p:grpSp>
        <p:grpSp>
          <p:nvGrpSpPr>
            <p:cNvPr id="206" name="Group 30"/>
            <p:cNvGrpSpPr>
              <a:grpSpLocks/>
            </p:cNvGrpSpPr>
            <p:nvPr/>
          </p:nvGrpSpPr>
          <p:grpSpPr bwMode="auto">
            <a:xfrm>
              <a:off x="5834981" y="4083699"/>
              <a:ext cx="37465" cy="37465"/>
              <a:chOff x="4553267" y="3050540"/>
              <a:chExt cx="37465" cy="37465"/>
            </a:xfrm>
          </p:grpSpPr>
          <p:cxnSp>
            <p:nvCxnSpPr>
              <p:cNvPr id="322" name="Straight Connector 31"/>
              <p:cNvCxnSpPr/>
              <p:nvPr/>
            </p:nvCxnSpPr>
            <p:spPr>
              <a:xfrm>
                <a:off x="4572549" y="3050877"/>
                <a:ext cx="0" cy="36506"/>
              </a:xfrm>
              <a:prstGeom prst="line">
                <a:avLst/>
              </a:prstGeom>
              <a:noFill/>
              <a:ln w="12700" cap="rnd" cmpd="sng" algn="ctr">
                <a:solidFill>
                  <a:schemeClr val="accent2"/>
                </a:solidFill>
                <a:prstDash val="solid"/>
              </a:ln>
              <a:effectLst/>
            </p:spPr>
          </p:cxnSp>
          <p:cxnSp>
            <p:nvCxnSpPr>
              <p:cNvPr id="323" name="Straight Connector 32"/>
              <p:cNvCxnSpPr/>
              <p:nvPr/>
            </p:nvCxnSpPr>
            <p:spPr>
              <a:xfrm rot="16200000">
                <a:off x="4571757" y="3051672"/>
                <a:ext cx="0" cy="36502"/>
              </a:xfrm>
              <a:prstGeom prst="line">
                <a:avLst/>
              </a:prstGeom>
              <a:noFill/>
              <a:ln w="12700" cap="rnd" cmpd="sng" algn="ctr">
                <a:solidFill>
                  <a:schemeClr val="accent2"/>
                </a:solidFill>
                <a:prstDash val="solid"/>
              </a:ln>
              <a:effectLst/>
            </p:spPr>
          </p:cxnSp>
        </p:grpSp>
        <p:grpSp>
          <p:nvGrpSpPr>
            <p:cNvPr id="207" name="Group 33"/>
            <p:cNvGrpSpPr>
              <a:grpSpLocks/>
            </p:cNvGrpSpPr>
            <p:nvPr/>
          </p:nvGrpSpPr>
          <p:grpSpPr bwMode="auto">
            <a:xfrm>
              <a:off x="5642576" y="4083699"/>
              <a:ext cx="37465" cy="37465"/>
              <a:chOff x="4553267" y="3050540"/>
              <a:chExt cx="37465" cy="37465"/>
            </a:xfrm>
          </p:grpSpPr>
          <p:cxnSp>
            <p:nvCxnSpPr>
              <p:cNvPr id="320" name="Straight Connector 34"/>
              <p:cNvCxnSpPr/>
              <p:nvPr/>
            </p:nvCxnSpPr>
            <p:spPr>
              <a:xfrm>
                <a:off x="4572923" y="3050877"/>
                <a:ext cx="0" cy="36506"/>
              </a:xfrm>
              <a:prstGeom prst="line">
                <a:avLst/>
              </a:prstGeom>
              <a:noFill/>
              <a:ln w="12700" cap="rnd" cmpd="sng" algn="ctr">
                <a:solidFill>
                  <a:schemeClr val="accent2"/>
                </a:solidFill>
                <a:prstDash val="solid"/>
              </a:ln>
              <a:effectLst/>
            </p:spPr>
          </p:cxnSp>
          <p:cxnSp>
            <p:nvCxnSpPr>
              <p:cNvPr id="321" name="Straight Connector 35"/>
              <p:cNvCxnSpPr/>
              <p:nvPr/>
            </p:nvCxnSpPr>
            <p:spPr>
              <a:xfrm rot="16200000">
                <a:off x="4572129" y="3051673"/>
                <a:ext cx="0" cy="36501"/>
              </a:xfrm>
              <a:prstGeom prst="line">
                <a:avLst/>
              </a:prstGeom>
              <a:noFill/>
              <a:ln w="12700" cap="rnd" cmpd="sng" algn="ctr">
                <a:solidFill>
                  <a:schemeClr val="accent2"/>
                </a:solidFill>
                <a:prstDash val="solid"/>
              </a:ln>
              <a:effectLst/>
            </p:spPr>
          </p:cxnSp>
        </p:grpSp>
        <p:grpSp>
          <p:nvGrpSpPr>
            <p:cNvPr id="208" name="Group 36"/>
            <p:cNvGrpSpPr>
              <a:grpSpLocks/>
            </p:cNvGrpSpPr>
            <p:nvPr/>
          </p:nvGrpSpPr>
          <p:grpSpPr bwMode="auto">
            <a:xfrm>
              <a:off x="5634956" y="4083699"/>
              <a:ext cx="37465" cy="37465"/>
              <a:chOff x="4553267" y="3050540"/>
              <a:chExt cx="37465" cy="37465"/>
            </a:xfrm>
          </p:grpSpPr>
          <p:cxnSp>
            <p:nvCxnSpPr>
              <p:cNvPr id="318" name="Straight Connector 37"/>
              <p:cNvCxnSpPr/>
              <p:nvPr/>
            </p:nvCxnSpPr>
            <p:spPr>
              <a:xfrm>
                <a:off x="4572607" y="3050877"/>
                <a:ext cx="0" cy="36506"/>
              </a:xfrm>
              <a:prstGeom prst="line">
                <a:avLst/>
              </a:prstGeom>
              <a:noFill/>
              <a:ln w="12700" cap="rnd" cmpd="sng" algn="ctr">
                <a:solidFill>
                  <a:schemeClr val="accent2"/>
                </a:solidFill>
                <a:prstDash val="solid"/>
              </a:ln>
              <a:effectLst/>
            </p:spPr>
          </p:cxnSp>
          <p:cxnSp>
            <p:nvCxnSpPr>
              <p:cNvPr id="319" name="Straight Connector 38"/>
              <p:cNvCxnSpPr/>
              <p:nvPr/>
            </p:nvCxnSpPr>
            <p:spPr>
              <a:xfrm rot="16200000">
                <a:off x="4571815" y="3051672"/>
                <a:ext cx="0" cy="36502"/>
              </a:xfrm>
              <a:prstGeom prst="line">
                <a:avLst/>
              </a:prstGeom>
              <a:noFill/>
              <a:ln w="12700" cap="rnd" cmpd="sng" algn="ctr">
                <a:solidFill>
                  <a:schemeClr val="accent2"/>
                </a:solidFill>
                <a:prstDash val="solid"/>
              </a:ln>
              <a:effectLst/>
            </p:spPr>
          </p:cxnSp>
        </p:grpSp>
        <p:grpSp>
          <p:nvGrpSpPr>
            <p:cNvPr id="209" name="Group 39"/>
            <p:cNvGrpSpPr>
              <a:grpSpLocks/>
            </p:cNvGrpSpPr>
            <p:nvPr/>
          </p:nvGrpSpPr>
          <p:grpSpPr bwMode="auto">
            <a:xfrm>
              <a:off x="5629241" y="4039884"/>
              <a:ext cx="37465" cy="37465"/>
              <a:chOff x="4553267" y="3050540"/>
              <a:chExt cx="37465" cy="37465"/>
            </a:xfrm>
          </p:grpSpPr>
          <p:cxnSp>
            <p:nvCxnSpPr>
              <p:cNvPr id="316" name="Straight Connector 40"/>
              <p:cNvCxnSpPr/>
              <p:nvPr/>
            </p:nvCxnSpPr>
            <p:spPr>
              <a:xfrm>
                <a:off x="4571975" y="3050249"/>
                <a:ext cx="0" cy="38094"/>
              </a:xfrm>
              <a:prstGeom prst="line">
                <a:avLst/>
              </a:prstGeom>
              <a:noFill/>
              <a:ln w="12700" cap="rnd" cmpd="sng" algn="ctr">
                <a:solidFill>
                  <a:schemeClr val="accent2"/>
                </a:solidFill>
                <a:prstDash val="solid"/>
              </a:ln>
              <a:effectLst/>
            </p:spPr>
          </p:cxnSp>
          <p:cxnSp>
            <p:nvCxnSpPr>
              <p:cNvPr id="317" name="Straight Connector 41"/>
              <p:cNvCxnSpPr/>
              <p:nvPr/>
            </p:nvCxnSpPr>
            <p:spPr>
              <a:xfrm rot="16200000">
                <a:off x="4571975" y="3050252"/>
                <a:ext cx="0" cy="38089"/>
              </a:xfrm>
              <a:prstGeom prst="line">
                <a:avLst/>
              </a:prstGeom>
              <a:noFill/>
              <a:ln w="12700" cap="rnd" cmpd="sng" algn="ctr">
                <a:solidFill>
                  <a:schemeClr val="accent2"/>
                </a:solidFill>
                <a:prstDash val="solid"/>
              </a:ln>
              <a:effectLst/>
            </p:spPr>
          </p:cxnSp>
        </p:grpSp>
        <p:grpSp>
          <p:nvGrpSpPr>
            <p:cNvPr id="210" name="Group 42"/>
            <p:cNvGrpSpPr>
              <a:grpSpLocks/>
            </p:cNvGrpSpPr>
            <p:nvPr/>
          </p:nvGrpSpPr>
          <p:grpSpPr bwMode="auto">
            <a:xfrm>
              <a:off x="5619716" y="4007499"/>
              <a:ext cx="37465" cy="37465"/>
              <a:chOff x="4553267" y="3050540"/>
              <a:chExt cx="37465" cy="37465"/>
            </a:xfrm>
          </p:grpSpPr>
          <p:cxnSp>
            <p:nvCxnSpPr>
              <p:cNvPr id="314" name="Straight Connector 43"/>
              <p:cNvCxnSpPr/>
              <p:nvPr/>
            </p:nvCxnSpPr>
            <p:spPr>
              <a:xfrm>
                <a:off x="4571978" y="3050889"/>
                <a:ext cx="0" cy="36506"/>
              </a:xfrm>
              <a:prstGeom prst="line">
                <a:avLst/>
              </a:prstGeom>
              <a:noFill/>
              <a:ln w="12700" cap="rnd" cmpd="sng" algn="ctr">
                <a:solidFill>
                  <a:schemeClr val="accent2"/>
                </a:solidFill>
                <a:prstDash val="solid"/>
              </a:ln>
              <a:effectLst/>
            </p:spPr>
          </p:cxnSp>
          <p:cxnSp>
            <p:nvCxnSpPr>
              <p:cNvPr id="315" name="Straight Connector 44"/>
              <p:cNvCxnSpPr/>
              <p:nvPr/>
            </p:nvCxnSpPr>
            <p:spPr>
              <a:xfrm rot="16200000">
                <a:off x="4571978" y="3050891"/>
                <a:ext cx="0" cy="38089"/>
              </a:xfrm>
              <a:prstGeom prst="line">
                <a:avLst/>
              </a:prstGeom>
              <a:noFill/>
              <a:ln w="12700" cap="rnd" cmpd="sng" algn="ctr">
                <a:solidFill>
                  <a:schemeClr val="accent2"/>
                </a:solidFill>
                <a:prstDash val="solid"/>
              </a:ln>
              <a:effectLst/>
            </p:spPr>
          </p:cxnSp>
        </p:grpSp>
        <p:grpSp>
          <p:nvGrpSpPr>
            <p:cNvPr id="211" name="Group 45"/>
            <p:cNvGrpSpPr>
              <a:grpSpLocks/>
            </p:cNvGrpSpPr>
            <p:nvPr/>
          </p:nvGrpSpPr>
          <p:grpSpPr bwMode="auto">
            <a:xfrm>
              <a:off x="5631146" y="4007499"/>
              <a:ext cx="37465" cy="37465"/>
              <a:chOff x="4553267" y="3050540"/>
              <a:chExt cx="37465" cy="37465"/>
            </a:xfrm>
          </p:grpSpPr>
          <p:cxnSp>
            <p:nvCxnSpPr>
              <p:cNvPr id="312" name="Straight Connector 46"/>
              <p:cNvCxnSpPr/>
              <p:nvPr/>
            </p:nvCxnSpPr>
            <p:spPr>
              <a:xfrm>
                <a:off x="4571657" y="3050889"/>
                <a:ext cx="0" cy="36506"/>
              </a:xfrm>
              <a:prstGeom prst="line">
                <a:avLst/>
              </a:prstGeom>
              <a:noFill/>
              <a:ln w="12700" cap="rnd" cmpd="sng" algn="ctr">
                <a:solidFill>
                  <a:schemeClr val="accent2"/>
                </a:solidFill>
                <a:prstDash val="solid"/>
              </a:ln>
              <a:effectLst/>
            </p:spPr>
          </p:cxnSp>
          <p:cxnSp>
            <p:nvCxnSpPr>
              <p:cNvPr id="313" name="Straight Connector 47"/>
              <p:cNvCxnSpPr/>
              <p:nvPr/>
            </p:nvCxnSpPr>
            <p:spPr>
              <a:xfrm rot="16200000">
                <a:off x="4571657" y="3050891"/>
                <a:ext cx="0" cy="38089"/>
              </a:xfrm>
              <a:prstGeom prst="line">
                <a:avLst/>
              </a:prstGeom>
              <a:noFill/>
              <a:ln w="12700" cap="rnd" cmpd="sng" algn="ctr">
                <a:solidFill>
                  <a:schemeClr val="accent2"/>
                </a:solidFill>
                <a:prstDash val="solid"/>
              </a:ln>
              <a:effectLst/>
            </p:spPr>
          </p:cxnSp>
        </p:grpSp>
        <p:grpSp>
          <p:nvGrpSpPr>
            <p:cNvPr id="212" name="Group 48"/>
            <p:cNvGrpSpPr>
              <a:grpSpLocks/>
            </p:cNvGrpSpPr>
            <p:nvPr/>
          </p:nvGrpSpPr>
          <p:grpSpPr bwMode="auto">
            <a:xfrm>
              <a:off x="5621621" y="3973209"/>
              <a:ext cx="37465" cy="37465"/>
              <a:chOff x="4553267" y="3050540"/>
              <a:chExt cx="37465" cy="37465"/>
            </a:xfrm>
          </p:grpSpPr>
          <p:cxnSp>
            <p:nvCxnSpPr>
              <p:cNvPr id="310" name="Straight Connector 49"/>
              <p:cNvCxnSpPr/>
              <p:nvPr/>
            </p:nvCxnSpPr>
            <p:spPr>
              <a:xfrm>
                <a:off x="4571660" y="3050260"/>
                <a:ext cx="0" cy="38094"/>
              </a:xfrm>
              <a:prstGeom prst="line">
                <a:avLst/>
              </a:prstGeom>
              <a:noFill/>
              <a:ln w="12700" cap="rnd" cmpd="sng" algn="ctr">
                <a:solidFill>
                  <a:schemeClr val="accent2"/>
                </a:solidFill>
                <a:prstDash val="solid"/>
              </a:ln>
              <a:effectLst/>
            </p:spPr>
          </p:cxnSp>
          <p:cxnSp>
            <p:nvCxnSpPr>
              <p:cNvPr id="311" name="Straight Connector 320"/>
              <p:cNvCxnSpPr/>
              <p:nvPr/>
            </p:nvCxnSpPr>
            <p:spPr>
              <a:xfrm rot="16200000">
                <a:off x="4571660" y="3050263"/>
                <a:ext cx="0" cy="38089"/>
              </a:xfrm>
              <a:prstGeom prst="line">
                <a:avLst/>
              </a:prstGeom>
              <a:noFill/>
              <a:ln w="12700" cap="rnd" cmpd="sng" algn="ctr">
                <a:solidFill>
                  <a:schemeClr val="accent2"/>
                </a:solidFill>
                <a:prstDash val="solid"/>
              </a:ln>
              <a:effectLst/>
            </p:spPr>
          </p:cxnSp>
        </p:grpSp>
        <p:grpSp>
          <p:nvGrpSpPr>
            <p:cNvPr id="213" name="Group 51"/>
            <p:cNvGrpSpPr>
              <a:grpSpLocks/>
            </p:cNvGrpSpPr>
            <p:nvPr/>
          </p:nvGrpSpPr>
          <p:grpSpPr bwMode="auto">
            <a:xfrm>
              <a:off x="5606381" y="3917964"/>
              <a:ext cx="37465" cy="37465"/>
              <a:chOff x="4553267" y="3050540"/>
              <a:chExt cx="37465" cy="37465"/>
            </a:xfrm>
          </p:grpSpPr>
          <p:cxnSp>
            <p:nvCxnSpPr>
              <p:cNvPr id="308" name="Straight Connector 317"/>
              <p:cNvCxnSpPr/>
              <p:nvPr/>
            </p:nvCxnSpPr>
            <p:spPr>
              <a:xfrm>
                <a:off x="4572616" y="3049950"/>
                <a:ext cx="0" cy="38094"/>
              </a:xfrm>
              <a:prstGeom prst="line">
                <a:avLst/>
              </a:prstGeom>
              <a:noFill/>
              <a:ln w="12700" cap="rnd" cmpd="sng" algn="ctr">
                <a:solidFill>
                  <a:schemeClr val="accent2"/>
                </a:solidFill>
                <a:prstDash val="solid"/>
              </a:ln>
              <a:effectLst/>
            </p:spPr>
          </p:cxnSp>
          <p:cxnSp>
            <p:nvCxnSpPr>
              <p:cNvPr id="309" name="Straight Connector 318"/>
              <p:cNvCxnSpPr/>
              <p:nvPr/>
            </p:nvCxnSpPr>
            <p:spPr>
              <a:xfrm rot="16200000">
                <a:off x="4571824" y="3050745"/>
                <a:ext cx="0" cy="36502"/>
              </a:xfrm>
              <a:prstGeom prst="line">
                <a:avLst/>
              </a:prstGeom>
              <a:noFill/>
              <a:ln w="12700" cap="rnd" cmpd="sng" algn="ctr">
                <a:solidFill>
                  <a:schemeClr val="accent2"/>
                </a:solidFill>
                <a:prstDash val="solid"/>
              </a:ln>
              <a:effectLst/>
            </p:spPr>
          </p:cxnSp>
        </p:grpSp>
        <p:grpSp>
          <p:nvGrpSpPr>
            <p:cNvPr id="214" name="Group 54"/>
            <p:cNvGrpSpPr>
              <a:grpSpLocks/>
            </p:cNvGrpSpPr>
            <p:nvPr/>
          </p:nvGrpSpPr>
          <p:grpSpPr bwMode="auto">
            <a:xfrm>
              <a:off x="5589236" y="3917964"/>
              <a:ext cx="37465" cy="37465"/>
              <a:chOff x="4553267" y="3050540"/>
              <a:chExt cx="37465" cy="37465"/>
            </a:xfrm>
          </p:grpSpPr>
          <p:cxnSp>
            <p:nvCxnSpPr>
              <p:cNvPr id="306" name="Straight Connector 315"/>
              <p:cNvCxnSpPr/>
              <p:nvPr/>
            </p:nvCxnSpPr>
            <p:spPr>
              <a:xfrm>
                <a:off x="4572304" y="3049950"/>
                <a:ext cx="0" cy="38094"/>
              </a:xfrm>
              <a:prstGeom prst="line">
                <a:avLst/>
              </a:prstGeom>
              <a:noFill/>
              <a:ln w="12700" cap="rnd" cmpd="sng" algn="ctr">
                <a:solidFill>
                  <a:schemeClr val="accent2"/>
                </a:solidFill>
                <a:prstDash val="solid"/>
              </a:ln>
              <a:effectLst/>
            </p:spPr>
          </p:cxnSp>
          <p:cxnSp>
            <p:nvCxnSpPr>
              <p:cNvPr id="307" name="Straight Connector 316"/>
              <p:cNvCxnSpPr/>
              <p:nvPr/>
            </p:nvCxnSpPr>
            <p:spPr>
              <a:xfrm rot="16200000">
                <a:off x="4572304" y="3049953"/>
                <a:ext cx="0" cy="38089"/>
              </a:xfrm>
              <a:prstGeom prst="line">
                <a:avLst/>
              </a:prstGeom>
              <a:noFill/>
              <a:ln w="12700" cap="rnd" cmpd="sng" algn="ctr">
                <a:solidFill>
                  <a:schemeClr val="accent2"/>
                </a:solidFill>
                <a:prstDash val="solid"/>
              </a:ln>
              <a:effectLst/>
            </p:spPr>
          </p:cxnSp>
        </p:grpSp>
        <p:grpSp>
          <p:nvGrpSpPr>
            <p:cNvPr id="215" name="Group 57"/>
            <p:cNvGrpSpPr>
              <a:grpSpLocks/>
            </p:cNvGrpSpPr>
            <p:nvPr/>
          </p:nvGrpSpPr>
          <p:grpSpPr bwMode="auto">
            <a:xfrm>
              <a:off x="5177756" y="3874149"/>
              <a:ext cx="37465" cy="37465"/>
              <a:chOff x="4553267" y="3050540"/>
              <a:chExt cx="37465" cy="37465"/>
            </a:xfrm>
          </p:grpSpPr>
          <p:cxnSp>
            <p:nvCxnSpPr>
              <p:cNvPr id="304" name="Straight Connector 313"/>
              <p:cNvCxnSpPr/>
              <p:nvPr/>
            </p:nvCxnSpPr>
            <p:spPr>
              <a:xfrm>
                <a:off x="4572741" y="3050910"/>
                <a:ext cx="0" cy="36506"/>
              </a:xfrm>
              <a:prstGeom prst="line">
                <a:avLst/>
              </a:prstGeom>
              <a:noFill/>
              <a:ln w="12700" cap="rnd" cmpd="sng" algn="ctr">
                <a:solidFill>
                  <a:schemeClr val="accent2"/>
                </a:solidFill>
                <a:prstDash val="solid"/>
              </a:ln>
              <a:effectLst/>
            </p:spPr>
          </p:cxnSp>
          <p:cxnSp>
            <p:nvCxnSpPr>
              <p:cNvPr id="305" name="Straight Connector 314"/>
              <p:cNvCxnSpPr/>
              <p:nvPr/>
            </p:nvCxnSpPr>
            <p:spPr>
              <a:xfrm rot="16200000">
                <a:off x="4571949" y="3051705"/>
                <a:ext cx="0" cy="36502"/>
              </a:xfrm>
              <a:prstGeom prst="line">
                <a:avLst/>
              </a:prstGeom>
              <a:noFill/>
              <a:ln w="12700" cap="rnd" cmpd="sng" algn="ctr">
                <a:solidFill>
                  <a:schemeClr val="accent2"/>
                </a:solidFill>
                <a:prstDash val="solid"/>
              </a:ln>
              <a:effectLst/>
            </p:spPr>
          </p:cxnSp>
        </p:grpSp>
        <p:grpSp>
          <p:nvGrpSpPr>
            <p:cNvPr id="216" name="Group 60"/>
            <p:cNvGrpSpPr>
              <a:grpSpLocks/>
            </p:cNvGrpSpPr>
            <p:nvPr/>
          </p:nvGrpSpPr>
          <p:grpSpPr bwMode="auto">
            <a:xfrm>
              <a:off x="5152991" y="3847479"/>
              <a:ext cx="37465" cy="37465"/>
              <a:chOff x="4553267" y="3050540"/>
              <a:chExt cx="37465" cy="37465"/>
            </a:xfrm>
          </p:grpSpPr>
          <p:cxnSp>
            <p:nvCxnSpPr>
              <p:cNvPr id="302" name="Straight Connector 311"/>
              <p:cNvCxnSpPr/>
              <p:nvPr/>
            </p:nvCxnSpPr>
            <p:spPr>
              <a:xfrm>
                <a:off x="4572113" y="3050597"/>
                <a:ext cx="0" cy="38094"/>
              </a:xfrm>
              <a:prstGeom prst="line">
                <a:avLst/>
              </a:prstGeom>
              <a:noFill/>
              <a:ln w="12700" cap="rnd" cmpd="sng" algn="ctr">
                <a:solidFill>
                  <a:schemeClr val="accent2"/>
                </a:solidFill>
                <a:prstDash val="solid"/>
              </a:ln>
              <a:effectLst/>
            </p:spPr>
          </p:cxnSp>
          <p:cxnSp>
            <p:nvCxnSpPr>
              <p:cNvPr id="303" name="Straight Connector 312"/>
              <p:cNvCxnSpPr/>
              <p:nvPr/>
            </p:nvCxnSpPr>
            <p:spPr>
              <a:xfrm rot="16200000">
                <a:off x="4572113" y="3050600"/>
                <a:ext cx="0" cy="38089"/>
              </a:xfrm>
              <a:prstGeom prst="line">
                <a:avLst/>
              </a:prstGeom>
              <a:noFill/>
              <a:ln w="12700" cap="rnd" cmpd="sng" algn="ctr">
                <a:solidFill>
                  <a:schemeClr val="accent2"/>
                </a:solidFill>
                <a:prstDash val="solid"/>
              </a:ln>
              <a:effectLst/>
            </p:spPr>
          </p:cxnSp>
        </p:grpSp>
        <p:grpSp>
          <p:nvGrpSpPr>
            <p:cNvPr id="217" name="Group 63"/>
            <p:cNvGrpSpPr>
              <a:grpSpLocks/>
            </p:cNvGrpSpPr>
            <p:nvPr/>
          </p:nvGrpSpPr>
          <p:grpSpPr bwMode="auto">
            <a:xfrm>
              <a:off x="4747226" y="3706509"/>
              <a:ext cx="37465" cy="37465"/>
              <a:chOff x="4553267" y="3050540"/>
              <a:chExt cx="37465" cy="37465"/>
            </a:xfrm>
          </p:grpSpPr>
          <p:cxnSp>
            <p:nvCxnSpPr>
              <p:cNvPr id="300" name="Straight Connector 309"/>
              <p:cNvCxnSpPr/>
              <p:nvPr/>
            </p:nvCxnSpPr>
            <p:spPr>
              <a:xfrm>
                <a:off x="4571598" y="3050302"/>
                <a:ext cx="0" cy="38094"/>
              </a:xfrm>
              <a:prstGeom prst="line">
                <a:avLst/>
              </a:prstGeom>
              <a:noFill/>
              <a:ln w="12700" cap="rnd" cmpd="sng" algn="ctr">
                <a:solidFill>
                  <a:schemeClr val="accent2"/>
                </a:solidFill>
                <a:prstDash val="solid"/>
              </a:ln>
              <a:effectLst/>
            </p:spPr>
          </p:cxnSp>
          <p:cxnSp>
            <p:nvCxnSpPr>
              <p:cNvPr id="301" name="Straight Connector 310"/>
              <p:cNvCxnSpPr/>
              <p:nvPr/>
            </p:nvCxnSpPr>
            <p:spPr>
              <a:xfrm rot="16200000">
                <a:off x="4571598" y="3050305"/>
                <a:ext cx="0" cy="38089"/>
              </a:xfrm>
              <a:prstGeom prst="line">
                <a:avLst/>
              </a:prstGeom>
              <a:noFill/>
              <a:ln w="12700" cap="rnd" cmpd="sng" algn="ctr">
                <a:solidFill>
                  <a:schemeClr val="accent2"/>
                </a:solidFill>
                <a:prstDash val="solid"/>
              </a:ln>
              <a:effectLst/>
            </p:spPr>
          </p:cxnSp>
        </p:grpSp>
        <p:grpSp>
          <p:nvGrpSpPr>
            <p:cNvPr id="218" name="Group 66"/>
            <p:cNvGrpSpPr>
              <a:grpSpLocks/>
            </p:cNvGrpSpPr>
            <p:nvPr/>
          </p:nvGrpSpPr>
          <p:grpSpPr bwMode="auto">
            <a:xfrm>
              <a:off x="4659596" y="3597924"/>
              <a:ext cx="37465" cy="37465"/>
              <a:chOff x="4553267" y="3050540"/>
              <a:chExt cx="37465" cy="37465"/>
            </a:xfrm>
          </p:grpSpPr>
          <p:cxnSp>
            <p:nvCxnSpPr>
              <p:cNvPr id="298" name="Straight Connector 307"/>
              <p:cNvCxnSpPr/>
              <p:nvPr/>
            </p:nvCxnSpPr>
            <p:spPr>
              <a:xfrm>
                <a:off x="4571942" y="3050954"/>
                <a:ext cx="0" cy="36506"/>
              </a:xfrm>
              <a:prstGeom prst="line">
                <a:avLst/>
              </a:prstGeom>
              <a:noFill/>
              <a:ln w="12700" cap="rnd" cmpd="sng" algn="ctr">
                <a:solidFill>
                  <a:schemeClr val="accent2"/>
                </a:solidFill>
                <a:prstDash val="solid"/>
              </a:ln>
              <a:effectLst/>
            </p:spPr>
          </p:cxnSp>
          <p:cxnSp>
            <p:nvCxnSpPr>
              <p:cNvPr id="299" name="Straight Connector 308"/>
              <p:cNvCxnSpPr/>
              <p:nvPr/>
            </p:nvCxnSpPr>
            <p:spPr>
              <a:xfrm rot="16200000">
                <a:off x="4571942" y="3050956"/>
                <a:ext cx="0" cy="38089"/>
              </a:xfrm>
              <a:prstGeom prst="line">
                <a:avLst/>
              </a:prstGeom>
              <a:noFill/>
              <a:ln w="12700" cap="rnd" cmpd="sng" algn="ctr">
                <a:solidFill>
                  <a:schemeClr val="accent2"/>
                </a:solidFill>
                <a:prstDash val="solid"/>
              </a:ln>
              <a:effectLst/>
            </p:spPr>
          </p:cxnSp>
        </p:grpSp>
        <p:grpSp>
          <p:nvGrpSpPr>
            <p:cNvPr id="219" name="Group 69"/>
            <p:cNvGrpSpPr>
              <a:grpSpLocks/>
            </p:cNvGrpSpPr>
            <p:nvPr/>
          </p:nvGrpSpPr>
          <p:grpSpPr bwMode="auto">
            <a:xfrm>
              <a:off x="5107271" y="3725559"/>
              <a:ext cx="37465" cy="37465"/>
              <a:chOff x="4553267" y="3050540"/>
              <a:chExt cx="37465" cy="37465"/>
            </a:xfrm>
          </p:grpSpPr>
          <p:cxnSp>
            <p:nvCxnSpPr>
              <p:cNvPr id="296" name="Straight Connector 305"/>
              <p:cNvCxnSpPr/>
              <p:nvPr/>
            </p:nvCxnSpPr>
            <p:spPr>
              <a:xfrm>
                <a:off x="4571811" y="3050299"/>
                <a:ext cx="0" cy="38094"/>
              </a:xfrm>
              <a:prstGeom prst="line">
                <a:avLst/>
              </a:prstGeom>
              <a:noFill/>
              <a:ln w="12700" cap="rnd" cmpd="sng" algn="ctr">
                <a:solidFill>
                  <a:schemeClr val="accent2"/>
                </a:solidFill>
                <a:prstDash val="solid"/>
              </a:ln>
              <a:effectLst/>
            </p:spPr>
          </p:cxnSp>
          <p:cxnSp>
            <p:nvCxnSpPr>
              <p:cNvPr id="297" name="Straight Connector 306"/>
              <p:cNvCxnSpPr/>
              <p:nvPr/>
            </p:nvCxnSpPr>
            <p:spPr>
              <a:xfrm rot="16200000">
                <a:off x="4571811" y="3050302"/>
                <a:ext cx="0" cy="38089"/>
              </a:xfrm>
              <a:prstGeom prst="line">
                <a:avLst/>
              </a:prstGeom>
              <a:noFill/>
              <a:ln w="12700" cap="rnd" cmpd="sng" algn="ctr">
                <a:solidFill>
                  <a:schemeClr val="accent2"/>
                </a:solidFill>
                <a:prstDash val="solid"/>
              </a:ln>
              <a:effectLst/>
            </p:spPr>
          </p:cxnSp>
        </p:grpSp>
        <p:grpSp>
          <p:nvGrpSpPr>
            <p:cNvPr id="220" name="Group 72"/>
            <p:cNvGrpSpPr>
              <a:grpSpLocks/>
            </p:cNvGrpSpPr>
            <p:nvPr/>
          </p:nvGrpSpPr>
          <p:grpSpPr bwMode="auto">
            <a:xfrm>
              <a:off x="5124416" y="3742704"/>
              <a:ext cx="37465" cy="37465"/>
              <a:chOff x="4553267" y="3050540"/>
              <a:chExt cx="37465" cy="37465"/>
            </a:xfrm>
          </p:grpSpPr>
          <p:cxnSp>
            <p:nvCxnSpPr>
              <p:cNvPr id="294" name="Straight Connector 303"/>
              <p:cNvCxnSpPr/>
              <p:nvPr/>
            </p:nvCxnSpPr>
            <p:spPr>
              <a:xfrm>
                <a:off x="4572122" y="3050613"/>
                <a:ext cx="0" cy="38094"/>
              </a:xfrm>
              <a:prstGeom prst="line">
                <a:avLst/>
              </a:prstGeom>
              <a:noFill/>
              <a:ln w="12700" cap="rnd" cmpd="sng" algn="ctr">
                <a:solidFill>
                  <a:schemeClr val="accent2"/>
                </a:solidFill>
                <a:prstDash val="solid"/>
              </a:ln>
              <a:effectLst/>
            </p:spPr>
          </p:cxnSp>
          <p:cxnSp>
            <p:nvCxnSpPr>
              <p:cNvPr id="295" name="Straight Connector 304"/>
              <p:cNvCxnSpPr/>
              <p:nvPr/>
            </p:nvCxnSpPr>
            <p:spPr>
              <a:xfrm rot="16200000">
                <a:off x="4572122" y="3050616"/>
                <a:ext cx="0" cy="38089"/>
              </a:xfrm>
              <a:prstGeom prst="line">
                <a:avLst/>
              </a:prstGeom>
              <a:noFill/>
              <a:ln w="12700" cap="rnd" cmpd="sng" algn="ctr">
                <a:solidFill>
                  <a:schemeClr val="accent2"/>
                </a:solidFill>
                <a:prstDash val="solid"/>
              </a:ln>
              <a:effectLst/>
            </p:spPr>
          </p:cxnSp>
        </p:grpSp>
        <p:grpSp>
          <p:nvGrpSpPr>
            <p:cNvPr id="221" name="Group 75"/>
            <p:cNvGrpSpPr>
              <a:grpSpLocks/>
            </p:cNvGrpSpPr>
            <p:nvPr/>
          </p:nvGrpSpPr>
          <p:grpSpPr bwMode="auto">
            <a:xfrm>
              <a:off x="5128226" y="3765564"/>
              <a:ext cx="37465" cy="37465"/>
              <a:chOff x="4553267" y="3050540"/>
              <a:chExt cx="37465" cy="37465"/>
            </a:xfrm>
          </p:grpSpPr>
          <p:cxnSp>
            <p:nvCxnSpPr>
              <p:cNvPr id="292" name="Straight Connector 301"/>
              <p:cNvCxnSpPr/>
              <p:nvPr/>
            </p:nvCxnSpPr>
            <p:spPr>
              <a:xfrm>
                <a:off x="4573073" y="3049975"/>
                <a:ext cx="0" cy="38094"/>
              </a:xfrm>
              <a:prstGeom prst="line">
                <a:avLst/>
              </a:prstGeom>
              <a:noFill/>
              <a:ln w="12700" cap="rnd" cmpd="sng" algn="ctr">
                <a:solidFill>
                  <a:schemeClr val="accent2"/>
                </a:solidFill>
                <a:prstDash val="solid"/>
              </a:ln>
              <a:effectLst/>
            </p:spPr>
          </p:cxnSp>
          <p:cxnSp>
            <p:nvCxnSpPr>
              <p:cNvPr id="293" name="Straight Connector 302"/>
              <p:cNvCxnSpPr/>
              <p:nvPr/>
            </p:nvCxnSpPr>
            <p:spPr>
              <a:xfrm rot="16200000">
                <a:off x="4572279" y="3050771"/>
                <a:ext cx="0" cy="36501"/>
              </a:xfrm>
              <a:prstGeom prst="line">
                <a:avLst/>
              </a:prstGeom>
              <a:noFill/>
              <a:ln w="12700" cap="rnd" cmpd="sng" algn="ctr">
                <a:solidFill>
                  <a:schemeClr val="accent2"/>
                </a:solidFill>
                <a:prstDash val="solid"/>
              </a:ln>
              <a:effectLst/>
            </p:spPr>
          </p:cxnSp>
        </p:grpSp>
        <p:grpSp>
          <p:nvGrpSpPr>
            <p:cNvPr id="222" name="Group 78"/>
            <p:cNvGrpSpPr>
              <a:grpSpLocks/>
            </p:cNvGrpSpPr>
            <p:nvPr/>
          </p:nvGrpSpPr>
          <p:grpSpPr bwMode="auto">
            <a:xfrm>
              <a:off x="5139656" y="3807474"/>
              <a:ext cx="37465" cy="37465"/>
              <a:chOff x="4553267" y="3050540"/>
              <a:chExt cx="37465" cy="37465"/>
            </a:xfrm>
          </p:grpSpPr>
          <p:cxnSp>
            <p:nvCxnSpPr>
              <p:cNvPr id="290" name="Straight Connector 299"/>
              <p:cNvCxnSpPr/>
              <p:nvPr/>
            </p:nvCxnSpPr>
            <p:spPr>
              <a:xfrm>
                <a:off x="4572752" y="3050921"/>
                <a:ext cx="0" cy="36506"/>
              </a:xfrm>
              <a:prstGeom prst="line">
                <a:avLst/>
              </a:prstGeom>
              <a:noFill/>
              <a:ln w="12700" cap="rnd" cmpd="sng" algn="ctr">
                <a:solidFill>
                  <a:schemeClr val="accent2"/>
                </a:solidFill>
                <a:prstDash val="solid"/>
              </a:ln>
              <a:effectLst/>
            </p:spPr>
          </p:cxnSp>
          <p:cxnSp>
            <p:nvCxnSpPr>
              <p:cNvPr id="291" name="Straight Connector 300"/>
              <p:cNvCxnSpPr/>
              <p:nvPr/>
            </p:nvCxnSpPr>
            <p:spPr>
              <a:xfrm rot="16200000">
                <a:off x="4571960" y="3051716"/>
                <a:ext cx="0" cy="36502"/>
              </a:xfrm>
              <a:prstGeom prst="line">
                <a:avLst/>
              </a:prstGeom>
              <a:noFill/>
              <a:ln w="12700" cap="rnd" cmpd="sng" algn="ctr">
                <a:solidFill>
                  <a:schemeClr val="accent2"/>
                </a:solidFill>
                <a:prstDash val="solid"/>
              </a:ln>
              <a:effectLst/>
            </p:spPr>
          </p:cxnSp>
        </p:grpSp>
        <p:grpSp>
          <p:nvGrpSpPr>
            <p:cNvPr id="223" name="Group 81"/>
            <p:cNvGrpSpPr>
              <a:grpSpLocks/>
            </p:cNvGrpSpPr>
            <p:nvPr/>
          </p:nvGrpSpPr>
          <p:grpSpPr bwMode="auto">
            <a:xfrm>
              <a:off x="5133941" y="3769374"/>
              <a:ext cx="37465" cy="37465"/>
              <a:chOff x="4553267" y="3050540"/>
              <a:chExt cx="37465" cy="37465"/>
            </a:xfrm>
          </p:grpSpPr>
          <p:cxnSp>
            <p:nvCxnSpPr>
              <p:cNvPr id="288" name="Straight Connector 297"/>
              <p:cNvCxnSpPr/>
              <p:nvPr/>
            </p:nvCxnSpPr>
            <p:spPr>
              <a:xfrm>
                <a:off x="4572119" y="3050927"/>
                <a:ext cx="0" cy="36506"/>
              </a:xfrm>
              <a:prstGeom prst="line">
                <a:avLst/>
              </a:prstGeom>
              <a:noFill/>
              <a:ln w="12700" cap="rnd" cmpd="sng" algn="ctr">
                <a:solidFill>
                  <a:schemeClr val="accent2"/>
                </a:solidFill>
                <a:prstDash val="solid"/>
              </a:ln>
              <a:effectLst/>
            </p:spPr>
          </p:cxnSp>
          <p:cxnSp>
            <p:nvCxnSpPr>
              <p:cNvPr id="289" name="Straight Connector 298"/>
              <p:cNvCxnSpPr/>
              <p:nvPr/>
            </p:nvCxnSpPr>
            <p:spPr>
              <a:xfrm rot="16200000">
                <a:off x="4572119" y="3050929"/>
                <a:ext cx="0" cy="38089"/>
              </a:xfrm>
              <a:prstGeom prst="line">
                <a:avLst/>
              </a:prstGeom>
              <a:noFill/>
              <a:ln w="12700" cap="rnd" cmpd="sng" algn="ctr">
                <a:solidFill>
                  <a:schemeClr val="accent2"/>
                </a:solidFill>
                <a:prstDash val="solid"/>
              </a:ln>
              <a:effectLst/>
            </p:spPr>
          </p:cxnSp>
        </p:grpSp>
        <p:grpSp>
          <p:nvGrpSpPr>
            <p:cNvPr id="224" name="Group 84"/>
            <p:cNvGrpSpPr>
              <a:grpSpLocks/>
            </p:cNvGrpSpPr>
            <p:nvPr/>
          </p:nvGrpSpPr>
          <p:grpSpPr bwMode="auto">
            <a:xfrm>
              <a:off x="5149181" y="3822714"/>
              <a:ext cx="37465" cy="37465"/>
              <a:chOff x="4553267" y="3050540"/>
              <a:chExt cx="37465" cy="37465"/>
            </a:xfrm>
          </p:grpSpPr>
          <p:cxnSp>
            <p:nvCxnSpPr>
              <p:cNvPr id="286" name="Straight Connector 295"/>
              <p:cNvCxnSpPr/>
              <p:nvPr/>
            </p:nvCxnSpPr>
            <p:spPr>
              <a:xfrm>
                <a:off x="4572749" y="3049966"/>
                <a:ext cx="0" cy="38094"/>
              </a:xfrm>
              <a:prstGeom prst="line">
                <a:avLst/>
              </a:prstGeom>
              <a:noFill/>
              <a:ln w="12700" cap="rnd" cmpd="sng" algn="ctr">
                <a:solidFill>
                  <a:schemeClr val="accent2"/>
                </a:solidFill>
                <a:prstDash val="solid"/>
              </a:ln>
              <a:effectLst/>
            </p:spPr>
          </p:cxnSp>
          <p:cxnSp>
            <p:nvCxnSpPr>
              <p:cNvPr id="287" name="Straight Connector 296"/>
              <p:cNvCxnSpPr/>
              <p:nvPr/>
            </p:nvCxnSpPr>
            <p:spPr>
              <a:xfrm rot="16200000">
                <a:off x="4571957" y="3050761"/>
                <a:ext cx="0" cy="36502"/>
              </a:xfrm>
              <a:prstGeom prst="line">
                <a:avLst/>
              </a:prstGeom>
              <a:noFill/>
              <a:ln w="12700" cap="rnd" cmpd="sng" algn="ctr">
                <a:solidFill>
                  <a:schemeClr val="accent2"/>
                </a:solidFill>
                <a:prstDash val="solid"/>
              </a:ln>
              <a:effectLst/>
            </p:spPr>
          </p:cxnSp>
        </p:grpSp>
        <p:grpSp>
          <p:nvGrpSpPr>
            <p:cNvPr id="225" name="Group 87"/>
            <p:cNvGrpSpPr>
              <a:grpSpLocks/>
            </p:cNvGrpSpPr>
            <p:nvPr/>
          </p:nvGrpSpPr>
          <p:grpSpPr bwMode="auto">
            <a:xfrm>
              <a:off x="4646261" y="3453144"/>
              <a:ext cx="37465" cy="37465"/>
              <a:chOff x="4553267" y="3050540"/>
              <a:chExt cx="37465" cy="37465"/>
            </a:xfrm>
          </p:grpSpPr>
          <p:cxnSp>
            <p:nvCxnSpPr>
              <p:cNvPr id="284" name="Straight Connector 293"/>
              <p:cNvCxnSpPr/>
              <p:nvPr/>
            </p:nvCxnSpPr>
            <p:spPr>
              <a:xfrm>
                <a:off x="4572579" y="3051294"/>
                <a:ext cx="0" cy="36507"/>
              </a:xfrm>
              <a:prstGeom prst="line">
                <a:avLst/>
              </a:prstGeom>
              <a:noFill/>
              <a:ln w="12700" cap="rnd" cmpd="sng" algn="ctr">
                <a:solidFill>
                  <a:schemeClr val="accent2"/>
                </a:solidFill>
                <a:prstDash val="solid"/>
              </a:ln>
              <a:effectLst/>
            </p:spPr>
          </p:cxnSp>
          <p:cxnSp>
            <p:nvCxnSpPr>
              <p:cNvPr id="285" name="Straight Connector 294"/>
              <p:cNvCxnSpPr/>
              <p:nvPr/>
            </p:nvCxnSpPr>
            <p:spPr>
              <a:xfrm rot="16200000">
                <a:off x="4571786" y="3052090"/>
                <a:ext cx="0" cy="36501"/>
              </a:xfrm>
              <a:prstGeom prst="line">
                <a:avLst/>
              </a:prstGeom>
              <a:noFill/>
              <a:ln w="12700" cap="rnd" cmpd="sng" algn="ctr">
                <a:solidFill>
                  <a:schemeClr val="accent2"/>
                </a:solidFill>
                <a:prstDash val="solid"/>
              </a:ln>
              <a:effectLst/>
            </p:spPr>
          </p:cxnSp>
        </p:grpSp>
        <p:grpSp>
          <p:nvGrpSpPr>
            <p:cNvPr id="226" name="Group 90"/>
            <p:cNvGrpSpPr>
              <a:grpSpLocks/>
            </p:cNvGrpSpPr>
            <p:nvPr/>
          </p:nvGrpSpPr>
          <p:grpSpPr bwMode="auto">
            <a:xfrm>
              <a:off x="4634831" y="3395994"/>
              <a:ext cx="37465" cy="37465"/>
              <a:chOff x="4553267" y="3050540"/>
              <a:chExt cx="37465" cy="37465"/>
            </a:xfrm>
          </p:grpSpPr>
          <p:cxnSp>
            <p:nvCxnSpPr>
              <p:cNvPr id="282" name="Straight Connector 291"/>
              <p:cNvCxnSpPr/>
              <p:nvPr/>
            </p:nvCxnSpPr>
            <p:spPr>
              <a:xfrm>
                <a:off x="4572900" y="3051304"/>
                <a:ext cx="0" cy="36507"/>
              </a:xfrm>
              <a:prstGeom prst="line">
                <a:avLst/>
              </a:prstGeom>
              <a:noFill/>
              <a:ln w="12700" cap="rnd" cmpd="sng" algn="ctr">
                <a:solidFill>
                  <a:schemeClr val="accent2"/>
                </a:solidFill>
                <a:prstDash val="solid"/>
              </a:ln>
              <a:effectLst/>
            </p:spPr>
          </p:cxnSp>
          <p:cxnSp>
            <p:nvCxnSpPr>
              <p:cNvPr id="283" name="Straight Connector 292"/>
              <p:cNvCxnSpPr/>
              <p:nvPr/>
            </p:nvCxnSpPr>
            <p:spPr>
              <a:xfrm rot="16200000">
                <a:off x="4572107" y="3052099"/>
                <a:ext cx="0" cy="36502"/>
              </a:xfrm>
              <a:prstGeom prst="line">
                <a:avLst/>
              </a:prstGeom>
              <a:noFill/>
              <a:ln w="12700" cap="rnd" cmpd="sng" algn="ctr">
                <a:solidFill>
                  <a:schemeClr val="accent2"/>
                </a:solidFill>
                <a:prstDash val="solid"/>
              </a:ln>
              <a:effectLst/>
            </p:spPr>
          </p:cxnSp>
        </p:grpSp>
        <p:grpSp>
          <p:nvGrpSpPr>
            <p:cNvPr id="227" name="Group 93"/>
            <p:cNvGrpSpPr>
              <a:grpSpLocks/>
            </p:cNvGrpSpPr>
            <p:nvPr/>
          </p:nvGrpSpPr>
          <p:grpSpPr bwMode="auto">
            <a:xfrm>
              <a:off x="4164296" y="3226449"/>
              <a:ext cx="37465" cy="37465"/>
              <a:chOff x="4553267" y="3050540"/>
              <a:chExt cx="37465" cy="37465"/>
            </a:xfrm>
          </p:grpSpPr>
          <p:cxnSp>
            <p:nvCxnSpPr>
              <p:cNvPr id="280" name="Straight Connector 289"/>
              <p:cNvCxnSpPr/>
              <p:nvPr/>
            </p:nvCxnSpPr>
            <p:spPr>
              <a:xfrm>
                <a:off x="4572085" y="3051013"/>
                <a:ext cx="0" cy="36506"/>
              </a:xfrm>
              <a:prstGeom prst="line">
                <a:avLst/>
              </a:prstGeom>
              <a:noFill/>
              <a:ln w="12700" cap="rnd" cmpd="sng" algn="ctr">
                <a:solidFill>
                  <a:schemeClr val="accent2"/>
                </a:solidFill>
                <a:prstDash val="solid"/>
              </a:ln>
              <a:effectLst/>
            </p:spPr>
          </p:cxnSp>
          <p:cxnSp>
            <p:nvCxnSpPr>
              <p:cNvPr id="281" name="Straight Connector 290"/>
              <p:cNvCxnSpPr/>
              <p:nvPr/>
            </p:nvCxnSpPr>
            <p:spPr>
              <a:xfrm rot="16200000">
                <a:off x="4572085" y="3051015"/>
                <a:ext cx="0" cy="38089"/>
              </a:xfrm>
              <a:prstGeom prst="line">
                <a:avLst/>
              </a:prstGeom>
              <a:noFill/>
              <a:ln w="12700" cap="rnd" cmpd="sng" algn="ctr">
                <a:solidFill>
                  <a:schemeClr val="accent2"/>
                </a:solidFill>
                <a:prstDash val="solid"/>
              </a:ln>
              <a:effectLst/>
            </p:spPr>
          </p:cxnSp>
        </p:grpSp>
        <p:grpSp>
          <p:nvGrpSpPr>
            <p:cNvPr id="228" name="Group 96"/>
            <p:cNvGrpSpPr>
              <a:grpSpLocks/>
            </p:cNvGrpSpPr>
            <p:nvPr/>
          </p:nvGrpSpPr>
          <p:grpSpPr bwMode="auto">
            <a:xfrm>
              <a:off x="4126196" y="3154059"/>
              <a:ext cx="37465" cy="37465"/>
              <a:chOff x="4553267" y="3050540"/>
              <a:chExt cx="37465" cy="37465"/>
            </a:xfrm>
          </p:grpSpPr>
          <p:cxnSp>
            <p:nvCxnSpPr>
              <p:cNvPr id="278" name="Straight Connector 287"/>
              <p:cNvCxnSpPr/>
              <p:nvPr/>
            </p:nvCxnSpPr>
            <p:spPr>
              <a:xfrm>
                <a:off x="4572097" y="3050390"/>
                <a:ext cx="0" cy="38094"/>
              </a:xfrm>
              <a:prstGeom prst="line">
                <a:avLst/>
              </a:prstGeom>
              <a:noFill/>
              <a:ln w="12700" cap="rnd" cmpd="sng" algn="ctr">
                <a:solidFill>
                  <a:schemeClr val="accent2"/>
                </a:solidFill>
                <a:prstDash val="solid"/>
              </a:ln>
              <a:effectLst/>
            </p:spPr>
          </p:cxnSp>
          <p:cxnSp>
            <p:nvCxnSpPr>
              <p:cNvPr id="279" name="Straight Connector 288"/>
              <p:cNvCxnSpPr/>
              <p:nvPr/>
            </p:nvCxnSpPr>
            <p:spPr>
              <a:xfrm rot="16200000">
                <a:off x="4572097" y="3050393"/>
                <a:ext cx="0" cy="38089"/>
              </a:xfrm>
              <a:prstGeom prst="line">
                <a:avLst/>
              </a:prstGeom>
              <a:noFill/>
              <a:ln w="12700" cap="rnd" cmpd="sng" algn="ctr">
                <a:solidFill>
                  <a:schemeClr val="accent2"/>
                </a:solidFill>
                <a:prstDash val="solid"/>
              </a:ln>
              <a:effectLst/>
            </p:spPr>
          </p:cxnSp>
        </p:grpSp>
        <p:grpSp>
          <p:nvGrpSpPr>
            <p:cNvPr id="229" name="Group 99"/>
            <p:cNvGrpSpPr>
              <a:grpSpLocks/>
            </p:cNvGrpSpPr>
            <p:nvPr/>
          </p:nvGrpSpPr>
          <p:grpSpPr bwMode="auto">
            <a:xfrm>
              <a:off x="3922361" y="3028329"/>
              <a:ext cx="37465" cy="37465"/>
              <a:chOff x="4553267" y="3050540"/>
              <a:chExt cx="37465" cy="37465"/>
            </a:xfrm>
          </p:grpSpPr>
          <p:cxnSp>
            <p:nvCxnSpPr>
              <p:cNvPr id="276" name="Straight Connector 285"/>
              <p:cNvCxnSpPr/>
              <p:nvPr/>
            </p:nvCxnSpPr>
            <p:spPr>
              <a:xfrm>
                <a:off x="4572791" y="3050727"/>
                <a:ext cx="0" cy="36507"/>
              </a:xfrm>
              <a:prstGeom prst="line">
                <a:avLst/>
              </a:prstGeom>
              <a:noFill/>
              <a:ln w="12700" cap="rnd" cmpd="sng" algn="ctr">
                <a:solidFill>
                  <a:schemeClr val="accent2"/>
                </a:solidFill>
                <a:prstDash val="solid"/>
              </a:ln>
              <a:effectLst/>
            </p:spPr>
          </p:cxnSp>
          <p:cxnSp>
            <p:nvCxnSpPr>
              <p:cNvPr id="277" name="Straight Connector 286"/>
              <p:cNvCxnSpPr/>
              <p:nvPr/>
            </p:nvCxnSpPr>
            <p:spPr>
              <a:xfrm rot="16200000">
                <a:off x="4571998" y="3051523"/>
                <a:ext cx="0" cy="36501"/>
              </a:xfrm>
              <a:prstGeom prst="line">
                <a:avLst/>
              </a:prstGeom>
              <a:noFill/>
              <a:ln w="12700" cap="rnd" cmpd="sng" algn="ctr">
                <a:solidFill>
                  <a:schemeClr val="accent2"/>
                </a:solidFill>
                <a:prstDash val="solid"/>
              </a:ln>
              <a:effectLst/>
            </p:spPr>
          </p:cxnSp>
        </p:grpSp>
        <p:grpSp>
          <p:nvGrpSpPr>
            <p:cNvPr id="230" name="Group 102"/>
            <p:cNvGrpSpPr>
              <a:grpSpLocks/>
            </p:cNvGrpSpPr>
            <p:nvPr/>
          </p:nvGrpSpPr>
          <p:grpSpPr bwMode="auto">
            <a:xfrm>
              <a:off x="3686141" y="2816874"/>
              <a:ext cx="37465" cy="37465"/>
              <a:chOff x="4553267" y="3050540"/>
              <a:chExt cx="37465" cy="37465"/>
            </a:xfrm>
          </p:grpSpPr>
          <p:cxnSp>
            <p:nvCxnSpPr>
              <p:cNvPr id="274" name="Straight Connector 283"/>
              <p:cNvCxnSpPr/>
              <p:nvPr/>
            </p:nvCxnSpPr>
            <p:spPr>
              <a:xfrm>
                <a:off x="4572542" y="3051079"/>
                <a:ext cx="0" cy="36506"/>
              </a:xfrm>
              <a:prstGeom prst="line">
                <a:avLst/>
              </a:prstGeom>
              <a:noFill/>
              <a:ln w="12700" cap="rnd" cmpd="sng" algn="ctr">
                <a:solidFill>
                  <a:schemeClr val="accent2"/>
                </a:solidFill>
                <a:prstDash val="solid"/>
              </a:ln>
              <a:effectLst/>
            </p:spPr>
          </p:cxnSp>
          <p:cxnSp>
            <p:nvCxnSpPr>
              <p:cNvPr id="275" name="Straight Connector 284"/>
              <p:cNvCxnSpPr/>
              <p:nvPr/>
            </p:nvCxnSpPr>
            <p:spPr>
              <a:xfrm rot="16200000">
                <a:off x="4571750" y="3051874"/>
                <a:ext cx="0" cy="36502"/>
              </a:xfrm>
              <a:prstGeom prst="line">
                <a:avLst/>
              </a:prstGeom>
              <a:noFill/>
              <a:ln w="12700" cap="rnd" cmpd="sng" algn="ctr">
                <a:solidFill>
                  <a:schemeClr val="accent2"/>
                </a:solidFill>
                <a:prstDash val="solid"/>
              </a:ln>
              <a:effectLst/>
            </p:spPr>
          </p:cxnSp>
        </p:grpSp>
        <p:grpSp>
          <p:nvGrpSpPr>
            <p:cNvPr id="231" name="Group 105"/>
            <p:cNvGrpSpPr>
              <a:grpSpLocks/>
            </p:cNvGrpSpPr>
            <p:nvPr/>
          </p:nvGrpSpPr>
          <p:grpSpPr bwMode="auto">
            <a:xfrm>
              <a:off x="3446111" y="2531124"/>
              <a:ext cx="37465" cy="37465"/>
              <a:chOff x="4553267" y="3050540"/>
              <a:chExt cx="37465" cy="37465"/>
            </a:xfrm>
          </p:grpSpPr>
          <p:cxnSp>
            <p:nvCxnSpPr>
              <p:cNvPr id="272" name="Straight Connector 281"/>
              <p:cNvCxnSpPr/>
              <p:nvPr/>
            </p:nvCxnSpPr>
            <p:spPr>
              <a:xfrm>
                <a:off x="4572930" y="3051124"/>
                <a:ext cx="0" cy="36506"/>
              </a:xfrm>
              <a:prstGeom prst="line">
                <a:avLst/>
              </a:prstGeom>
              <a:noFill/>
              <a:ln w="12700" cap="rnd" cmpd="sng" algn="ctr">
                <a:solidFill>
                  <a:schemeClr val="accent2"/>
                </a:solidFill>
                <a:prstDash val="solid"/>
              </a:ln>
              <a:effectLst/>
            </p:spPr>
          </p:cxnSp>
          <p:cxnSp>
            <p:nvCxnSpPr>
              <p:cNvPr id="273" name="Straight Connector 282"/>
              <p:cNvCxnSpPr/>
              <p:nvPr/>
            </p:nvCxnSpPr>
            <p:spPr>
              <a:xfrm rot="16200000">
                <a:off x="4572136" y="3051920"/>
                <a:ext cx="0" cy="36501"/>
              </a:xfrm>
              <a:prstGeom prst="line">
                <a:avLst/>
              </a:prstGeom>
              <a:noFill/>
              <a:ln w="12700" cap="rnd" cmpd="sng" algn="ctr">
                <a:solidFill>
                  <a:schemeClr val="accent2"/>
                </a:solidFill>
                <a:prstDash val="solid"/>
              </a:ln>
              <a:effectLst/>
            </p:spPr>
          </p:cxnSp>
        </p:grpSp>
        <p:grpSp>
          <p:nvGrpSpPr>
            <p:cNvPr id="232" name="Group 108"/>
            <p:cNvGrpSpPr>
              <a:grpSpLocks/>
            </p:cNvGrpSpPr>
            <p:nvPr/>
          </p:nvGrpSpPr>
          <p:grpSpPr bwMode="auto">
            <a:xfrm>
              <a:off x="3434681" y="2416824"/>
              <a:ext cx="37465" cy="37465"/>
              <a:chOff x="4553267" y="3050540"/>
              <a:chExt cx="37465" cy="37465"/>
            </a:xfrm>
          </p:grpSpPr>
          <p:cxnSp>
            <p:nvCxnSpPr>
              <p:cNvPr id="270" name="Straight Connector 279"/>
              <p:cNvCxnSpPr/>
              <p:nvPr/>
            </p:nvCxnSpPr>
            <p:spPr>
              <a:xfrm>
                <a:off x="4571665" y="3051142"/>
                <a:ext cx="0" cy="36506"/>
              </a:xfrm>
              <a:prstGeom prst="line">
                <a:avLst/>
              </a:prstGeom>
              <a:noFill/>
              <a:ln w="12700" cap="rnd" cmpd="sng" algn="ctr">
                <a:solidFill>
                  <a:schemeClr val="accent2"/>
                </a:solidFill>
                <a:prstDash val="solid"/>
              </a:ln>
              <a:effectLst/>
            </p:spPr>
          </p:cxnSp>
          <p:cxnSp>
            <p:nvCxnSpPr>
              <p:cNvPr id="271" name="Straight Connector 280"/>
              <p:cNvCxnSpPr/>
              <p:nvPr/>
            </p:nvCxnSpPr>
            <p:spPr>
              <a:xfrm rot="16200000">
                <a:off x="4571665" y="3051144"/>
                <a:ext cx="0" cy="38089"/>
              </a:xfrm>
              <a:prstGeom prst="line">
                <a:avLst/>
              </a:prstGeom>
              <a:noFill/>
              <a:ln w="12700" cap="rnd" cmpd="sng" algn="ctr">
                <a:solidFill>
                  <a:schemeClr val="accent2"/>
                </a:solidFill>
                <a:prstDash val="solid"/>
              </a:ln>
              <a:effectLst/>
            </p:spPr>
          </p:cxnSp>
        </p:grpSp>
        <p:grpSp>
          <p:nvGrpSpPr>
            <p:cNvPr id="233" name="Group 111"/>
            <p:cNvGrpSpPr>
              <a:grpSpLocks/>
            </p:cNvGrpSpPr>
            <p:nvPr/>
          </p:nvGrpSpPr>
          <p:grpSpPr bwMode="auto">
            <a:xfrm>
              <a:off x="3423251" y="2365389"/>
              <a:ext cx="37465" cy="37465"/>
              <a:chOff x="4553267" y="3050540"/>
              <a:chExt cx="37465" cy="37465"/>
            </a:xfrm>
          </p:grpSpPr>
          <p:cxnSp>
            <p:nvCxnSpPr>
              <p:cNvPr id="268" name="Straight Connector 277"/>
              <p:cNvCxnSpPr/>
              <p:nvPr/>
            </p:nvCxnSpPr>
            <p:spPr>
              <a:xfrm>
                <a:off x="4571985" y="3050198"/>
                <a:ext cx="0" cy="38094"/>
              </a:xfrm>
              <a:prstGeom prst="line">
                <a:avLst/>
              </a:prstGeom>
              <a:noFill/>
              <a:ln w="12700" cap="rnd" cmpd="sng" algn="ctr">
                <a:solidFill>
                  <a:schemeClr val="accent2"/>
                </a:solidFill>
                <a:prstDash val="solid"/>
              </a:ln>
              <a:effectLst/>
            </p:spPr>
          </p:cxnSp>
          <p:cxnSp>
            <p:nvCxnSpPr>
              <p:cNvPr id="269" name="Straight Connector 278"/>
              <p:cNvCxnSpPr/>
              <p:nvPr/>
            </p:nvCxnSpPr>
            <p:spPr>
              <a:xfrm rot="16200000">
                <a:off x="4571985" y="3050201"/>
                <a:ext cx="0" cy="38089"/>
              </a:xfrm>
              <a:prstGeom prst="line">
                <a:avLst/>
              </a:prstGeom>
              <a:noFill/>
              <a:ln w="12700" cap="rnd" cmpd="sng" algn="ctr">
                <a:solidFill>
                  <a:schemeClr val="accent2"/>
                </a:solidFill>
                <a:prstDash val="solid"/>
              </a:ln>
              <a:effectLst/>
            </p:spPr>
          </p:cxnSp>
        </p:grpSp>
        <p:grpSp>
          <p:nvGrpSpPr>
            <p:cNvPr id="234" name="Group 114"/>
            <p:cNvGrpSpPr>
              <a:grpSpLocks/>
            </p:cNvGrpSpPr>
            <p:nvPr/>
          </p:nvGrpSpPr>
          <p:grpSpPr bwMode="auto">
            <a:xfrm>
              <a:off x="3207986" y="2336814"/>
              <a:ext cx="37465" cy="37465"/>
              <a:chOff x="4553267" y="3050540"/>
              <a:chExt cx="37465" cy="37465"/>
            </a:xfrm>
          </p:grpSpPr>
          <p:cxnSp>
            <p:nvCxnSpPr>
              <p:cNvPr id="266" name="Straight Connector 275"/>
              <p:cNvCxnSpPr/>
              <p:nvPr/>
            </p:nvCxnSpPr>
            <p:spPr>
              <a:xfrm>
                <a:off x="4573000" y="3050202"/>
                <a:ext cx="0" cy="38094"/>
              </a:xfrm>
              <a:prstGeom prst="line">
                <a:avLst/>
              </a:prstGeom>
              <a:noFill/>
              <a:ln w="12700" cap="rnd" cmpd="sng" algn="ctr">
                <a:solidFill>
                  <a:schemeClr val="accent2"/>
                </a:solidFill>
                <a:prstDash val="solid"/>
              </a:ln>
              <a:effectLst/>
            </p:spPr>
          </p:cxnSp>
          <p:cxnSp>
            <p:nvCxnSpPr>
              <p:cNvPr id="267" name="Straight Connector 276"/>
              <p:cNvCxnSpPr/>
              <p:nvPr/>
            </p:nvCxnSpPr>
            <p:spPr>
              <a:xfrm rot="16200000">
                <a:off x="4572206" y="3050998"/>
                <a:ext cx="0" cy="36501"/>
              </a:xfrm>
              <a:prstGeom prst="line">
                <a:avLst/>
              </a:prstGeom>
              <a:noFill/>
              <a:ln w="12700" cap="rnd" cmpd="sng" algn="ctr">
                <a:solidFill>
                  <a:schemeClr val="accent2"/>
                </a:solidFill>
                <a:prstDash val="solid"/>
              </a:ln>
              <a:effectLst/>
            </p:spPr>
          </p:cxnSp>
        </p:grpSp>
        <p:grpSp>
          <p:nvGrpSpPr>
            <p:cNvPr id="235" name="Group 117"/>
            <p:cNvGrpSpPr>
              <a:grpSpLocks/>
            </p:cNvGrpSpPr>
            <p:nvPr/>
          </p:nvGrpSpPr>
          <p:grpSpPr bwMode="auto">
            <a:xfrm>
              <a:off x="3202271" y="2310144"/>
              <a:ext cx="37465" cy="37465"/>
              <a:chOff x="4553267" y="3050540"/>
              <a:chExt cx="37465" cy="37465"/>
            </a:xfrm>
          </p:grpSpPr>
          <p:cxnSp>
            <p:nvCxnSpPr>
              <p:cNvPr id="264" name="Straight Connector 273"/>
              <p:cNvCxnSpPr/>
              <p:nvPr/>
            </p:nvCxnSpPr>
            <p:spPr>
              <a:xfrm>
                <a:off x="4572367" y="3049889"/>
                <a:ext cx="0" cy="38094"/>
              </a:xfrm>
              <a:prstGeom prst="line">
                <a:avLst/>
              </a:prstGeom>
              <a:noFill/>
              <a:ln w="12700" cap="rnd" cmpd="sng" algn="ctr">
                <a:solidFill>
                  <a:schemeClr val="accent2"/>
                </a:solidFill>
                <a:prstDash val="solid"/>
              </a:ln>
              <a:effectLst/>
            </p:spPr>
          </p:cxnSp>
          <p:cxnSp>
            <p:nvCxnSpPr>
              <p:cNvPr id="265" name="Straight Connector 274"/>
              <p:cNvCxnSpPr/>
              <p:nvPr/>
            </p:nvCxnSpPr>
            <p:spPr>
              <a:xfrm rot="16200000">
                <a:off x="4572367" y="3049892"/>
                <a:ext cx="0" cy="38089"/>
              </a:xfrm>
              <a:prstGeom prst="line">
                <a:avLst/>
              </a:prstGeom>
              <a:noFill/>
              <a:ln w="12700" cap="rnd" cmpd="sng" algn="ctr">
                <a:solidFill>
                  <a:schemeClr val="accent2"/>
                </a:solidFill>
                <a:prstDash val="solid"/>
              </a:ln>
              <a:effectLst/>
            </p:spPr>
          </p:cxnSp>
        </p:grpSp>
        <p:grpSp>
          <p:nvGrpSpPr>
            <p:cNvPr id="236" name="Group 120"/>
            <p:cNvGrpSpPr>
              <a:grpSpLocks/>
            </p:cNvGrpSpPr>
            <p:nvPr/>
          </p:nvGrpSpPr>
          <p:grpSpPr bwMode="auto">
            <a:xfrm>
              <a:off x="3196556" y="2247279"/>
              <a:ext cx="37465" cy="37465"/>
              <a:chOff x="4553267" y="3050540"/>
              <a:chExt cx="37465" cy="37465"/>
            </a:xfrm>
          </p:grpSpPr>
          <p:cxnSp>
            <p:nvCxnSpPr>
              <p:cNvPr id="262" name="Straight Connector 271"/>
              <p:cNvCxnSpPr/>
              <p:nvPr/>
            </p:nvCxnSpPr>
            <p:spPr>
              <a:xfrm>
                <a:off x="4571734" y="3050851"/>
                <a:ext cx="0" cy="36507"/>
              </a:xfrm>
              <a:prstGeom prst="line">
                <a:avLst/>
              </a:prstGeom>
              <a:noFill/>
              <a:ln w="12700" cap="rnd" cmpd="sng" algn="ctr">
                <a:solidFill>
                  <a:schemeClr val="accent2"/>
                </a:solidFill>
                <a:prstDash val="solid"/>
              </a:ln>
              <a:effectLst/>
            </p:spPr>
          </p:cxnSp>
          <p:cxnSp>
            <p:nvCxnSpPr>
              <p:cNvPr id="263" name="Straight Connector 272"/>
              <p:cNvCxnSpPr/>
              <p:nvPr/>
            </p:nvCxnSpPr>
            <p:spPr>
              <a:xfrm rot="16200000">
                <a:off x="4571734" y="3050853"/>
                <a:ext cx="0" cy="38089"/>
              </a:xfrm>
              <a:prstGeom prst="line">
                <a:avLst/>
              </a:prstGeom>
              <a:noFill/>
              <a:ln w="12700" cap="rnd" cmpd="sng" algn="ctr">
                <a:solidFill>
                  <a:schemeClr val="accent2"/>
                </a:solidFill>
                <a:prstDash val="solid"/>
              </a:ln>
              <a:effectLst/>
            </p:spPr>
          </p:cxnSp>
        </p:grpSp>
        <p:grpSp>
          <p:nvGrpSpPr>
            <p:cNvPr id="237" name="Group 123"/>
            <p:cNvGrpSpPr>
              <a:grpSpLocks/>
            </p:cNvGrpSpPr>
            <p:nvPr/>
          </p:nvGrpSpPr>
          <p:grpSpPr bwMode="auto">
            <a:xfrm>
              <a:off x="2948906" y="2064399"/>
              <a:ext cx="37465" cy="37465"/>
              <a:chOff x="4553267" y="3050540"/>
              <a:chExt cx="37465" cy="37465"/>
            </a:xfrm>
          </p:grpSpPr>
          <p:cxnSp>
            <p:nvCxnSpPr>
              <p:cNvPr id="260" name="Straight Connector 269"/>
              <p:cNvCxnSpPr/>
              <p:nvPr/>
            </p:nvCxnSpPr>
            <p:spPr>
              <a:xfrm>
                <a:off x="4571807" y="3051199"/>
                <a:ext cx="0" cy="36506"/>
              </a:xfrm>
              <a:prstGeom prst="line">
                <a:avLst/>
              </a:prstGeom>
              <a:noFill/>
              <a:ln w="12700" cap="rnd" cmpd="sng" algn="ctr">
                <a:solidFill>
                  <a:schemeClr val="accent2"/>
                </a:solidFill>
                <a:prstDash val="solid"/>
              </a:ln>
              <a:effectLst/>
            </p:spPr>
          </p:cxnSp>
          <p:cxnSp>
            <p:nvCxnSpPr>
              <p:cNvPr id="261" name="Straight Connector 270"/>
              <p:cNvCxnSpPr/>
              <p:nvPr/>
            </p:nvCxnSpPr>
            <p:spPr>
              <a:xfrm rot="16200000">
                <a:off x="4571807" y="3051201"/>
                <a:ext cx="0" cy="38089"/>
              </a:xfrm>
              <a:prstGeom prst="line">
                <a:avLst/>
              </a:prstGeom>
              <a:noFill/>
              <a:ln w="12700" cap="rnd" cmpd="sng" algn="ctr">
                <a:solidFill>
                  <a:schemeClr val="accent2"/>
                </a:solidFill>
                <a:prstDash val="solid"/>
              </a:ln>
              <a:effectLst/>
            </p:spPr>
          </p:cxnSp>
        </p:grpSp>
        <p:grpSp>
          <p:nvGrpSpPr>
            <p:cNvPr id="238" name="Group 126"/>
            <p:cNvGrpSpPr>
              <a:grpSpLocks/>
            </p:cNvGrpSpPr>
            <p:nvPr/>
          </p:nvGrpSpPr>
          <p:grpSpPr bwMode="auto">
            <a:xfrm>
              <a:off x="2712686" y="1894854"/>
              <a:ext cx="37465" cy="37465"/>
              <a:chOff x="4553267" y="3050540"/>
              <a:chExt cx="37465" cy="37465"/>
            </a:xfrm>
          </p:grpSpPr>
          <p:cxnSp>
            <p:nvCxnSpPr>
              <p:cNvPr id="258" name="Straight Connector 267"/>
              <p:cNvCxnSpPr/>
              <p:nvPr/>
            </p:nvCxnSpPr>
            <p:spPr>
              <a:xfrm>
                <a:off x="4571558" y="3050908"/>
                <a:ext cx="0" cy="36507"/>
              </a:xfrm>
              <a:prstGeom prst="line">
                <a:avLst/>
              </a:prstGeom>
              <a:noFill/>
              <a:ln w="12700" cap="rnd" cmpd="sng" algn="ctr">
                <a:solidFill>
                  <a:schemeClr val="accent2"/>
                </a:solidFill>
                <a:prstDash val="solid"/>
              </a:ln>
              <a:effectLst/>
            </p:spPr>
          </p:cxnSp>
          <p:cxnSp>
            <p:nvCxnSpPr>
              <p:cNvPr id="259" name="Straight Connector 268"/>
              <p:cNvCxnSpPr/>
              <p:nvPr/>
            </p:nvCxnSpPr>
            <p:spPr>
              <a:xfrm rot="16200000">
                <a:off x="4571558" y="3050910"/>
                <a:ext cx="0" cy="38089"/>
              </a:xfrm>
              <a:prstGeom prst="line">
                <a:avLst/>
              </a:prstGeom>
              <a:noFill/>
              <a:ln w="12700" cap="rnd" cmpd="sng" algn="ctr">
                <a:solidFill>
                  <a:schemeClr val="accent2"/>
                </a:solidFill>
                <a:prstDash val="solid"/>
              </a:ln>
              <a:effectLst/>
            </p:spPr>
          </p:cxnSp>
        </p:grpSp>
        <p:grpSp>
          <p:nvGrpSpPr>
            <p:cNvPr id="239" name="Group 129"/>
            <p:cNvGrpSpPr>
              <a:grpSpLocks/>
            </p:cNvGrpSpPr>
            <p:nvPr/>
          </p:nvGrpSpPr>
          <p:grpSpPr bwMode="auto">
            <a:xfrm>
              <a:off x="2716496" y="1877709"/>
              <a:ext cx="37465" cy="37465"/>
              <a:chOff x="4553267" y="3050540"/>
              <a:chExt cx="37465" cy="37465"/>
            </a:xfrm>
          </p:grpSpPr>
          <p:cxnSp>
            <p:nvCxnSpPr>
              <p:cNvPr id="256" name="Straight Connector 265"/>
              <p:cNvCxnSpPr/>
              <p:nvPr/>
            </p:nvCxnSpPr>
            <p:spPr>
              <a:xfrm>
                <a:off x="4572509" y="3050593"/>
                <a:ext cx="0" cy="38094"/>
              </a:xfrm>
              <a:prstGeom prst="line">
                <a:avLst/>
              </a:prstGeom>
              <a:noFill/>
              <a:ln w="12700" cap="rnd" cmpd="sng" algn="ctr">
                <a:solidFill>
                  <a:schemeClr val="accent2"/>
                </a:solidFill>
                <a:prstDash val="solid"/>
              </a:ln>
              <a:effectLst/>
            </p:spPr>
          </p:cxnSp>
          <p:cxnSp>
            <p:nvCxnSpPr>
              <p:cNvPr id="257" name="Straight Connector 266"/>
              <p:cNvCxnSpPr/>
              <p:nvPr/>
            </p:nvCxnSpPr>
            <p:spPr>
              <a:xfrm rot="16200000">
                <a:off x="4571716" y="3051389"/>
                <a:ext cx="0" cy="36501"/>
              </a:xfrm>
              <a:prstGeom prst="line">
                <a:avLst/>
              </a:prstGeom>
              <a:noFill/>
              <a:ln w="12700" cap="rnd" cmpd="sng" algn="ctr">
                <a:solidFill>
                  <a:schemeClr val="accent2"/>
                </a:solidFill>
                <a:prstDash val="solid"/>
              </a:ln>
              <a:effectLst/>
            </p:spPr>
          </p:cxnSp>
        </p:grpSp>
        <p:grpSp>
          <p:nvGrpSpPr>
            <p:cNvPr id="240" name="Group 132"/>
            <p:cNvGrpSpPr>
              <a:grpSpLocks/>
            </p:cNvGrpSpPr>
            <p:nvPr/>
          </p:nvGrpSpPr>
          <p:grpSpPr bwMode="auto">
            <a:xfrm>
              <a:off x="2689826" y="1845324"/>
              <a:ext cx="37465" cy="37465"/>
              <a:chOff x="4553267" y="3050540"/>
              <a:chExt cx="37465" cy="37465"/>
            </a:xfrm>
          </p:grpSpPr>
          <p:cxnSp>
            <p:nvCxnSpPr>
              <p:cNvPr id="254" name="Straight Connector 263"/>
              <p:cNvCxnSpPr/>
              <p:nvPr/>
            </p:nvCxnSpPr>
            <p:spPr>
              <a:xfrm>
                <a:off x="4572199" y="3051233"/>
                <a:ext cx="0" cy="36506"/>
              </a:xfrm>
              <a:prstGeom prst="line">
                <a:avLst/>
              </a:prstGeom>
              <a:noFill/>
              <a:ln w="12700" cap="rnd" cmpd="sng" algn="ctr">
                <a:solidFill>
                  <a:schemeClr val="accent2"/>
                </a:solidFill>
                <a:prstDash val="solid"/>
              </a:ln>
              <a:effectLst/>
            </p:spPr>
          </p:cxnSp>
          <p:cxnSp>
            <p:nvCxnSpPr>
              <p:cNvPr id="255" name="Straight Connector 264"/>
              <p:cNvCxnSpPr/>
              <p:nvPr/>
            </p:nvCxnSpPr>
            <p:spPr>
              <a:xfrm rot="16200000">
                <a:off x="4572199" y="3051235"/>
                <a:ext cx="0" cy="38089"/>
              </a:xfrm>
              <a:prstGeom prst="line">
                <a:avLst/>
              </a:prstGeom>
              <a:noFill/>
              <a:ln w="12700" cap="rnd" cmpd="sng" algn="ctr">
                <a:solidFill>
                  <a:schemeClr val="accent2"/>
                </a:solidFill>
                <a:prstDash val="solid"/>
              </a:ln>
              <a:effectLst/>
            </p:spPr>
          </p:cxnSp>
        </p:grpSp>
        <p:grpSp>
          <p:nvGrpSpPr>
            <p:cNvPr id="241" name="Group 135"/>
            <p:cNvGrpSpPr>
              <a:grpSpLocks/>
            </p:cNvGrpSpPr>
            <p:nvPr/>
          </p:nvGrpSpPr>
          <p:grpSpPr bwMode="auto">
            <a:xfrm>
              <a:off x="2465036" y="1776744"/>
              <a:ext cx="37465" cy="37465"/>
              <a:chOff x="4553267" y="3050540"/>
              <a:chExt cx="37465" cy="37465"/>
            </a:xfrm>
          </p:grpSpPr>
          <p:cxnSp>
            <p:nvCxnSpPr>
              <p:cNvPr id="252" name="Straight Connector 261"/>
              <p:cNvCxnSpPr/>
              <p:nvPr/>
            </p:nvCxnSpPr>
            <p:spPr>
              <a:xfrm>
                <a:off x="4571630" y="3049974"/>
                <a:ext cx="0" cy="38094"/>
              </a:xfrm>
              <a:prstGeom prst="line">
                <a:avLst/>
              </a:prstGeom>
              <a:noFill/>
              <a:ln w="12700" cap="rnd" cmpd="sng" algn="ctr">
                <a:solidFill>
                  <a:schemeClr val="accent2"/>
                </a:solidFill>
                <a:prstDash val="solid"/>
              </a:ln>
              <a:effectLst/>
            </p:spPr>
          </p:cxnSp>
          <p:cxnSp>
            <p:nvCxnSpPr>
              <p:cNvPr id="253" name="Straight Connector 262"/>
              <p:cNvCxnSpPr/>
              <p:nvPr/>
            </p:nvCxnSpPr>
            <p:spPr>
              <a:xfrm rot="16200000">
                <a:off x="4571630" y="3049977"/>
                <a:ext cx="0" cy="38089"/>
              </a:xfrm>
              <a:prstGeom prst="line">
                <a:avLst/>
              </a:prstGeom>
              <a:noFill/>
              <a:ln w="12700" cap="rnd" cmpd="sng" algn="ctr">
                <a:solidFill>
                  <a:schemeClr val="accent2"/>
                </a:solidFill>
                <a:prstDash val="solid"/>
              </a:ln>
              <a:effectLst/>
            </p:spPr>
          </p:cxnSp>
        </p:grpSp>
        <p:grpSp>
          <p:nvGrpSpPr>
            <p:cNvPr id="242" name="Group 138"/>
            <p:cNvGrpSpPr>
              <a:grpSpLocks/>
            </p:cNvGrpSpPr>
            <p:nvPr/>
          </p:nvGrpSpPr>
          <p:grpSpPr bwMode="auto">
            <a:xfrm>
              <a:off x="2436461" y="1731024"/>
              <a:ext cx="37465" cy="37465"/>
              <a:chOff x="4553267" y="3050540"/>
              <a:chExt cx="37465" cy="37465"/>
            </a:xfrm>
          </p:grpSpPr>
          <p:cxnSp>
            <p:nvCxnSpPr>
              <p:cNvPr id="250" name="Straight Connector 259"/>
              <p:cNvCxnSpPr/>
              <p:nvPr/>
            </p:nvCxnSpPr>
            <p:spPr>
              <a:xfrm>
                <a:off x="4571639" y="3051252"/>
                <a:ext cx="0" cy="36506"/>
              </a:xfrm>
              <a:prstGeom prst="line">
                <a:avLst/>
              </a:prstGeom>
              <a:noFill/>
              <a:ln w="12700" cap="rnd" cmpd="sng" algn="ctr">
                <a:solidFill>
                  <a:schemeClr val="accent2"/>
                </a:solidFill>
                <a:prstDash val="solid"/>
              </a:ln>
              <a:effectLst/>
            </p:spPr>
          </p:cxnSp>
          <p:cxnSp>
            <p:nvCxnSpPr>
              <p:cNvPr id="251" name="Straight Connector 260"/>
              <p:cNvCxnSpPr/>
              <p:nvPr/>
            </p:nvCxnSpPr>
            <p:spPr>
              <a:xfrm rot="16200000">
                <a:off x="4571639" y="3051254"/>
                <a:ext cx="0" cy="38089"/>
              </a:xfrm>
              <a:prstGeom prst="line">
                <a:avLst/>
              </a:prstGeom>
              <a:noFill/>
              <a:ln w="12700" cap="rnd" cmpd="sng" algn="ctr">
                <a:solidFill>
                  <a:schemeClr val="accent2"/>
                </a:solidFill>
                <a:prstDash val="solid"/>
              </a:ln>
              <a:effectLst/>
            </p:spPr>
          </p:cxnSp>
        </p:grpSp>
        <p:grpSp>
          <p:nvGrpSpPr>
            <p:cNvPr id="243" name="Group 141"/>
            <p:cNvGrpSpPr>
              <a:grpSpLocks/>
            </p:cNvGrpSpPr>
            <p:nvPr/>
          </p:nvGrpSpPr>
          <p:grpSpPr bwMode="auto">
            <a:xfrm>
              <a:off x="2461226" y="1831989"/>
              <a:ext cx="37465" cy="37465"/>
              <a:chOff x="4553267" y="3050540"/>
              <a:chExt cx="37465" cy="37465"/>
            </a:xfrm>
          </p:grpSpPr>
          <p:cxnSp>
            <p:nvCxnSpPr>
              <p:cNvPr id="248" name="Straight Connector 257"/>
              <p:cNvCxnSpPr/>
              <p:nvPr/>
            </p:nvCxnSpPr>
            <p:spPr>
              <a:xfrm>
                <a:off x="4572266" y="3050283"/>
                <a:ext cx="0" cy="38094"/>
              </a:xfrm>
              <a:prstGeom prst="line">
                <a:avLst/>
              </a:prstGeom>
              <a:noFill/>
              <a:ln w="12700" cap="rnd" cmpd="sng" algn="ctr">
                <a:solidFill>
                  <a:schemeClr val="accent2"/>
                </a:solidFill>
                <a:prstDash val="solid"/>
              </a:ln>
              <a:effectLst/>
            </p:spPr>
          </p:cxnSp>
          <p:cxnSp>
            <p:nvCxnSpPr>
              <p:cNvPr id="249" name="Straight Connector 258"/>
              <p:cNvCxnSpPr/>
              <p:nvPr/>
            </p:nvCxnSpPr>
            <p:spPr>
              <a:xfrm rot="16200000">
                <a:off x="4572266" y="3050286"/>
                <a:ext cx="0" cy="38089"/>
              </a:xfrm>
              <a:prstGeom prst="line">
                <a:avLst/>
              </a:prstGeom>
              <a:noFill/>
              <a:ln w="12700" cap="rnd" cmpd="sng" algn="ctr">
                <a:solidFill>
                  <a:schemeClr val="accent2"/>
                </a:solidFill>
                <a:prstDash val="solid"/>
              </a:ln>
              <a:effectLst/>
            </p:spPr>
          </p:cxnSp>
        </p:grpSp>
        <p:grpSp>
          <p:nvGrpSpPr>
            <p:cNvPr id="244" name="Group 144"/>
            <p:cNvGrpSpPr>
              <a:grpSpLocks/>
            </p:cNvGrpSpPr>
            <p:nvPr/>
          </p:nvGrpSpPr>
          <p:grpSpPr bwMode="auto">
            <a:xfrm>
              <a:off x="2474561" y="1822464"/>
              <a:ext cx="37465" cy="37465"/>
              <a:chOff x="4553267" y="3050540"/>
              <a:chExt cx="37465" cy="37465"/>
            </a:xfrm>
          </p:grpSpPr>
          <p:cxnSp>
            <p:nvCxnSpPr>
              <p:cNvPr id="246" name="Straight Connector 255"/>
              <p:cNvCxnSpPr/>
              <p:nvPr/>
            </p:nvCxnSpPr>
            <p:spPr>
              <a:xfrm>
                <a:off x="4571628" y="3050284"/>
                <a:ext cx="0" cy="38094"/>
              </a:xfrm>
              <a:prstGeom prst="line">
                <a:avLst/>
              </a:prstGeom>
              <a:noFill/>
              <a:ln w="12700" cap="rnd" cmpd="sng" algn="ctr">
                <a:solidFill>
                  <a:schemeClr val="accent2"/>
                </a:solidFill>
                <a:prstDash val="solid"/>
              </a:ln>
              <a:effectLst/>
            </p:spPr>
          </p:cxnSp>
          <p:cxnSp>
            <p:nvCxnSpPr>
              <p:cNvPr id="247" name="Straight Connector 256"/>
              <p:cNvCxnSpPr/>
              <p:nvPr/>
            </p:nvCxnSpPr>
            <p:spPr>
              <a:xfrm rot="16200000">
                <a:off x="4571628" y="3050287"/>
                <a:ext cx="0" cy="38089"/>
              </a:xfrm>
              <a:prstGeom prst="line">
                <a:avLst/>
              </a:prstGeom>
              <a:noFill/>
              <a:ln w="12700" cap="rnd" cmpd="sng" algn="ctr">
                <a:solidFill>
                  <a:schemeClr val="accent2"/>
                </a:solidFill>
                <a:prstDash val="solid"/>
              </a:ln>
              <a:effectLst/>
            </p:spPr>
          </p:cxnSp>
        </p:grpSp>
        <p:sp>
          <p:nvSpPr>
            <p:cNvPr id="245" name="Freeform 2"/>
            <p:cNvSpPr>
              <a:spLocks/>
            </p:cNvSpPr>
            <p:nvPr/>
          </p:nvSpPr>
          <p:spPr bwMode="auto">
            <a:xfrm>
              <a:off x="2216777" y="1722212"/>
              <a:ext cx="4429125" cy="2466975"/>
            </a:xfrm>
            <a:custGeom>
              <a:avLst/>
              <a:gdLst>
                <a:gd name="T0" fmla="*/ 40 w 2790"/>
                <a:gd name="T1" fmla="*/ 0 h 1554"/>
                <a:gd name="T2" fmla="*/ 136 w 2790"/>
                <a:gd name="T3" fmla="*/ 10 h 1554"/>
                <a:gd name="T4" fmla="*/ 152 w 2790"/>
                <a:gd name="T5" fmla="*/ 19 h 1554"/>
                <a:gd name="T6" fmla="*/ 170 w 2790"/>
                <a:gd name="T7" fmla="*/ 80 h 1554"/>
                <a:gd name="T8" fmla="*/ 312 w 2790"/>
                <a:gd name="T9" fmla="*/ 114 h 1554"/>
                <a:gd name="T10" fmla="*/ 325 w 2790"/>
                <a:gd name="T11" fmla="*/ 123 h 1554"/>
                <a:gd name="T12" fmla="*/ 449 w 2790"/>
                <a:gd name="T13" fmla="*/ 153 h 1554"/>
                <a:gd name="T14" fmla="*/ 460 w 2790"/>
                <a:gd name="T15" fmla="*/ 165 h 1554"/>
                <a:gd name="T16" fmla="*/ 478 w 2790"/>
                <a:gd name="T17" fmla="*/ 241 h 1554"/>
                <a:gd name="T18" fmla="*/ 497 w 2790"/>
                <a:gd name="T19" fmla="*/ 249 h 1554"/>
                <a:gd name="T20" fmla="*/ 509 w 2790"/>
                <a:gd name="T21" fmla="*/ 258 h 1554"/>
                <a:gd name="T22" fmla="*/ 542 w 2790"/>
                <a:gd name="T23" fmla="*/ 264 h 1554"/>
                <a:gd name="T24" fmla="*/ 604 w 2790"/>
                <a:gd name="T25" fmla="*/ 274 h 1554"/>
                <a:gd name="T26" fmla="*/ 625 w 2790"/>
                <a:gd name="T27" fmla="*/ 285 h 1554"/>
                <a:gd name="T28" fmla="*/ 630 w 2790"/>
                <a:gd name="T29" fmla="*/ 384 h 1554"/>
                <a:gd name="T30" fmla="*/ 637 w 2790"/>
                <a:gd name="T31" fmla="*/ 402 h 1554"/>
                <a:gd name="T32" fmla="*/ 654 w 2790"/>
                <a:gd name="T33" fmla="*/ 410 h 1554"/>
                <a:gd name="T34" fmla="*/ 761 w 2790"/>
                <a:gd name="T35" fmla="*/ 420 h 1554"/>
                <a:gd name="T36" fmla="*/ 779 w 2790"/>
                <a:gd name="T37" fmla="*/ 471 h 1554"/>
                <a:gd name="T38" fmla="*/ 787 w 2790"/>
                <a:gd name="T39" fmla="*/ 520 h 1554"/>
                <a:gd name="T40" fmla="*/ 802 w 2790"/>
                <a:gd name="T41" fmla="*/ 531 h 1554"/>
                <a:gd name="T42" fmla="*/ 882 w 2790"/>
                <a:gd name="T43" fmla="*/ 542 h 1554"/>
                <a:gd name="T44" fmla="*/ 912 w 2790"/>
                <a:gd name="T45" fmla="*/ 554 h 1554"/>
                <a:gd name="T46" fmla="*/ 928 w 2790"/>
                <a:gd name="T47" fmla="*/ 592 h 1554"/>
                <a:gd name="T48" fmla="*/ 938 w 2790"/>
                <a:gd name="T49" fmla="*/ 660 h 1554"/>
                <a:gd name="T50" fmla="*/ 952 w 2790"/>
                <a:gd name="T51" fmla="*/ 724 h 1554"/>
                <a:gd name="T52" fmla="*/ 1068 w 2790"/>
                <a:gd name="T53" fmla="*/ 732 h 1554"/>
                <a:gd name="T54" fmla="*/ 1076 w 2790"/>
                <a:gd name="T55" fmla="*/ 745 h 1554"/>
                <a:gd name="T56" fmla="*/ 1084 w 2790"/>
                <a:gd name="T57" fmla="*/ 789 h 1554"/>
                <a:gd name="T58" fmla="*/ 1093 w 2790"/>
                <a:gd name="T59" fmla="*/ 866 h 1554"/>
                <a:gd name="T60" fmla="*/ 1108 w 2790"/>
                <a:gd name="T61" fmla="*/ 876 h 1554"/>
                <a:gd name="T62" fmla="*/ 1128 w 2790"/>
                <a:gd name="T63" fmla="*/ 888 h 1554"/>
                <a:gd name="T64" fmla="*/ 1217 w 2790"/>
                <a:gd name="T65" fmla="*/ 915 h 1554"/>
                <a:gd name="T66" fmla="*/ 1236 w 2790"/>
                <a:gd name="T67" fmla="*/ 958 h 1554"/>
                <a:gd name="T68" fmla="*/ 1244 w 2790"/>
                <a:gd name="T69" fmla="*/ 1002 h 1554"/>
                <a:gd name="T70" fmla="*/ 1316 w 2790"/>
                <a:gd name="T71" fmla="*/ 1017 h 1554"/>
                <a:gd name="T72" fmla="*/ 1380 w 2790"/>
                <a:gd name="T73" fmla="*/ 1026 h 1554"/>
                <a:gd name="T74" fmla="*/ 1396 w 2790"/>
                <a:gd name="T75" fmla="*/ 1039 h 1554"/>
                <a:gd name="T76" fmla="*/ 1466 w 2790"/>
                <a:gd name="T77" fmla="*/ 1048 h 1554"/>
                <a:gd name="T78" fmla="*/ 1535 w 2790"/>
                <a:gd name="T79" fmla="*/ 1069 h 1554"/>
                <a:gd name="T80" fmla="*/ 1544 w 2790"/>
                <a:gd name="T81" fmla="*/ 1090 h 1554"/>
                <a:gd name="T82" fmla="*/ 1548 w 2790"/>
                <a:gd name="T83" fmla="*/ 1194 h 1554"/>
                <a:gd name="T84" fmla="*/ 1558 w 2790"/>
                <a:gd name="T85" fmla="*/ 1231 h 1554"/>
                <a:gd name="T86" fmla="*/ 1832 w 2790"/>
                <a:gd name="T87" fmla="*/ 1263 h 1554"/>
                <a:gd name="T88" fmla="*/ 1843 w 2790"/>
                <a:gd name="T89" fmla="*/ 1288 h 1554"/>
                <a:gd name="T90" fmla="*/ 1849 w 2790"/>
                <a:gd name="T91" fmla="*/ 1303 h 1554"/>
                <a:gd name="T92" fmla="*/ 1860 w 2790"/>
                <a:gd name="T93" fmla="*/ 1352 h 1554"/>
                <a:gd name="T94" fmla="*/ 1876 w 2790"/>
                <a:gd name="T95" fmla="*/ 1364 h 1554"/>
                <a:gd name="T96" fmla="*/ 1949 w 2790"/>
                <a:gd name="T97" fmla="*/ 1381 h 1554"/>
                <a:gd name="T98" fmla="*/ 2140 w 2790"/>
                <a:gd name="T99" fmla="*/ 1431 h 1554"/>
                <a:gd name="T100" fmla="*/ 2164 w 2790"/>
                <a:gd name="T101" fmla="*/ 1503 h 1554"/>
                <a:gd name="T102" fmla="*/ 2467 w 2790"/>
                <a:gd name="T103" fmla="*/ 1552 h 155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790" h="1554">
                  <a:moveTo>
                    <a:pt x="0" y="0"/>
                  </a:moveTo>
                  <a:lnTo>
                    <a:pt x="40" y="0"/>
                  </a:lnTo>
                  <a:lnTo>
                    <a:pt x="41" y="9"/>
                  </a:lnTo>
                  <a:lnTo>
                    <a:pt x="136" y="10"/>
                  </a:lnTo>
                  <a:lnTo>
                    <a:pt x="133" y="20"/>
                  </a:lnTo>
                  <a:lnTo>
                    <a:pt x="152" y="19"/>
                  </a:lnTo>
                  <a:lnTo>
                    <a:pt x="158" y="80"/>
                  </a:lnTo>
                  <a:lnTo>
                    <a:pt x="170" y="80"/>
                  </a:lnTo>
                  <a:lnTo>
                    <a:pt x="311" y="84"/>
                  </a:lnTo>
                  <a:lnTo>
                    <a:pt x="312" y="114"/>
                  </a:lnTo>
                  <a:lnTo>
                    <a:pt x="325" y="112"/>
                  </a:lnTo>
                  <a:lnTo>
                    <a:pt x="325" y="123"/>
                  </a:lnTo>
                  <a:lnTo>
                    <a:pt x="449" y="123"/>
                  </a:lnTo>
                  <a:lnTo>
                    <a:pt x="449" y="153"/>
                  </a:lnTo>
                  <a:lnTo>
                    <a:pt x="460" y="153"/>
                  </a:lnTo>
                  <a:lnTo>
                    <a:pt x="460" y="165"/>
                  </a:lnTo>
                  <a:lnTo>
                    <a:pt x="474" y="166"/>
                  </a:lnTo>
                  <a:lnTo>
                    <a:pt x="478" y="241"/>
                  </a:lnTo>
                  <a:lnTo>
                    <a:pt x="485" y="240"/>
                  </a:lnTo>
                  <a:lnTo>
                    <a:pt x="497" y="249"/>
                  </a:lnTo>
                  <a:lnTo>
                    <a:pt x="510" y="249"/>
                  </a:lnTo>
                  <a:lnTo>
                    <a:pt x="509" y="258"/>
                  </a:lnTo>
                  <a:lnTo>
                    <a:pt x="518" y="264"/>
                  </a:lnTo>
                  <a:lnTo>
                    <a:pt x="542" y="264"/>
                  </a:lnTo>
                  <a:lnTo>
                    <a:pt x="541" y="274"/>
                  </a:lnTo>
                  <a:lnTo>
                    <a:pt x="604" y="274"/>
                  </a:lnTo>
                  <a:lnTo>
                    <a:pt x="607" y="285"/>
                  </a:lnTo>
                  <a:lnTo>
                    <a:pt x="625" y="285"/>
                  </a:lnTo>
                  <a:lnTo>
                    <a:pt x="628" y="320"/>
                  </a:lnTo>
                  <a:lnTo>
                    <a:pt x="630" y="384"/>
                  </a:lnTo>
                  <a:lnTo>
                    <a:pt x="636" y="385"/>
                  </a:lnTo>
                  <a:lnTo>
                    <a:pt x="637" y="402"/>
                  </a:lnTo>
                  <a:lnTo>
                    <a:pt x="655" y="403"/>
                  </a:lnTo>
                  <a:lnTo>
                    <a:pt x="654" y="410"/>
                  </a:lnTo>
                  <a:lnTo>
                    <a:pt x="760" y="411"/>
                  </a:lnTo>
                  <a:lnTo>
                    <a:pt x="761" y="420"/>
                  </a:lnTo>
                  <a:lnTo>
                    <a:pt x="773" y="420"/>
                  </a:lnTo>
                  <a:lnTo>
                    <a:pt x="779" y="471"/>
                  </a:lnTo>
                  <a:lnTo>
                    <a:pt x="782" y="472"/>
                  </a:lnTo>
                  <a:lnTo>
                    <a:pt x="787" y="520"/>
                  </a:lnTo>
                  <a:lnTo>
                    <a:pt x="788" y="532"/>
                  </a:lnTo>
                  <a:lnTo>
                    <a:pt x="802" y="531"/>
                  </a:lnTo>
                  <a:lnTo>
                    <a:pt x="814" y="542"/>
                  </a:lnTo>
                  <a:lnTo>
                    <a:pt x="882" y="542"/>
                  </a:lnTo>
                  <a:lnTo>
                    <a:pt x="882" y="553"/>
                  </a:lnTo>
                  <a:lnTo>
                    <a:pt x="912" y="554"/>
                  </a:lnTo>
                  <a:lnTo>
                    <a:pt x="913" y="594"/>
                  </a:lnTo>
                  <a:lnTo>
                    <a:pt x="928" y="592"/>
                  </a:lnTo>
                  <a:lnTo>
                    <a:pt x="930" y="639"/>
                  </a:lnTo>
                  <a:lnTo>
                    <a:pt x="938" y="660"/>
                  </a:lnTo>
                  <a:lnTo>
                    <a:pt x="938" y="724"/>
                  </a:lnTo>
                  <a:lnTo>
                    <a:pt x="952" y="724"/>
                  </a:lnTo>
                  <a:lnTo>
                    <a:pt x="954" y="733"/>
                  </a:lnTo>
                  <a:lnTo>
                    <a:pt x="1068" y="732"/>
                  </a:lnTo>
                  <a:lnTo>
                    <a:pt x="1069" y="742"/>
                  </a:lnTo>
                  <a:lnTo>
                    <a:pt x="1076" y="745"/>
                  </a:lnTo>
                  <a:lnTo>
                    <a:pt x="1078" y="777"/>
                  </a:lnTo>
                  <a:lnTo>
                    <a:pt x="1084" y="789"/>
                  </a:lnTo>
                  <a:lnTo>
                    <a:pt x="1087" y="859"/>
                  </a:lnTo>
                  <a:lnTo>
                    <a:pt x="1093" y="866"/>
                  </a:lnTo>
                  <a:lnTo>
                    <a:pt x="1109" y="866"/>
                  </a:lnTo>
                  <a:lnTo>
                    <a:pt x="1108" y="876"/>
                  </a:lnTo>
                  <a:lnTo>
                    <a:pt x="1128" y="877"/>
                  </a:lnTo>
                  <a:lnTo>
                    <a:pt x="1128" y="888"/>
                  </a:lnTo>
                  <a:lnTo>
                    <a:pt x="1217" y="888"/>
                  </a:lnTo>
                  <a:lnTo>
                    <a:pt x="1217" y="915"/>
                  </a:lnTo>
                  <a:lnTo>
                    <a:pt x="1235" y="915"/>
                  </a:lnTo>
                  <a:lnTo>
                    <a:pt x="1236" y="958"/>
                  </a:lnTo>
                  <a:lnTo>
                    <a:pt x="1243" y="961"/>
                  </a:lnTo>
                  <a:lnTo>
                    <a:pt x="1244" y="1002"/>
                  </a:lnTo>
                  <a:lnTo>
                    <a:pt x="1315" y="1003"/>
                  </a:lnTo>
                  <a:lnTo>
                    <a:pt x="1316" y="1017"/>
                  </a:lnTo>
                  <a:lnTo>
                    <a:pt x="1380" y="1016"/>
                  </a:lnTo>
                  <a:lnTo>
                    <a:pt x="1380" y="1026"/>
                  </a:lnTo>
                  <a:lnTo>
                    <a:pt x="1396" y="1026"/>
                  </a:lnTo>
                  <a:lnTo>
                    <a:pt x="1396" y="1039"/>
                  </a:lnTo>
                  <a:lnTo>
                    <a:pt x="1464" y="1039"/>
                  </a:lnTo>
                  <a:lnTo>
                    <a:pt x="1466" y="1048"/>
                  </a:lnTo>
                  <a:lnTo>
                    <a:pt x="1532" y="1047"/>
                  </a:lnTo>
                  <a:lnTo>
                    <a:pt x="1535" y="1069"/>
                  </a:lnTo>
                  <a:lnTo>
                    <a:pt x="1535" y="1089"/>
                  </a:lnTo>
                  <a:lnTo>
                    <a:pt x="1544" y="1090"/>
                  </a:lnTo>
                  <a:lnTo>
                    <a:pt x="1544" y="1105"/>
                  </a:lnTo>
                  <a:lnTo>
                    <a:pt x="1548" y="1194"/>
                  </a:lnTo>
                  <a:lnTo>
                    <a:pt x="1553" y="1228"/>
                  </a:lnTo>
                  <a:lnTo>
                    <a:pt x="1558" y="1231"/>
                  </a:lnTo>
                  <a:lnTo>
                    <a:pt x="1562" y="1266"/>
                  </a:lnTo>
                  <a:lnTo>
                    <a:pt x="1832" y="1263"/>
                  </a:lnTo>
                  <a:lnTo>
                    <a:pt x="1832" y="1287"/>
                  </a:lnTo>
                  <a:lnTo>
                    <a:pt x="1843" y="1288"/>
                  </a:lnTo>
                  <a:lnTo>
                    <a:pt x="1844" y="1305"/>
                  </a:lnTo>
                  <a:lnTo>
                    <a:pt x="1849" y="1303"/>
                  </a:lnTo>
                  <a:lnTo>
                    <a:pt x="1853" y="1328"/>
                  </a:lnTo>
                  <a:lnTo>
                    <a:pt x="1860" y="1352"/>
                  </a:lnTo>
                  <a:lnTo>
                    <a:pt x="1876" y="1352"/>
                  </a:lnTo>
                  <a:lnTo>
                    <a:pt x="1876" y="1364"/>
                  </a:lnTo>
                  <a:lnTo>
                    <a:pt x="1948" y="1364"/>
                  </a:lnTo>
                  <a:lnTo>
                    <a:pt x="1949" y="1381"/>
                  </a:lnTo>
                  <a:lnTo>
                    <a:pt x="2135" y="1381"/>
                  </a:lnTo>
                  <a:lnTo>
                    <a:pt x="2140" y="1431"/>
                  </a:lnTo>
                  <a:lnTo>
                    <a:pt x="2158" y="1430"/>
                  </a:lnTo>
                  <a:lnTo>
                    <a:pt x="2164" y="1503"/>
                  </a:lnTo>
                  <a:lnTo>
                    <a:pt x="2468" y="1502"/>
                  </a:lnTo>
                  <a:lnTo>
                    <a:pt x="2467" y="1552"/>
                  </a:lnTo>
                  <a:lnTo>
                    <a:pt x="2790" y="1554"/>
                  </a:lnTo>
                </a:path>
              </a:pathLst>
            </a:custGeom>
            <a:noFill/>
            <a:ln w="28575" cmpd="sng">
              <a:solidFill>
                <a:schemeClr val="accent2"/>
              </a:solidFill>
              <a:prstDash val="sysDash"/>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pSp>
      <p:grpSp>
        <p:nvGrpSpPr>
          <p:cNvPr id="342" name="Group 4"/>
          <p:cNvGrpSpPr>
            <a:grpSpLocks/>
          </p:cNvGrpSpPr>
          <p:nvPr/>
        </p:nvGrpSpPr>
        <p:grpSpPr bwMode="auto">
          <a:xfrm>
            <a:off x="2020124" y="2153614"/>
            <a:ext cx="3944937" cy="2828925"/>
            <a:chOff x="2205545" y="1722708"/>
            <a:chExt cx="3945031" cy="2828986"/>
          </a:xfrm>
        </p:grpSpPr>
        <p:grpSp>
          <p:nvGrpSpPr>
            <p:cNvPr id="343" name="Group 3"/>
            <p:cNvGrpSpPr>
              <a:grpSpLocks/>
            </p:cNvGrpSpPr>
            <p:nvPr/>
          </p:nvGrpSpPr>
          <p:grpSpPr bwMode="auto">
            <a:xfrm>
              <a:off x="4175726" y="4085604"/>
              <a:ext cx="37465" cy="37465"/>
              <a:chOff x="4553267" y="3050540"/>
              <a:chExt cx="37465" cy="37465"/>
            </a:xfrm>
          </p:grpSpPr>
          <p:cxnSp>
            <p:nvCxnSpPr>
              <p:cNvPr id="432" name="Straight Connector 4"/>
              <p:cNvCxnSpPr/>
              <p:nvPr/>
            </p:nvCxnSpPr>
            <p:spPr>
              <a:xfrm>
                <a:off x="4572271" y="3049895"/>
                <a:ext cx="0" cy="38101"/>
              </a:xfrm>
              <a:prstGeom prst="line">
                <a:avLst/>
              </a:prstGeom>
              <a:noFill/>
              <a:ln w="28575" cap="rnd" cmpd="sng" algn="ctr">
                <a:solidFill>
                  <a:srgbClr val="717073"/>
                </a:solidFill>
                <a:prstDash val="dash"/>
              </a:ln>
              <a:effectLst/>
            </p:spPr>
          </p:cxnSp>
          <p:cxnSp>
            <p:nvCxnSpPr>
              <p:cNvPr id="433" name="Straight Connector 5"/>
              <p:cNvCxnSpPr/>
              <p:nvPr/>
            </p:nvCxnSpPr>
            <p:spPr>
              <a:xfrm rot="16200000">
                <a:off x="4572271" y="3049895"/>
                <a:ext cx="0" cy="38101"/>
              </a:xfrm>
              <a:prstGeom prst="line">
                <a:avLst/>
              </a:prstGeom>
              <a:noFill/>
              <a:ln w="28575" cap="rnd" cmpd="sng" algn="ctr">
                <a:solidFill>
                  <a:srgbClr val="717073"/>
                </a:solidFill>
                <a:prstDash val="dash"/>
              </a:ln>
              <a:effectLst/>
            </p:spPr>
          </p:cxnSp>
        </p:grpSp>
        <p:grpSp>
          <p:nvGrpSpPr>
            <p:cNvPr id="344" name="Group 6"/>
            <p:cNvGrpSpPr>
              <a:grpSpLocks/>
            </p:cNvGrpSpPr>
            <p:nvPr/>
          </p:nvGrpSpPr>
          <p:grpSpPr bwMode="auto">
            <a:xfrm>
              <a:off x="4143341" y="4085604"/>
              <a:ext cx="37465" cy="37465"/>
              <a:chOff x="4553267" y="3050540"/>
              <a:chExt cx="37465" cy="37465"/>
            </a:xfrm>
          </p:grpSpPr>
          <p:cxnSp>
            <p:nvCxnSpPr>
              <p:cNvPr id="430" name="Straight Connector 7"/>
              <p:cNvCxnSpPr/>
              <p:nvPr/>
            </p:nvCxnSpPr>
            <p:spPr>
              <a:xfrm>
                <a:off x="4572905" y="3049895"/>
                <a:ext cx="0" cy="38101"/>
              </a:xfrm>
              <a:prstGeom prst="line">
                <a:avLst/>
              </a:prstGeom>
              <a:noFill/>
              <a:ln w="28575" cap="rnd" cmpd="sng" algn="ctr">
                <a:solidFill>
                  <a:srgbClr val="717073"/>
                </a:solidFill>
                <a:prstDash val="dash"/>
              </a:ln>
              <a:effectLst/>
            </p:spPr>
          </p:cxnSp>
          <p:cxnSp>
            <p:nvCxnSpPr>
              <p:cNvPr id="431" name="Straight Connector 8"/>
              <p:cNvCxnSpPr/>
              <p:nvPr/>
            </p:nvCxnSpPr>
            <p:spPr>
              <a:xfrm rot="16200000">
                <a:off x="4572112" y="3050688"/>
                <a:ext cx="0" cy="36514"/>
              </a:xfrm>
              <a:prstGeom prst="line">
                <a:avLst/>
              </a:prstGeom>
              <a:noFill/>
              <a:ln w="28575" cap="rnd" cmpd="sng" algn="ctr">
                <a:solidFill>
                  <a:srgbClr val="717073"/>
                </a:solidFill>
                <a:prstDash val="dash"/>
              </a:ln>
              <a:effectLst/>
            </p:spPr>
          </p:cxnSp>
        </p:grpSp>
        <p:grpSp>
          <p:nvGrpSpPr>
            <p:cNvPr id="345" name="Group 9"/>
            <p:cNvGrpSpPr>
              <a:grpSpLocks/>
            </p:cNvGrpSpPr>
            <p:nvPr/>
          </p:nvGrpSpPr>
          <p:grpSpPr bwMode="auto">
            <a:xfrm>
              <a:off x="4863431" y="4228479"/>
              <a:ext cx="37465" cy="37465"/>
              <a:chOff x="4553267" y="3050540"/>
              <a:chExt cx="37465" cy="37465"/>
            </a:xfrm>
          </p:grpSpPr>
          <p:cxnSp>
            <p:nvCxnSpPr>
              <p:cNvPr id="428" name="Straight Connector 10"/>
              <p:cNvCxnSpPr/>
              <p:nvPr/>
            </p:nvCxnSpPr>
            <p:spPr>
              <a:xfrm>
                <a:off x="4571969" y="3049898"/>
                <a:ext cx="0" cy="38101"/>
              </a:xfrm>
              <a:prstGeom prst="line">
                <a:avLst/>
              </a:prstGeom>
              <a:noFill/>
              <a:ln w="28575" cap="rnd" cmpd="sng" algn="ctr">
                <a:solidFill>
                  <a:srgbClr val="717073"/>
                </a:solidFill>
                <a:prstDash val="dash"/>
              </a:ln>
              <a:effectLst/>
            </p:spPr>
          </p:cxnSp>
          <p:cxnSp>
            <p:nvCxnSpPr>
              <p:cNvPr id="429" name="Straight Connector 11"/>
              <p:cNvCxnSpPr/>
              <p:nvPr/>
            </p:nvCxnSpPr>
            <p:spPr>
              <a:xfrm rot="16200000">
                <a:off x="4571969" y="3049898"/>
                <a:ext cx="0" cy="38101"/>
              </a:xfrm>
              <a:prstGeom prst="line">
                <a:avLst/>
              </a:prstGeom>
              <a:noFill/>
              <a:ln w="28575" cap="rnd" cmpd="sng" algn="ctr">
                <a:solidFill>
                  <a:srgbClr val="717073"/>
                </a:solidFill>
                <a:prstDash val="dash"/>
              </a:ln>
              <a:effectLst/>
            </p:spPr>
          </p:cxnSp>
        </p:grpSp>
        <p:grpSp>
          <p:nvGrpSpPr>
            <p:cNvPr id="346" name="Group 12"/>
            <p:cNvGrpSpPr>
              <a:grpSpLocks/>
            </p:cNvGrpSpPr>
            <p:nvPr/>
          </p:nvGrpSpPr>
          <p:grpSpPr bwMode="auto">
            <a:xfrm>
              <a:off x="5109176" y="4403739"/>
              <a:ext cx="37465" cy="37465"/>
              <a:chOff x="4553267" y="3050540"/>
              <a:chExt cx="37465" cy="37465"/>
            </a:xfrm>
          </p:grpSpPr>
          <p:cxnSp>
            <p:nvCxnSpPr>
              <p:cNvPr id="426" name="Straight Connector 13"/>
              <p:cNvCxnSpPr/>
              <p:nvPr/>
            </p:nvCxnSpPr>
            <p:spPr>
              <a:xfrm>
                <a:off x="4572293" y="3050854"/>
                <a:ext cx="0" cy="36514"/>
              </a:xfrm>
              <a:prstGeom prst="line">
                <a:avLst/>
              </a:prstGeom>
              <a:noFill/>
              <a:ln w="28575" cap="rnd" cmpd="sng" algn="ctr">
                <a:solidFill>
                  <a:srgbClr val="717073"/>
                </a:solidFill>
                <a:prstDash val="dash"/>
              </a:ln>
              <a:effectLst/>
            </p:spPr>
          </p:cxnSp>
          <p:cxnSp>
            <p:nvCxnSpPr>
              <p:cNvPr id="427" name="Straight Connector 14"/>
              <p:cNvCxnSpPr/>
              <p:nvPr/>
            </p:nvCxnSpPr>
            <p:spPr>
              <a:xfrm rot="16200000">
                <a:off x="4572293" y="3050854"/>
                <a:ext cx="0" cy="38101"/>
              </a:xfrm>
              <a:prstGeom prst="line">
                <a:avLst/>
              </a:prstGeom>
              <a:noFill/>
              <a:ln w="28575" cap="rnd" cmpd="sng" algn="ctr">
                <a:solidFill>
                  <a:srgbClr val="717073"/>
                </a:solidFill>
                <a:prstDash val="dash"/>
              </a:ln>
              <a:effectLst/>
            </p:spPr>
          </p:cxnSp>
        </p:grpSp>
        <p:grpSp>
          <p:nvGrpSpPr>
            <p:cNvPr id="347" name="Group 15"/>
            <p:cNvGrpSpPr>
              <a:grpSpLocks/>
            </p:cNvGrpSpPr>
            <p:nvPr/>
          </p:nvGrpSpPr>
          <p:grpSpPr bwMode="auto">
            <a:xfrm>
              <a:off x="6080726" y="4514229"/>
              <a:ext cx="37465" cy="37465"/>
              <a:chOff x="4553267" y="3050540"/>
              <a:chExt cx="37465" cy="37465"/>
            </a:xfrm>
          </p:grpSpPr>
          <p:cxnSp>
            <p:nvCxnSpPr>
              <p:cNvPr id="424" name="Straight Connector 16"/>
              <p:cNvCxnSpPr/>
              <p:nvPr/>
            </p:nvCxnSpPr>
            <p:spPr>
              <a:xfrm>
                <a:off x="4572316" y="3049904"/>
                <a:ext cx="0" cy="38101"/>
              </a:xfrm>
              <a:prstGeom prst="line">
                <a:avLst/>
              </a:prstGeom>
              <a:noFill/>
              <a:ln w="28575" cap="rnd" cmpd="sng" algn="ctr">
                <a:solidFill>
                  <a:srgbClr val="717073"/>
                </a:solidFill>
                <a:prstDash val="dash"/>
              </a:ln>
              <a:effectLst/>
            </p:spPr>
          </p:cxnSp>
          <p:cxnSp>
            <p:nvCxnSpPr>
              <p:cNvPr id="425" name="Straight Connector 17"/>
              <p:cNvCxnSpPr/>
              <p:nvPr/>
            </p:nvCxnSpPr>
            <p:spPr>
              <a:xfrm rot="16200000">
                <a:off x="4572316" y="3049904"/>
                <a:ext cx="0" cy="38101"/>
              </a:xfrm>
              <a:prstGeom prst="line">
                <a:avLst/>
              </a:prstGeom>
              <a:noFill/>
              <a:ln w="28575" cap="rnd" cmpd="sng" algn="ctr">
                <a:solidFill>
                  <a:srgbClr val="717073"/>
                </a:solidFill>
                <a:prstDash val="dash"/>
              </a:ln>
              <a:effectLst/>
            </p:spPr>
          </p:cxnSp>
        </p:grpSp>
        <p:grpSp>
          <p:nvGrpSpPr>
            <p:cNvPr id="348" name="Group 18"/>
            <p:cNvGrpSpPr>
              <a:grpSpLocks/>
            </p:cNvGrpSpPr>
            <p:nvPr/>
          </p:nvGrpSpPr>
          <p:grpSpPr bwMode="auto">
            <a:xfrm>
              <a:off x="6113111" y="4514229"/>
              <a:ext cx="37465" cy="37465"/>
              <a:chOff x="4553267" y="3050540"/>
              <a:chExt cx="37465" cy="37465"/>
            </a:xfrm>
          </p:grpSpPr>
          <p:cxnSp>
            <p:nvCxnSpPr>
              <p:cNvPr id="422" name="Straight Connector 19"/>
              <p:cNvCxnSpPr/>
              <p:nvPr/>
            </p:nvCxnSpPr>
            <p:spPr>
              <a:xfrm>
                <a:off x="4571681" y="3049904"/>
                <a:ext cx="0" cy="38101"/>
              </a:xfrm>
              <a:prstGeom prst="line">
                <a:avLst/>
              </a:prstGeom>
              <a:noFill/>
              <a:ln w="28575" cap="rnd" cmpd="sng" algn="ctr">
                <a:solidFill>
                  <a:srgbClr val="717073"/>
                </a:solidFill>
                <a:prstDash val="dash"/>
              </a:ln>
              <a:effectLst/>
            </p:spPr>
          </p:cxnSp>
          <p:cxnSp>
            <p:nvCxnSpPr>
              <p:cNvPr id="423" name="Straight Connector 20"/>
              <p:cNvCxnSpPr/>
              <p:nvPr/>
            </p:nvCxnSpPr>
            <p:spPr>
              <a:xfrm rot="16200000">
                <a:off x="4571681" y="3049904"/>
                <a:ext cx="0" cy="38101"/>
              </a:xfrm>
              <a:prstGeom prst="line">
                <a:avLst/>
              </a:prstGeom>
              <a:noFill/>
              <a:ln w="28575" cap="rnd" cmpd="sng" algn="ctr">
                <a:solidFill>
                  <a:srgbClr val="717073"/>
                </a:solidFill>
                <a:prstDash val="dash"/>
              </a:ln>
              <a:effectLst/>
            </p:spPr>
          </p:cxnSp>
        </p:grpSp>
        <p:grpSp>
          <p:nvGrpSpPr>
            <p:cNvPr id="349" name="Group 21"/>
            <p:cNvGrpSpPr>
              <a:grpSpLocks/>
            </p:cNvGrpSpPr>
            <p:nvPr/>
          </p:nvGrpSpPr>
          <p:grpSpPr bwMode="auto">
            <a:xfrm>
              <a:off x="3714716" y="3670314"/>
              <a:ext cx="37465" cy="37465"/>
              <a:chOff x="4553267" y="3050540"/>
              <a:chExt cx="37465" cy="37465"/>
            </a:xfrm>
          </p:grpSpPr>
          <p:cxnSp>
            <p:nvCxnSpPr>
              <p:cNvPr id="420" name="Straight Connector 22"/>
              <p:cNvCxnSpPr/>
              <p:nvPr/>
            </p:nvCxnSpPr>
            <p:spPr>
              <a:xfrm>
                <a:off x="4572895" y="3050838"/>
                <a:ext cx="0" cy="36514"/>
              </a:xfrm>
              <a:prstGeom prst="line">
                <a:avLst/>
              </a:prstGeom>
              <a:noFill/>
              <a:ln w="28575" cap="rnd" cmpd="sng" algn="ctr">
                <a:solidFill>
                  <a:srgbClr val="717073"/>
                </a:solidFill>
                <a:prstDash val="dash"/>
              </a:ln>
              <a:effectLst/>
            </p:spPr>
          </p:cxnSp>
          <p:cxnSp>
            <p:nvCxnSpPr>
              <p:cNvPr id="421" name="Straight Connector 23"/>
              <p:cNvCxnSpPr/>
              <p:nvPr/>
            </p:nvCxnSpPr>
            <p:spPr>
              <a:xfrm rot="16200000">
                <a:off x="4572102" y="3051631"/>
                <a:ext cx="0" cy="36514"/>
              </a:xfrm>
              <a:prstGeom prst="line">
                <a:avLst/>
              </a:prstGeom>
              <a:noFill/>
              <a:ln w="28575" cap="rnd" cmpd="sng" algn="ctr">
                <a:solidFill>
                  <a:srgbClr val="717073"/>
                </a:solidFill>
                <a:prstDash val="dash"/>
              </a:ln>
              <a:effectLst/>
            </p:spPr>
          </p:cxnSp>
        </p:grpSp>
        <p:grpSp>
          <p:nvGrpSpPr>
            <p:cNvPr id="350" name="Group 24"/>
            <p:cNvGrpSpPr>
              <a:grpSpLocks/>
            </p:cNvGrpSpPr>
            <p:nvPr/>
          </p:nvGrpSpPr>
          <p:grpSpPr bwMode="auto">
            <a:xfrm>
              <a:off x="3668996" y="3557919"/>
              <a:ext cx="37465" cy="37465"/>
              <a:chOff x="4553267" y="3050540"/>
              <a:chExt cx="37465" cy="37465"/>
            </a:xfrm>
          </p:grpSpPr>
          <p:cxnSp>
            <p:nvCxnSpPr>
              <p:cNvPr id="418" name="Straight Connector 25"/>
              <p:cNvCxnSpPr/>
              <p:nvPr/>
            </p:nvCxnSpPr>
            <p:spPr>
              <a:xfrm>
                <a:off x="4572577" y="3050519"/>
                <a:ext cx="0" cy="38101"/>
              </a:xfrm>
              <a:prstGeom prst="line">
                <a:avLst/>
              </a:prstGeom>
              <a:noFill/>
              <a:ln w="28575" cap="rnd" cmpd="sng" algn="ctr">
                <a:solidFill>
                  <a:srgbClr val="717073"/>
                </a:solidFill>
                <a:prstDash val="dash"/>
              </a:ln>
              <a:effectLst/>
            </p:spPr>
          </p:cxnSp>
          <p:cxnSp>
            <p:nvCxnSpPr>
              <p:cNvPr id="419" name="Straight Connector 26"/>
              <p:cNvCxnSpPr/>
              <p:nvPr/>
            </p:nvCxnSpPr>
            <p:spPr>
              <a:xfrm rot="16200000">
                <a:off x="4571782" y="3051313"/>
                <a:ext cx="0" cy="36513"/>
              </a:xfrm>
              <a:prstGeom prst="line">
                <a:avLst/>
              </a:prstGeom>
              <a:noFill/>
              <a:ln w="28575" cap="rnd" cmpd="sng" algn="ctr">
                <a:solidFill>
                  <a:srgbClr val="717073"/>
                </a:solidFill>
                <a:prstDash val="dash"/>
              </a:ln>
              <a:effectLst/>
            </p:spPr>
          </p:cxnSp>
        </p:grpSp>
        <p:grpSp>
          <p:nvGrpSpPr>
            <p:cNvPr id="351" name="Group 27"/>
            <p:cNvGrpSpPr>
              <a:grpSpLocks/>
            </p:cNvGrpSpPr>
            <p:nvPr/>
          </p:nvGrpSpPr>
          <p:grpSpPr bwMode="auto">
            <a:xfrm>
              <a:off x="3522311" y="3348369"/>
              <a:ext cx="37465" cy="37465"/>
              <a:chOff x="4553267" y="3050540"/>
              <a:chExt cx="37465" cy="37465"/>
            </a:xfrm>
          </p:grpSpPr>
          <p:cxnSp>
            <p:nvCxnSpPr>
              <p:cNvPr id="416" name="Straight Connector 28"/>
              <p:cNvCxnSpPr/>
              <p:nvPr/>
            </p:nvCxnSpPr>
            <p:spPr>
              <a:xfrm>
                <a:off x="4571619" y="3050514"/>
                <a:ext cx="0" cy="38101"/>
              </a:xfrm>
              <a:prstGeom prst="line">
                <a:avLst/>
              </a:prstGeom>
              <a:noFill/>
              <a:ln w="28575" cap="rnd" cmpd="sng" algn="ctr">
                <a:solidFill>
                  <a:srgbClr val="717073"/>
                </a:solidFill>
                <a:prstDash val="dash"/>
              </a:ln>
              <a:effectLst/>
            </p:spPr>
          </p:cxnSp>
          <p:cxnSp>
            <p:nvCxnSpPr>
              <p:cNvPr id="417" name="Straight Connector 29"/>
              <p:cNvCxnSpPr/>
              <p:nvPr/>
            </p:nvCxnSpPr>
            <p:spPr>
              <a:xfrm rot="16200000">
                <a:off x="4571619" y="3050514"/>
                <a:ext cx="0" cy="38101"/>
              </a:xfrm>
              <a:prstGeom prst="line">
                <a:avLst/>
              </a:prstGeom>
              <a:noFill/>
              <a:ln w="28575" cap="rnd" cmpd="sng" algn="ctr">
                <a:solidFill>
                  <a:srgbClr val="717073"/>
                </a:solidFill>
                <a:prstDash val="dash"/>
              </a:ln>
              <a:effectLst/>
            </p:spPr>
          </p:cxnSp>
        </p:grpSp>
        <p:grpSp>
          <p:nvGrpSpPr>
            <p:cNvPr id="352" name="Group 30"/>
            <p:cNvGrpSpPr>
              <a:grpSpLocks/>
            </p:cNvGrpSpPr>
            <p:nvPr/>
          </p:nvGrpSpPr>
          <p:grpSpPr bwMode="auto">
            <a:xfrm>
              <a:off x="3326096" y="3091194"/>
              <a:ext cx="37465" cy="37465"/>
              <a:chOff x="4553267" y="3050540"/>
              <a:chExt cx="37465" cy="37465"/>
            </a:xfrm>
          </p:grpSpPr>
          <p:cxnSp>
            <p:nvCxnSpPr>
              <p:cNvPr id="414" name="Straight Connector 31"/>
              <p:cNvCxnSpPr/>
              <p:nvPr/>
            </p:nvCxnSpPr>
            <p:spPr>
              <a:xfrm>
                <a:off x="4572569" y="3050509"/>
                <a:ext cx="0" cy="38101"/>
              </a:xfrm>
              <a:prstGeom prst="line">
                <a:avLst/>
              </a:prstGeom>
              <a:noFill/>
              <a:ln w="28575" cap="rnd" cmpd="sng" algn="ctr">
                <a:solidFill>
                  <a:srgbClr val="717073"/>
                </a:solidFill>
                <a:prstDash val="dash"/>
              </a:ln>
              <a:effectLst/>
            </p:spPr>
          </p:cxnSp>
          <p:cxnSp>
            <p:nvCxnSpPr>
              <p:cNvPr id="415" name="Straight Connector 424"/>
              <p:cNvCxnSpPr/>
              <p:nvPr/>
            </p:nvCxnSpPr>
            <p:spPr>
              <a:xfrm rot="16200000">
                <a:off x="4571774" y="3051303"/>
                <a:ext cx="0" cy="36513"/>
              </a:xfrm>
              <a:prstGeom prst="line">
                <a:avLst/>
              </a:prstGeom>
              <a:noFill/>
              <a:ln w="28575" cap="rnd" cmpd="sng" algn="ctr">
                <a:solidFill>
                  <a:srgbClr val="717073"/>
                </a:solidFill>
                <a:prstDash val="dash"/>
              </a:ln>
              <a:effectLst/>
            </p:spPr>
          </p:cxnSp>
        </p:grpSp>
        <p:grpSp>
          <p:nvGrpSpPr>
            <p:cNvPr id="353" name="Group 33"/>
            <p:cNvGrpSpPr>
              <a:grpSpLocks/>
            </p:cNvGrpSpPr>
            <p:nvPr/>
          </p:nvGrpSpPr>
          <p:grpSpPr bwMode="auto">
            <a:xfrm>
              <a:off x="3428966" y="3140724"/>
              <a:ext cx="37465" cy="37465"/>
              <a:chOff x="4553267" y="3050540"/>
              <a:chExt cx="37465" cy="37465"/>
            </a:xfrm>
          </p:grpSpPr>
          <p:cxnSp>
            <p:nvCxnSpPr>
              <p:cNvPr id="412" name="Straight Connector 421"/>
              <p:cNvCxnSpPr/>
              <p:nvPr/>
            </p:nvCxnSpPr>
            <p:spPr>
              <a:xfrm>
                <a:off x="4572888" y="3050192"/>
                <a:ext cx="0" cy="38101"/>
              </a:xfrm>
              <a:prstGeom prst="line">
                <a:avLst/>
              </a:prstGeom>
              <a:noFill/>
              <a:ln w="28575" cap="rnd" cmpd="sng" algn="ctr">
                <a:solidFill>
                  <a:srgbClr val="717073"/>
                </a:solidFill>
                <a:prstDash val="dash"/>
              </a:ln>
              <a:effectLst/>
            </p:spPr>
          </p:cxnSp>
          <p:cxnSp>
            <p:nvCxnSpPr>
              <p:cNvPr id="413" name="Straight Connector 422"/>
              <p:cNvCxnSpPr/>
              <p:nvPr/>
            </p:nvCxnSpPr>
            <p:spPr>
              <a:xfrm rot="16200000">
                <a:off x="4572095" y="3050985"/>
                <a:ext cx="0" cy="36514"/>
              </a:xfrm>
              <a:prstGeom prst="line">
                <a:avLst/>
              </a:prstGeom>
              <a:noFill/>
              <a:ln w="28575" cap="rnd" cmpd="sng" algn="ctr">
                <a:solidFill>
                  <a:srgbClr val="717073"/>
                </a:solidFill>
                <a:prstDash val="dash"/>
              </a:ln>
              <a:effectLst/>
            </p:spPr>
          </p:cxnSp>
        </p:grpSp>
        <p:grpSp>
          <p:nvGrpSpPr>
            <p:cNvPr id="354" name="Group 36"/>
            <p:cNvGrpSpPr>
              <a:grpSpLocks/>
            </p:cNvGrpSpPr>
            <p:nvPr/>
          </p:nvGrpSpPr>
          <p:grpSpPr bwMode="auto">
            <a:xfrm>
              <a:off x="3419441" y="3140724"/>
              <a:ext cx="37465" cy="37465"/>
              <a:chOff x="4553267" y="3050540"/>
              <a:chExt cx="37465" cy="37465"/>
            </a:xfrm>
          </p:grpSpPr>
          <p:cxnSp>
            <p:nvCxnSpPr>
              <p:cNvPr id="410" name="Straight Connector 419"/>
              <p:cNvCxnSpPr/>
              <p:nvPr/>
            </p:nvCxnSpPr>
            <p:spPr>
              <a:xfrm>
                <a:off x="4572888" y="3050192"/>
                <a:ext cx="0" cy="38101"/>
              </a:xfrm>
              <a:prstGeom prst="line">
                <a:avLst/>
              </a:prstGeom>
              <a:noFill/>
              <a:ln w="28575" cap="rnd" cmpd="sng" algn="ctr">
                <a:solidFill>
                  <a:srgbClr val="717073"/>
                </a:solidFill>
                <a:prstDash val="dash"/>
              </a:ln>
              <a:effectLst/>
            </p:spPr>
          </p:cxnSp>
          <p:cxnSp>
            <p:nvCxnSpPr>
              <p:cNvPr id="411" name="Straight Connector 420"/>
              <p:cNvCxnSpPr/>
              <p:nvPr/>
            </p:nvCxnSpPr>
            <p:spPr>
              <a:xfrm rot="16200000">
                <a:off x="4572095" y="3050985"/>
                <a:ext cx="0" cy="36514"/>
              </a:xfrm>
              <a:prstGeom prst="line">
                <a:avLst/>
              </a:prstGeom>
              <a:noFill/>
              <a:ln w="28575" cap="rnd" cmpd="sng" algn="ctr">
                <a:solidFill>
                  <a:srgbClr val="717073"/>
                </a:solidFill>
                <a:prstDash val="dash"/>
              </a:ln>
              <a:effectLst/>
            </p:spPr>
          </p:cxnSp>
        </p:grpSp>
        <p:grpSp>
          <p:nvGrpSpPr>
            <p:cNvPr id="355" name="Group 39"/>
            <p:cNvGrpSpPr>
              <a:grpSpLocks/>
            </p:cNvGrpSpPr>
            <p:nvPr/>
          </p:nvGrpSpPr>
          <p:grpSpPr bwMode="auto">
            <a:xfrm>
              <a:off x="3169886" y="2906409"/>
              <a:ext cx="37465" cy="37465"/>
              <a:chOff x="4553267" y="3050540"/>
              <a:chExt cx="37465" cy="37465"/>
            </a:xfrm>
          </p:grpSpPr>
          <p:cxnSp>
            <p:nvCxnSpPr>
              <p:cNvPr id="408" name="Straight Connector 417"/>
              <p:cNvCxnSpPr/>
              <p:nvPr/>
            </p:nvCxnSpPr>
            <p:spPr>
              <a:xfrm>
                <a:off x="4571611" y="3051140"/>
                <a:ext cx="0" cy="36513"/>
              </a:xfrm>
              <a:prstGeom prst="line">
                <a:avLst/>
              </a:prstGeom>
              <a:noFill/>
              <a:ln w="28575" cap="rnd" cmpd="sng" algn="ctr">
                <a:solidFill>
                  <a:srgbClr val="717073"/>
                </a:solidFill>
                <a:prstDash val="dash"/>
              </a:ln>
              <a:effectLst/>
            </p:spPr>
          </p:cxnSp>
          <p:cxnSp>
            <p:nvCxnSpPr>
              <p:cNvPr id="409" name="Straight Connector 418"/>
              <p:cNvCxnSpPr/>
              <p:nvPr/>
            </p:nvCxnSpPr>
            <p:spPr>
              <a:xfrm rot="16200000">
                <a:off x="4571611" y="3051140"/>
                <a:ext cx="0" cy="38101"/>
              </a:xfrm>
              <a:prstGeom prst="line">
                <a:avLst/>
              </a:prstGeom>
              <a:noFill/>
              <a:ln w="28575" cap="rnd" cmpd="sng" algn="ctr">
                <a:solidFill>
                  <a:srgbClr val="717073"/>
                </a:solidFill>
                <a:prstDash val="dash"/>
              </a:ln>
              <a:effectLst/>
            </p:spPr>
          </p:cxnSp>
        </p:grpSp>
        <p:grpSp>
          <p:nvGrpSpPr>
            <p:cNvPr id="356" name="Group 42"/>
            <p:cNvGrpSpPr>
              <a:grpSpLocks/>
            </p:cNvGrpSpPr>
            <p:nvPr/>
          </p:nvGrpSpPr>
          <p:grpSpPr bwMode="auto">
            <a:xfrm>
              <a:off x="3187031" y="2906409"/>
              <a:ext cx="37465" cy="37465"/>
              <a:chOff x="4553267" y="3050540"/>
              <a:chExt cx="37465" cy="37465"/>
            </a:xfrm>
          </p:grpSpPr>
          <p:cxnSp>
            <p:nvCxnSpPr>
              <p:cNvPr id="406" name="Straight Connector 415"/>
              <p:cNvCxnSpPr/>
              <p:nvPr/>
            </p:nvCxnSpPr>
            <p:spPr>
              <a:xfrm>
                <a:off x="4571929" y="3051140"/>
                <a:ext cx="0" cy="36513"/>
              </a:xfrm>
              <a:prstGeom prst="line">
                <a:avLst/>
              </a:prstGeom>
              <a:noFill/>
              <a:ln w="28575" cap="rnd" cmpd="sng" algn="ctr">
                <a:solidFill>
                  <a:srgbClr val="717073"/>
                </a:solidFill>
                <a:prstDash val="dash"/>
              </a:ln>
              <a:effectLst/>
            </p:spPr>
          </p:cxnSp>
          <p:cxnSp>
            <p:nvCxnSpPr>
              <p:cNvPr id="407" name="Straight Connector 416"/>
              <p:cNvCxnSpPr/>
              <p:nvPr/>
            </p:nvCxnSpPr>
            <p:spPr>
              <a:xfrm rot="16200000">
                <a:off x="4571929" y="3051140"/>
                <a:ext cx="0" cy="38101"/>
              </a:xfrm>
              <a:prstGeom prst="line">
                <a:avLst/>
              </a:prstGeom>
              <a:noFill/>
              <a:ln w="28575" cap="rnd" cmpd="sng" algn="ctr">
                <a:solidFill>
                  <a:srgbClr val="717073"/>
                </a:solidFill>
                <a:prstDash val="dash"/>
              </a:ln>
              <a:effectLst/>
            </p:spPr>
          </p:cxnSp>
        </p:grpSp>
        <p:grpSp>
          <p:nvGrpSpPr>
            <p:cNvPr id="357" name="Group 45"/>
            <p:cNvGrpSpPr>
              <a:grpSpLocks/>
            </p:cNvGrpSpPr>
            <p:nvPr/>
          </p:nvGrpSpPr>
          <p:grpSpPr bwMode="auto">
            <a:xfrm>
              <a:off x="3198461" y="2906409"/>
              <a:ext cx="37465" cy="37465"/>
              <a:chOff x="4553267" y="3050540"/>
              <a:chExt cx="37465" cy="37465"/>
            </a:xfrm>
          </p:grpSpPr>
          <p:cxnSp>
            <p:nvCxnSpPr>
              <p:cNvPr id="404" name="Straight Connector 413"/>
              <p:cNvCxnSpPr/>
              <p:nvPr/>
            </p:nvCxnSpPr>
            <p:spPr>
              <a:xfrm>
                <a:off x="4571612" y="3051140"/>
                <a:ext cx="0" cy="36513"/>
              </a:xfrm>
              <a:prstGeom prst="line">
                <a:avLst/>
              </a:prstGeom>
              <a:noFill/>
              <a:ln w="28575" cap="rnd" cmpd="sng" algn="ctr">
                <a:solidFill>
                  <a:srgbClr val="717073"/>
                </a:solidFill>
                <a:prstDash val="dash"/>
              </a:ln>
              <a:effectLst/>
            </p:spPr>
          </p:cxnSp>
          <p:cxnSp>
            <p:nvCxnSpPr>
              <p:cNvPr id="405" name="Straight Connector 414"/>
              <p:cNvCxnSpPr/>
              <p:nvPr/>
            </p:nvCxnSpPr>
            <p:spPr>
              <a:xfrm rot="16200000">
                <a:off x="4571612" y="3051140"/>
                <a:ext cx="0" cy="38101"/>
              </a:xfrm>
              <a:prstGeom prst="line">
                <a:avLst/>
              </a:prstGeom>
              <a:noFill/>
              <a:ln w="28575" cap="rnd" cmpd="sng" algn="ctr">
                <a:solidFill>
                  <a:srgbClr val="717073"/>
                </a:solidFill>
                <a:prstDash val="dash"/>
              </a:ln>
              <a:effectLst/>
            </p:spPr>
          </p:cxnSp>
        </p:grpSp>
        <p:grpSp>
          <p:nvGrpSpPr>
            <p:cNvPr id="358" name="Group 48"/>
            <p:cNvGrpSpPr>
              <a:grpSpLocks/>
            </p:cNvGrpSpPr>
            <p:nvPr/>
          </p:nvGrpSpPr>
          <p:grpSpPr bwMode="auto">
            <a:xfrm>
              <a:off x="3089876" y="2666379"/>
              <a:ext cx="37465" cy="37465"/>
              <a:chOff x="4553267" y="3050540"/>
              <a:chExt cx="37465" cy="37465"/>
            </a:xfrm>
          </p:grpSpPr>
          <p:cxnSp>
            <p:nvCxnSpPr>
              <p:cNvPr id="402" name="Straight Connector 411"/>
              <p:cNvCxnSpPr/>
              <p:nvPr/>
            </p:nvCxnSpPr>
            <p:spPr>
              <a:xfrm>
                <a:off x="4572245" y="3049864"/>
                <a:ext cx="0" cy="38101"/>
              </a:xfrm>
              <a:prstGeom prst="line">
                <a:avLst/>
              </a:prstGeom>
              <a:noFill/>
              <a:ln w="28575" cap="rnd" cmpd="sng" algn="ctr">
                <a:solidFill>
                  <a:srgbClr val="717073"/>
                </a:solidFill>
                <a:prstDash val="dash"/>
              </a:ln>
              <a:effectLst/>
            </p:spPr>
          </p:cxnSp>
          <p:cxnSp>
            <p:nvCxnSpPr>
              <p:cNvPr id="403" name="Straight Connector 412"/>
              <p:cNvCxnSpPr/>
              <p:nvPr/>
            </p:nvCxnSpPr>
            <p:spPr>
              <a:xfrm rot="16200000">
                <a:off x="4572245" y="3049864"/>
                <a:ext cx="0" cy="38101"/>
              </a:xfrm>
              <a:prstGeom prst="line">
                <a:avLst/>
              </a:prstGeom>
              <a:noFill/>
              <a:ln w="28575" cap="rnd" cmpd="sng" algn="ctr">
                <a:solidFill>
                  <a:srgbClr val="717073"/>
                </a:solidFill>
                <a:prstDash val="dash"/>
              </a:ln>
              <a:effectLst/>
            </p:spPr>
          </p:cxnSp>
        </p:grpSp>
        <p:grpSp>
          <p:nvGrpSpPr>
            <p:cNvPr id="359" name="Group 51"/>
            <p:cNvGrpSpPr>
              <a:grpSpLocks/>
            </p:cNvGrpSpPr>
            <p:nvPr/>
          </p:nvGrpSpPr>
          <p:grpSpPr bwMode="auto">
            <a:xfrm>
              <a:off x="3080351" y="2666379"/>
              <a:ext cx="37465" cy="37465"/>
              <a:chOff x="4553267" y="3050540"/>
              <a:chExt cx="37465" cy="37465"/>
            </a:xfrm>
          </p:grpSpPr>
          <p:cxnSp>
            <p:nvCxnSpPr>
              <p:cNvPr id="400" name="Straight Connector 409"/>
              <p:cNvCxnSpPr/>
              <p:nvPr/>
            </p:nvCxnSpPr>
            <p:spPr>
              <a:xfrm>
                <a:off x="4572245" y="3049864"/>
                <a:ext cx="0" cy="38101"/>
              </a:xfrm>
              <a:prstGeom prst="line">
                <a:avLst/>
              </a:prstGeom>
              <a:noFill/>
              <a:ln w="28575" cap="rnd" cmpd="sng" algn="ctr">
                <a:solidFill>
                  <a:srgbClr val="717073"/>
                </a:solidFill>
                <a:prstDash val="dash"/>
              </a:ln>
              <a:effectLst/>
            </p:spPr>
          </p:cxnSp>
          <p:cxnSp>
            <p:nvCxnSpPr>
              <p:cNvPr id="401" name="Straight Connector 410"/>
              <p:cNvCxnSpPr/>
              <p:nvPr/>
            </p:nvCxnSpPr>
            <p:spPr>
              <a:xfrm rot="16200000">
                <a:off x="4572245" y="3049864"/>
                <a:ext cx="0" cy="38101"/>
              </a:xfrm>
              <a:prstGeom prst="line">
                <a:avLst/>
              </a:prstGeom>
              <a:noFill/>
              <a:ln w="28575" cap="rnd" cmpd="sng" algn="ctr">
                <a:solidFill>
                  <a:srgbClr val="717073"/>
                </a:solidFill>
                <a:prstDash val="dash"/>
              </a:ln>
              <a:effectLst/>
            </p:spPr>
          </p:cxnSp>
        </p:grpSp>
        <p:grpSp>
          <p:nvGrpSpPr>
            <p:cNvPr id="360" name="Group 54"/>
            <p:cNvGrpSpPr>
              <a:grpSpLocks/>
            </p:cNvGrpSpPr>
            <p:nvPr/>
          </p:nvGrpSpPr>
          <p:grpSpPr bwMode="auto">
            <a:xfrm>
              <a:off x="2950811" y="2624469"/>
              <a:ext cx="37465" cy="37465"/>
              <a:chOff x="4553267" y="3050540"/>
              <a:chExt cx="37465" cy="37465"/>
            </a:xfrm>
          </p:grpSpPr>
          <p:cxnSp>
            <p:nvCxnSpPr>
              <p:cNvPr id="398" name="Straight Connector 407"/>
              <p:cNvCxnSpPr/>
              <p:nvPr/>
            </p:nvCxnSpPr>
            <p:spPr>
              <a:xfrm>
                <a:off x="4571606" y="3050498"/>
                <a:ext cx="0" cy="38101"/>
              </a:xfrm>
              <a:prstGeom prst="line">
                <a:avLst/>
              </a:prstGeom>
              <a:noFill/>
              <a:ln w="28575" cap="rnd" cmpd="sng" algn="ctr">
                <a:solidFill>
                  <a:srgbClr val="717073"/>
                </a:solidFill>
                <a:prstDash val="dash"/>
              </a:ln>
              <a:effectLst/>
            </p:spPr>
          </p:cxnSp>
          <p:cxnSp>
            <p:nvCxnSpPr>
              <p:cNvPr id="399" name="Straight Connector 408"/>
              <p:cNvCxnSpPr/>
              <p:nvPr/>
            </p:nvCxnSpPr>
            <p:spPr>
              <a:xfrm rot="16200000">
                <a:off x="4571606" y="3050498"/>
                <a:ext cx="0" cy="38101"/>
              </a:xfrm>
              <a:prstGeom prst="line">
                <a:avLst/>
              </a:prstGeom>
              <a:noFill/>
              <a:ln w="28575" cap="rnd" cmpd="sng" algn="ctr">
                <a:solidFill>
                  <a:srgbClr val="717073"/>
                </a:solidFill>
                <a:prstDash val="dash"/>
              </a:ln>
              <a:effectLst/>
            </p:spPr>
          </p:cxnSp>
        </p:grpSp>
        <p:grpSp>
          <p:nvGrpSpPr>
            <p:cNvPr id="361" name="Group 57"/>
            <p:cNvGrpSpPr>
              <a:grpSpLocks/>
            </p:cNvGrpSpPr>
            <p:nvPr/>
          </p:nvGrpSpPr>
          <p:grpSpPr bwMode="auto">
            <a:xfrm>
              <a:off x="2926046" y="2624469"/>
              <a:ext cx="37465" cy="37465"/>
              <a:chOff x="4553267" y="3050540"/>
              <a:chExt cx="37465" cy="37465"/>
            </a:xfrm>
          </p:grpSpPr>
          <p:cxnSp>
            <p:nvCxnSpPr>
              <p:cNvPr id="396" name="Straight Connector 405"/>
              <p:cNvCxnSpPr/>
              <p:nvPr/>
            </p:nvCxnSpPr>
            <p:spPr>
              <a:xfrm>
                <a:off x="4572559" y="3050498"/>
                <a:ext cx="0" cy="38101"/>
              </a:xfrm>
              <a:prstGeom prst="line">
                <a:avLst/>
              </a:prstGeom>
              <a:noFill/>
              <a:ln w="28575" cap="rnd" cmpd="sng" algn="ctr">
                <a:solidFill>
                  <a:srgbClr val="717073"/>
                </a:solidFill>
                <a:prstDash val="dash"/>
              </a:ln>
              <a:effectLst/>
            </p:spPr>
          </p:cxnSp>
          <p:cxnSp>
            <p:nvCxnSpPr>
              <p:cNvPr id="397" name="Straight Connector 406"/>
              <p:cNvCxnSpPr/>
              <p:nvPr/>
            </p:nvCxnSpPr>
            <p:spPr>
              <a:xfrm rot="16200000">
                <a:off x="4571764" y="3051292"/>
                <a:ext cx="0" cy="36513"/>
              </a:xfrm>
              <a:prstGeom prst="line">
                <a:avLst/>
              </a:prstGeom>
              <a:noFill/>
              <a:ln w="28575" cap="rnd" cmpd="sng" algn="ctr">
                <a:solidFill>
                  <a:srgbClr val="717073"/>
                </a:solidFill>
                <a:prstDash val="dash"/>
              </a:ln>
              <a:effectLst/>
            </p:spPr>
          </p:cxnSp>
        </p:grpSp>
        <p:grpSp>
          <p:nvGrpSpPr>
            <p:cNvPr id="362" name="Group 60"/>
            <p:cNvGrpSpPr>
              <a:grpSpLocks/>
            </p:cNvGrpSpPr>
            <p:nvPr/>
          </p:nvGrpSpPr>
          <p:grpSpPr bwMode="auto">
            <a:xfrm>
              <a:off x="2918426" y="2624469"/>
              <a:ext cx="37465" cy="37465"/>
              <a:chOff x="4553267" y="3050540"/>
              <a:chExt cx="37465" cy="37465"/>
            </a:xfrm>
          </p:grpSpPr>
          <p:cxnSp>
            <p:nvCxnSpPr>
              <p:cNvPr id="394" name="Straight Connector 403"/>
              <p:cNvCxnSpPr/>
              <p:nvPr/>
            </p:nvCxnSpPr>
            <p:spPr>
              <a:xfrm>
                <a:off x="4572241" y="3050498"/>
                <a:ext cx="0" cy="38101"/>
              </a:xfrm>
              <a:prstGeom prst="line">
                <a:avLst/>
              </a:prstGeom>
              <a:noFill/>
              <a:ln w="28575" cap="rnd" cmpd="sng" algn="ctr">
                <a:solidFill>
                  <a:srgbClr val="717073"/>
                </a:solidFill>
                <a:prstDash val="dash"/>
              </a:ln>
              <a:effectLst/>
            </p:spPr>
          </p:cxnSp>
          <p:cxnSp>
            <p:nvCxnSpPr>
              <p:cNvPr id="395" name="Straight Connector 404"/>
              <p:cNvCxnSpPr/>
              <p:nvPr/>
            </p:nvCxnSpPr>
            <p:spPr>
              <a:xfrm rot="16200000">
                <a:off x="4572241" y="3050498"/>
                <a:ext cx="0" cy="38101"/>
              </a:xfrm>
              <a:prstGeom prst="line">
                <a:avLst/>
              </a:prstGeom>
              <a:noFill/>
              <a:ln w="28575" cap="rnd" cmpd="sng" algn="ctr">
                <a:solidFill>
                  <a:srgbClr val="717073"/>
                </a:solidFill>
                <a:prstDash val="dash"/>
              </a:ln>
              <a:effectLst/>
            </p:spPr>
          </p:cxnSp>
        </p:grpSp>
        <p:grpSp>
          <p:nvGrpSpPr>
            <p:cNvPr id="363" name="Group 63"/>
            <p:cNvGrpSpPr>
              <a:grpSpLocks/>
            </p:cNvGrpSpPr>
            <p:nvPr/>
          </p:nvGrpSpPr>
          <p:grpSpPr bwMode="auto">
            <a:xfrm>
              <a:off x="2714591" y="2449209"/>
              <a:ext cx="37465" cy="37465"/>
              <a:chOff x="4553267" y="3050540"/>
              <a:chExt cx="37465" cy="37465"/>
            </a:xfrm>
          </p:grpSpPr>
          <p:cxnSp>
            <p:nvCxnSpPr>
              <p:cNvPr id="392" name="Straight Connector 401"/>
              <p:cNvCxnSpPr/>
              <p:nvPr/>
            </p:nvCxnSpPr>
            <p:spPr>
              <a:xfrm>
                <a:off x="4572871" y="3051130"/>
                <a:ext cx="0" cy="36513"/>
              </a:xfrm>
              <a:prstGeom prst="line">
                <a:avLst/>
              </a:prstGeom>
              <a:noFill/>
              <a:ln w="28575" cap="rnd" cmpd="sng" algn="ctr">
                <a:solidFill>
                  <a:srgbClr val="717073"/>
                </a:solidFill>
                <a:prstDash val="dash"/>
              </a:ln>
              <a:effectLst/>
            </p:spPr>
          </p:cxnSp>
          <p:cxnSp>
            <p:nvCxnSpPr>
              <p:cNvPr id="393" name="Straight Connector 402"/>
              <p:cNvCxnSpPr/>
              <p:nvPr/>
            </p:nvCxnSpPr>
            <p:spPr>
              <a:xfrm rot="16200000">
                <a:off x="4572078" y="3051923"/>
                <a:ext cx="0" cy="36514"/>
              </a:xfrm>
              <a:prstGeom prst="line">
                <a:avLst/>
              </a:prstGeom>
              <a:noFill/>
              <a:ln w="28575" cap="rnd" cmpd="sng" algn="ctr">
                <a:solidFill>
                  <a:srgbClr val="717073"/>
                </a:solidFill>
                <a:prstDash val="dash"/>
              </a:ln>
              <a:effectLst/>
            </p:spPr>
          </p:cxnSp>
        </p:grpSp>
        <p:grpSp>
          <p:nvGrpSpPr>
            <p:cNvPr id="364" name="Group 66"/>
            <p:cNvGrpSpPr>
              <a:grpSpLocks/>
            </p:cNvGrpSpPr>
            <p:nvPr/>
          </p:nvGrpSpPr>
          <p:grpSpPr bwMode="auto">
            <a:xfrm>
              <a:off x="2684111" y="2344434"/>
              <a:ext cx="37465" cy="37465"/>
              <a:chOff x="4553267" y="3050540"/>
              <a:chExt cx="37465" cy="37465"/>
            </a:xfrm>
          </p:grpSpPr>
          <p:cxnSp>
            <p:nvCxnSpPr>
              <p:cNvPr id="390" name="Straight Connector 399"/>
              <p:cNvCxnSpPr/>
              <p:nvPr/>
            </p:nvCxnSpPr>
            <p:spPr>
              <a:xfrm>
                <a:off x="4571599" y="3051127"/>
                <a:ext cx="0" cy="36513"/>
              </a:xfrm>
              <a:prstGeom prst="line">
                <a:avLst/>
              </a:prstGeom>
              <a:noFill/>
              <a:ln w="28575" cap="rnd" cmpd="sng" algn="ctr">
                <a:solidFill>
                  <a:srgbClr val="717073"/>
                </a:solidFill>
                <a:prstDash val="dash"/>
              </a:ln>
              <a:effectLst/>
            </p:spPr>
          </p:cxnSp>
          <p:cxnSp>
            <p:nvCxnSpPr>
              <p:cNvPr id="391" name="Straight Connector 400"/>
              <p:cNvCxnSpPr/>
              <p:nvPr/>
            </p:nvCxnSpPr>
            <p:spPr>
              <a:xfrm rot="16200000">
                <a:off x="4571599" y="3051127"/>
                <a:ext cx="0" cy="38101"/>
              </a:xfrm>
              <a:prstGeom prst="line">
                <a:avLst/>
              </a:prstGeom>
              <a:noFill/>
              <a:ln w="28575" cap="rnd" cmpd="sng" algn="ctr">
                <a:solidFill>
                  <a:srgbClr val="717073"/>
                </a:solidFill>
                <a:prstDash val="dash"/>
              </a:ln>
              <a:effectLst/>
            </p:spPr>
          </p:cxnSp>
        </p:grpSp>
        <p:grpSp>
          <p:nvGrpSpPr>
            <p:cNvPr id="365" name="Group 69"/>
            <p:cNvGrpSpPr>
              <a:grpSpLocks/>
            </p:cNvGrpSpPr>
            <p:nvPr/>
          </p:nvGrpSpPr>
          <p:grpSpPr bwMode="auto">
            <a:xfrm>
              <a:off x="2527901" y="2064399"/>
              <a:ext cx="37465" cy="37465"/>
              <a:chOff x="4553267" y="3050540"/>
              <a:chExt cx="37465" cy="37465"/>
            </a:xfrm>
          </p:grpSpPr>
          <p:cxnSp>
            <p:nvCxnSpPr>
              <p:cNvPr id="388" name="Straight Connector 397"/>
              <p:cNvCxnSpPr/>
              <p:nvPr/>
            </p:nvCxnSpPr>
            <p:spPr>
              <a:xfrm>
                <a:off x="4572232" y="3050168"/>
                <a:ext cx="0" cy="38101"/>
              </a:xfrm>
              <a:prstGeom prst="line">
                <a:avLst/>
              </a:prstGeom>
              <a:noFill/>
              <a:ln w="28575" cap="rnd" cmpd="sng" algn="ctr">
                <a:solidFill>
                  <a:srgbClr val="717073"/>
                </a:solidFill>
                <a:prstDash val="dash"/>
              </a:ln>
              <a:effectLst/>
            </p:spPr>
          </p:cxnSp>
          <p:cxnSp>
            <p:nvCxnSpPr>
              <p:cNvPr id="389" name="Straight Connector 398"/>
              <p:cNvCxnSpPr/>
              <p:nvPr/>
            </p:nvCxnSpPr>
            <p:spPr>
              <a:xfrm rot="16200000">
                <a:off x="4572232" y="3050168"/>
                <a:ext cx="0" cy="38101"/>
              </a:xfrm>
              <a:prstGeom prst="line">
                <a:avLst/>
              </a:prstGeom>
              <a:noFill/>
              <a:ln w="28575" cap="rnd" cmpd="sng" algn="ctr">
                <a:solidFill>
                  <a:srgbClr val="717073"/>
                </a:solidFill>
                <a:prstDash val="dash"/>
              </a:ln>
              <a:effectLst/>
            </p:spPr>
          </p:cxnSp>
        </p:grpSp>
        <p:grpSp>
          <p:nvGrpSpPr>
            <p:cNvPr id="366" name="Group 72"/>
            <p:cNvGrpSpPr>
              <a:grpSpLocks/>
            </p:cNvGrpSpPr>
            <p:nvPr/>
          </p:nvGrpSpPr>
          <p:grpSpPr bwMode="auto">
            <a:xfrm>
              <a:off x="2493611" y="2028204"/>
              <a:ext cx="37465" cy="37465"/>
              <a:chOff x="4553267" y="3050540"/>
              <a:chExt cx="37465" cy="37465"/>
            </a:xfrm>
          </p:grpSpPr>
          <p:cxnSp>
            <p:nvCxnSpPr>
              <p:cNvPr id="386" name="Straight Connector 395"/>
              <p:cNvCxnSpPr/>
              <p:nvPr/>
            </p:nvCxnSpPr>
            <p:spPr>
              <a:xfrm>
                <a:off x="4571595" y="3049851"/>
                <a:ext cx="0" cy="38101"/>
              </a:xfrm>
              <a:prstGeom prst="line">
                <a:avLst/>
              </a:prstGeom>
              <a:noFill/>
              <a:ln w="28575" cap="rnd" cmpd="sng" algn="ctr">
                <a:solidFill>
                  <a:srgbClr val="717073"/>
                </a:solidFill>
                <a:prstDash val="dash"/>
              </a:ln>
              <a:effectLst/>
            </p:spPr>
          </p:cxnSp>
          <p:cxnSp>
            <p:nvCxnSpPr>
              <p:cNvPr id="387" name="Straight Connector 396"/>
              <p:cNvCxnSpPr/>
              <p:nvPr/>
            </p:nvCxnSpPr>
            <p:spPr>
              <a:xfrm rot="16200000">
                <a:off x="4571595" y="3049851"/>
                <a:ext cx="0" cy="38101"/>
              </a:xfrm>
              <a:prstGeom prst="line">
                <a:avLst/>
              </a:prstGeom>
              <a:noFill/>
              <a:ln w="28575" cap="rnd" cmpd="sng" algn="ctr">
                <a:solidFill>
                  <a:srgbClr val="717073"/>
                </a:solidFill>
                <a:prstDash val="dash"/>
              </a:ln>
              <a:effectLst/>
            </p:spPr>
          </p:cxnSp>
        </p:grpSp>
        <p:grpSp>
          <p:nvGrpSpPr>
            <p:cNvPr id="367" name="Group 75"/>
            <p:cNvGrpSpPr>
              <a:grpSpLocks/>
            </p:cNvGrpSpPr>
            <p:nvPr/>
          </p:nvGrpSpPr>
          <p:grpSpPr bwMode="auto">
            <a:xfrm>
              <a:off x="2470751" y="1972959"/>
              <a:ext cx="37465" cy="37465"/>
              <a:chOff x="4553267" y="3050540"/>
              <a:chExt cx="37465" cy="37465"/>
            </a:xfrm>
          </p:grpSpPr>
          <p:cxnSp>
            <p:nvCxnSpPr>
              <p:cNvPr id="384" name="Straight Connector 393"/>
              <p:cNvCxnSpPr/>
              <p:nvPr/>
            </p:nvCxnSpPr>
            <p:spPr>
              <a:xfrm>
                <a:off x="4572230" y="3051119"/>
                <a:ext cx="0" cy="36513"/>
              </a:xfrm>
              <a:prstGeom prst="line">
                <a:avLst/>
              </a:prstGeom>
              <a:noFill/>
              <a:ln w="28575" cap="rnd" cmpd="sng" algn="ctr">
                <a:solidFill>
                  <a:srgbClr val="717073"/>
                </a:solidFill>
                <a:prstDash val="dash"/>
              </a:ln>
              <a:effectLst/>
            </p:spPr>
          </p:cxnSp>
          <p:cxnSp>
            <p:nvCxnSpPr>
              <p:cNvPr id="385" name="Straight Connector 394"/>
              <p:cNvCxnSpPr/>
              <p:nvPr/>
            </p:nvCxnSpPr>
            <p:spPr>
              <a:xfrm rot="16200000">
                <a:off x="4572230" y="3051119"/>
                <a:ext cx="0" cy="38101"/>
              </a:xfrm>
              <a:prstGeom prst="line">
                <a:avLst/>
              </a:prstGeom>
              <a:noFill/>
              <a:ln w="28575" cap="rnd" cmpd="sng" algn="ctr">
                <a:solidFill>
                  <a:srgbClr val="717073"/>
                </a:solidFill>
                <a:prstDash val="dash"/>
              </a:ln>
              <a:effectLst/>
            </p:spPr>
          </p:cxnSp>
        </p:grpSp>
        <p:grpSp>
          <p:nvGrpSpPr>
            <p:cNvPr id="368" name="Group 78"/>
            <p:cNvGrpSpPr>
              <a:grpSpLocks/>
            </p:cNvGrpSpPr>
            <p:nvPr/>
          </p:nvGrpSpPr>
          <p:grpSpPr bwMode="auto">
            <a:xfrm>
              <a:off x="2455511" y="1896759"/>
              <a:ext cx="37465" cy="37465"/>
              <a:chOff x="4553267" y="3050540"/>
              <a:chExt cx="37465" cy="37465"/>
            </a:xfrm>
          </p:grpSpPr>
          <p:cxnSp>
            <p:nvCxnSpPr>
              <p:cNvPr id="382" name="Straight Connector 391"/>
              <p:cNvCxnSpPr/>
              <p:nvPr/>
            </p:nvCxnSpPr>
            <p:spPr>
              <a:xfrm>
                <a:off x="4571594" y="3051118"/>
                <a:ext cx="0" cy="36513"/>
              </a:xfrm>
              <a:prstGeom prst="line">
                <a:avLst/>
              </a:prstGeom>
              <a:noFill/>
              <a:ln w="28575" cap="rnd" cmpd="sng" algn="ctr">
                <a:solidFill>
                  <a:srgbClr val="717073"/>
                </a:solidFill>
                <a:prstDash val="dash"/>
              </a:ln>
              <a:effectLst/>
            </p:spPr>
          </p:cxnSp>
          <p:cxnSp>
            <p:nvCxnSpPr>
              <p:cNvPr id="383" name="Straight Connector 392"/>
              <p:cNvCxnSpPr/>
              <p:nvPr/>
            </p:nvCxnSpPr>
            <p:spPr>
              <a:xfrm rot="16200000">
                <a:off x="4571594" y="3051118"/>
                <a:ext cx="0" cy="38101"/>
              </a:xfrm>
              <a:prstGeom prst="line">
                <a:avLst/>
              </a:prstGeom>
              <a:noFill/>
              <a:ln w="28575" cap="rnd" cmpd="sng" algn="ctr">
                <a:solidFill>
                  <a:srgbClr val="717073"/>
                </a:solidFill>
                <a:prstDash val="dash"/>
              </a:ln>
              <a:effectLst/>
            </p:spPr>
          </p:cxnSp>
        </p:grpSp>
        <p:grpSp>
          <p:nvGrpSpPr>
            <p:cNvPr id="369" name="Group 81"/>
            <p:cNvGrpSpPr>
              <a:grpSpLocks/>
            </p:cNvGrpSpPr>
            <p:nvPr/>
          </p:nvGrpSpPr>
          <p:grpSpPr bwMode="auto">
            <a:xfrm>
              <a:off x="2407886" y="1799604"/>
              <a:ext cx="37465" cy="37465"/>
              <a:chOff x="4553267" y="3050540"/>
              <a:chExt cx="37465" cy="37465"/>
            </a:xfrm>
          </p:grpSpPr>
          <p:cxnSp>
            <p:nvCxnSpPr>
              <p:cNvPr id="380" name="Straight Connector 389"/>
              <p:cNvCxnSpPr/>
              <p:nvPr/>
            </p:nvCxnSpPr>
            <p:spPr>
              <a:xfrm>
                <a:off x="4571593" y="3049846"/>
                <a:ext cx="0" cy="38101"/>
              </a:xfrm>
              <a:prstGeom prst="line">
                <a:avLst/>
              </a:prstGeom>
              <a:noFill/>
              <a:ln w="28575" cap="rnd" cmpd="sng" algn="ctr">
                <a:solidFill>
                  <a:srgbClr val="717073"/>
                </a:solidFill>
                <a:prstDash val="dash"/>
              </a:ln>
              <a:effectLst/>
            </p:spPr>
          </p:cxnSp>
          <p:cxnSp>
            <p:nvCxnSpPr>
              <p:cNvPr id="381" name="Straight Connector 390"/>
              <p:cNvCxnSpPr/>
              <p:nvPr/>
            </p:nvCxnSpPr>
            <p:spPr>
              <a:xfrm rot="16200000">
                <a:off x="4571593" y="3049846"/>
                <a:ext cx="0" cy="38101"/>
              </a:xfrm>
              <a:prstGeom prst="line">
                <a:avLst/>
              </a:prstGeom>
              <a:noFill/>
              <a:ln w="28575" cap="rnd" cmpd="sng" algn="ctr">
                <a:solidFill>
                  <a:srgbClr val="717073"/>
                </a:solidFill>
                <a:prstDash val="dash"/>
              </a:ln>
              <a:effectLst/>
            </p:spPr>
          </p:cxnSp>
        </p:grpSp>
        <p:grpSp>
          <p:nvGrpSpPr>
            <p:cNvPr id="370" name="Group 84"/>
            <p:cNvGrpSpPr>
              <a:grpSpLocks/>
            </p:cNvGrpSpPr>
            <p:nvPr/>
          </p:nvGrpSpPr>
          <p:grpSpPr bwMode="auto">
            <a:xfrm>
              <a:off x="2352641" y="1732929"/>
              <a:ext cx="37465" cy="37465"/>
              <a:chOff x="4553267" y="3050540"/>
              <a:chExt cx="37465" cy="37465"/>
            </a:xfrm>
          </p:grpSpPr>
          <p:cxnSp>
            <p:nvCxnSpPr>
              <p:cNvPr id="378" name="Straight Connector 387"/>
              <p:cNvCxnSpPr/>
              <p:nvPr/>
            </p:nvCxnSpPr>
            <p:spPr>
              <a:xfrm>
                <a:off x="4572863" y="3049844"/>
                <a:ext cx="0" cy="38101"/>
              </a:xfrm>
              <a:prstGeom prst="line">
                <a:avLst/>
              </a:prstGeom>
              <a:noFill/>
              <a:ln w="28575" cap="rnd" cmpd="sng" algn="ctr">
                <a:solidFill>
                  <a:srgbClr val="717073"/>
                </a:solidFill>
                <a:prstDash val="dash"/>
              </a:ln>
              <a:effectLst/>
            </p:spPr>
          </p:cxnSp>
          <p:cxnSp>
            <p:nvCxnSpPr>
              <p:cNvPr id="379" name="Straight Connector 388"/>
              <p:cNvCxnSpPr/>
              <p:nvPr/>
            </p:nvCxnSpPr>
            <p:spPr>
              <a:xfrm rot="16200000">
                <a:off x="4572070" y="3050637"/>
                <a:ext cx="0" cy="36514"/>
              </a:xfrm>
              <a:prstGeom prst="line">
                <a:avLst/>
              </a:prstGeom>
              <a:noFill/>
              <a:ln w="28575" cap="rnd" cmpd="sng" algn="ctr">
                <a:solidFill>
                  <a:srgbClr val="717073"/>
                </a:solidFill>
                <a:prstDash val="dash"/>
              </a:ln>
              <a:effectLst/>
            </p:spPr>
          </p:cxnSp>
        </p:grpSp>
        <p:grpSp>
          <p:nvGrpSpPr>
            <p:cNvPr id="371" name="Group 87"/>
            <p:cNvGrpSpPr>
              <a:grpSpLocks/>
            </p:cNvGrpSpPr>
            <p:nvPr/>
          </p:nvGrpSpPr>
          <p:grpSpPr bwMode="auto">
            <a:xfrm>
              <a:off x="2428841" y="1864374"/>
              <a:ext cx="37465" cy="37465"/>
              <a:chOff x="4553267" y="3050540"/>
              <a:chExt cx="37465" cy="37465"/>
            </a:xfrm>
          </p:grpSpPr>
          <p:cxnSp>
            <p:nvCxnSpPr>
              <p:cNvPr id="376" name="Straight Connector 385"/>
              <p:cNvCxnSpPr/>
              <p:nvPr/>
            </p:nvCxnSpPr>
            <p:spPr>
              <a:xfrm>
                <a:off x="4572864" y="3050164"/>
                <a:ext cx="0" cy="38101"/>
              </a:xfrm>
              <a:prstGeom prst="line">
                <a:avLst/>
              </a:prstGeom>
              <a:noFill/>
              <a:ln w="28575" cap="rnd" cmpd="sng" algn="ctr">
                <a:solidFill>
                  <a:srgbClr val="717073"/>
                </a:solidFill>
                <a:prstDash val="dash"/>
              </a:ln>
              <a:effectLst/>
            </p:spPr>
          </p:cxnSp>
          <p:cxnSp>
            <p:nvCxnSpPr>
              <p:cNvPr id="377" name="Straight Connector 386"/>
              <p:cNvCxnSpPr/>
              <p:nvPr/>
            </p:nvCxnSpPr>
            <p:spPr>
              <a:xfrm rot="16200000">
                <a:off x="4572071" y="3050957"/>
                <a:ext cx="0" cy="36514"/>
              </a:xfrm>
              <a:prstGeom prst="line">
                <a:avLst/>
              </a:prstGeom>
              <a:noFill/>
              <a:ln w="28575" cap="rnd" cmpd="sng" algn="ctr">
                <a:solidFill>
                  <a:srgbClr val="717073"/>
                </a:solidFill>
                <a:prstDash val="dash"/>
              </a:ln>
              <a:effectLst/>
            </p:spPr>
          </p:cxnSp>
        </p:grpSp>
        <p:grpSp>
          <p:nvGrpSpPr>
            <p:cNvPr id="372" name="Group 90"/>
            <p:cNvGrpSpPr>
              <a:grpSpLocks/>
            </p:cNvGrpSpPr>
            <p:nvPr/>
          </p:nvGrpSpPr>
          <p:grpSpPr bwMode="auto">
            <a:xfrm>
              <a:off x="2468846" y="1957719"/>
              <a:ext cx="37465" cy="37465"/>
              <a:chOff x="4553267" y="3050540"/>
              <a:chExt cx="37465" cy="37465"/>
            </a:xfrm>
          </p:grpSpPr>
          <p:cxnSp>
            <p:nvCxnSpPr>
              <p:cNvPr id="374" name="Straight Connector 383"/>
              <p:cNvCxnSpPr/>
              <p:nvPr/>
            </p:nvCxnSpPr>
            <p:spPr>
              <a:xfrm>
                <a:off x="4572548" y="3050484"/>
                <a:ext cx="0" cy="38101"/>
              </a:xfrm>
              <a:prstGeom prst="line">
                <a:avLst/>
              </a:prstGeom>
              <a:noFill/>
              <a:ln w="28575" cap="rnd" cmpd="sng" algn="ctr">
                <a:solidFill>
                  <a:srgbClr val="717073"/>
                </a:solidFill>
                <a:prstDash val="dash"/>
              </a:ln>
              <a:effectLst/>
            </p:spPr>
          </p:cxnSp>
          <p:cxnSp>
            <p:nvCxnSpPr>
              <p:cNvPr id="375" name="Straight Connector 384"/>
              <p:cNvCxnSpPr/>
              <p:nvPr/>
            </p:nvCxnSpPr>
            <p:spPr>
              <a:xfrm rot="16200000">
                <a:off x="4571753" y="3051278"/>
                <a:ext cx="0" cy="36513"/>
              </a:xfrm>
              <a:prstGeom prst="line">
                <a:avLst/>
              </a:prstGeom>
              <a:noFill/>
              <a:ln w="28575" cap="rnd" cmpd="sng" algn="ctr">
                <a:solidFill>
                  <a:srgbClr val="717073"/>
                </a:solidFill>
                <a:prstDash val="dash"/>
              </a:ln>
              <a:effectLst/>
            </p:spPr>
          </p:cxnSp>
        </p:grpSp>
        <p:sp>
          <p:nvSpPr>
            <p:cNvPr id="373" name="Freeform 2"/>
            <p:cNvSpPr>
              <a:spLocks/>
            </p:cNvSpPr>
            <p:nvPr/>
          </p:nvSpPr>
          <p:spPr bwMode="auto">
            <a:xfrm>
              <a:off x="2205545" y="1722708"/>
              <a:ext cx="3943350" cy="2809875"/>
            </a:xfrm>
            <a:custGeom>
              <a:avLst/>
              <a:gdLst>
                <a:gd name="T0" fmla="*/ 105 w 2484"/>
                <a:gd name="T1" fmla="*/ 0 h 1770"/>
                <a:gd name="T2" fmla="*/ 116 w 2484"/>
                <a:gd name="T3" fmla="*/ 42 h 1770"/>
                <a:gd name="T4" fmla="*/ 156 w 2484"/>
                <a:gd name="T5" fmla="*/ 63 h 1770"/>
                <a:gd name="T6" fmla="*/ 180 w 2484"/>
                <a:gd name="T7" fmla="*/ 122 h 1770"/>
                <a:gd name="T8" fmla="*/ 183 w 2484"/>
                <a:gd name="T9" fmla="*/ 164 h 1770"/>
                <a:gd name="T10" fmla="*/ 199 w 2484"/>
                <a:gd name="T11" fmla="*/ 210 h 1770"/>
                <a:gd name="T12" fmla="*/ 248 w 2484"/>
                <a:gd name="T13" fmla="*/ 230 h 1770"/>
                <a:gd name="T14" fmla="*/ 285 w 2484"/>
                <a:gd name="T15" fmla="*/ 249 h 1770"/>
                <a:gd name="T16" fmla="*/ 292 w 2484"/>
                <a:gd name="T17" fmla="*/ 277 h 1770"/>
                <a:gd name="T18" fmla="*/ 306 w 2484"/>
                <a:gd name="T19" fmla="*/ 295 h 1770"/>
                <a:gd name="T20" fmla="*/ 310 w 2484"/>
                <a:gd name="T21" fmla="*/ 360 h 1770"/>
                <a:gd name="T22" fmla="*/ 313 w 2484"/>
                <a:gd name="T23" fmla="*/ 422 h 1770"/>
                <a:gd name="T24" fmla="*/ 328 w 2484"/>
                <a:gd name="T25" fmla="*/ 427 h 1770"/>
                <a:gd name="T26" fmla="*/ 334 w 2484"/>
                <a:gd name="T27" fmla="*/ 483 h 1770"/>
                <a:gd name="T28" fmla="*/ 343 w 2484"/>
                <a:gd name="T29" fmla="*/ 517 h 1770"/>
                <a:gd name="T30" fmla="*/ 362 w 2484"/>
                <a:gd name="T31" fmla="*/ 538 h 1770"/>
                <a:gd name="T32" fmla="*/ 391 w 2484"/>
                <a:gd name="T33" fmla="*/ 565 h 1770"/>
                <a:gd name="T34" fmla="*/ 460 w 2484"/>
                <a:gd name="T35" fmla="*/ 583 h 1770"/>
                <a:gd name="T36" fmla="*/ 494 w 2484"/>
                <a:gd name="T37" fmla="*/ 607 h 1770"/>
                <a:gd name="T38" fmla="*/ 577 w 2484"/>
                <a:gd name="T39" fmla="*/ 632 h 1770"/>
                <a:gd name="T40" fmla="*/ 614 w 2484"/>
                <a:gd name="T41" fmla="*/ 735 h 1770"/>
                <a:gd name="T42" fmla="*/ 621 w 2484"/>
                <a:gd name="T43" fmla="*/ 762 h 1770"/>
                <a:gd name="T44" fmla="*/ 638 w 2484"/>
                <a:gd name="T45" fmla="*/ 817 h 1770"/>
                <a:gd name="T46" fmla="*/ 656 w 2484"/>
                <a:gd name="T47" fmla="*/ 844 h 1770"/>
                <a:gd name="T48" fmla="*/ 664 w 2484"/>
                <a:gd name="T49" fmla="*/ 876 h 1770"/>
                <a:gd name="T50" fmla="*/ 765 w 2484"/>
                <a:gd name="T51" fmla="*/ 904 h 1770"/>
                <a:gd name="T52" fmla="*/ 784 w 2484"/>
                <a:gd name="T53" fmla="*/ 970 h 1770"/>
                <a:gd name="T54" fmla="*/ 790 w 2484"/>
                <a:gd name="T55" fmla="*/ 1000 h 1770"/>
                <a:gd name="T56" fmla="*/ 844 w 2484"/>
                <a:gd name="T57" fmla="*/ 1036 h 1770"/>
                <a:gd name="T58" fmla="*/ 921 w 2484"/>
                <a:gd name="T59" fmla="*/ 1105 h 1770"/>
                <a:gd name="T60" fmla="*/ 927 w 2484"/>
                <a:gd name="T61" fmla="*/ 1140 h 1770"/>
                <a:gd name="T62" fmla="*/ 934 w 2484"/>
                <a:gd name="T63" fmla="*/ 1206 h 1770"/>
                <a:gd name="T64" fmla="*/ 939 w 2484"/>
                <a:gd name="T65" fmla="*/ 1239 h 1770"/>
                <a:gd name="T66" fmla="*/ 997 w 2484"/>
                <a:gd name="T67" fmla="*/ 1280 h 1770"/>
                <a:gd name="T68" fmla="*/ 1071 w 2484"/>
                <a:gd name="T69" fmla="*/ 1352 h 1770"/>
                <a:gd name="T70" fmla="*/ 1081 w 2484"/>
                <a:gd name="T71" fmla="*/ 1393 h 1770"/>
                <a:gd name="T72" fmla="*/ 1100 w 2484"/>
                <a:gd name="T73" fmla="*/ 1426 h 1770"/>
                <a:gd name="T74" fmla="*/ 1182 w 2484"/>
                <a:gd name="T75" fmla="*/ 1467 h 1770"/>
                <a:gd name="T76" fmla="*/ 1233 w 2484"/>
                <a:gd name="T77" fmla="*/ 1503 h 1770"/>
                <a:gd name="T78" fmla="*/ 1388 w 2484"/>
                <a:gd name="T79" fmla="*/ 1549 h 1770"/>
                <a:gd name="T80" fmla="*/ 1542 w 2484"/>
                <a:gd name="T81" fmla="*/ 1593 h 1770"/>
                <a:gd name="T82" fmla="*/ 1842 w 2484"/>
                <a:gd name="T83" fmla="*/ 1701 h 1770"/>
                <a:gd name="T84" fmla="*/ 1981 w 2484"/>
                <a:gd name="T85" fmla="*/ 1768 h 17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484" h="1770">
                  <a:moveTo>
                    <a:pt x="0" y="0"/>
                  </a:moveTo>
                  <a:lnTo>
                    <a:pt x="105" y="0"/>
                  </a:lnTo>
                  <a:lnTo>
                    <a:pt x="106" y="42"/>
                  </a:lnTo>
                  <a:lnTo>
                    <a:pt x="116" y="42"/>
                  </a:lnTo>
                  <a:lnTo>
                    <a:pt x="117" y="62"/>
                  </a:lnTo>
                  <a:lnTo>
                    <a:pt x="156" y="63"/>
                  </a:lnTo>
                  <a:lnTo>
                    <a:pt x="156" y="121"/>
                  </a:lnTo>
                  <a:lnTo>
                    <a:pt x="180" y="122"/>
                  </a:lnTo>
                  <a:lnTo>
                    <a:pt x="180" y="164"/>
                  </a:lnTo>
                  <a:lnTo>
                    <a:pt x="183" y="164"/>
                  </a:lnTo>
                  <a:lnTo>
                    <a:pt x="183" y="208"/>
                  </a:lnTo>
                  <a:lnTo>
                    <a:pt x="199" y="210"/>
                  </a:lnTo>
                  <a:lnTo>
                    <a:pt x="198" y="228"/>
                  </a:lnTo>
                  <a:lnTo>
                    <a:pt x="248" y="230"/>
                  </a:lnTo>
                  <a:lnTo>
                    <a:pt x="247" y="248"/>
                  </a:lnTo>
                  <a:lnTo>
                    <a:pt x="285" y="249"/>
                  </a:lnTo>
                  <a:lnTo>
                    <a:pt x="286" y="274"/>
                  </a:lnTo>
                  <a:lnTo>
                    <a:pt x="292" y="277"/>
                  </a:lnTo>
                  <a:lnTo>
                    <a:pt x="291" y="294"/>
                  </a:lnTo>
                  <a:lnTo>
                    <a:pt x="306" y="295"/>
                  </a:lnTo>
                  <a:lnTo>
                    <a:pt x="307" y="360"/>
                  </a:lnTo>
                  <a:lnTo>
                    <a:pt x="310" y="360"/>
                  </a:lnTo>
                  <a:lnTo>
                    <a:pt x="312" y="402"/>
                  </a:lnTo>
                  <a:lnTo>
                    <a:pt x="313" y="422"/>
                  </a:lnTo>
                  <a:lnTo>
                    <a:pt x="319" y="423"/>
                  </a:lnTo>
                  <a:lnTo>
                    <a:pt x="328" y="427"/>
                  </a:lnTo>
                  <a:lnTo>
                    <a:pt x="328" y="469"/>
                  </a:lnTo>
                  <a:lnTo>
                    <a:pt x="334" y="483"/>
                  </a:lnTo>
                  <a:lnTo>
                    <a:pt x="343" y="495"/>
                  </a:lnTo>
                  <a:lnTo>
                    <a:pt x="343" y="517"/>
                  </a:lnTo>
                  <a:lnTo>
                    <a:pt x="362" y="517"/>
                  </a:lnTo>
                  <a:lnTo>
                    <a:pt x="362" y="538"/>
                  </a:lnTo>
                  <a:lnTo>
                    <a:pt x="391" y="538"/>
                  </a:lnTo>
                  <a:lnTo>
                    <a:pt x="391" y="565"/>
                  </a:lnTo>
                  <a:lnTo>
                    <a:pt x="460" y="564"/>
                  </a:lnTo>
                  <a:lnTo>
                    <a:pt x="460" y="583"/>
                  </a:lnTo>
                  <a:lnTo>
                    <a:pt x="492" y="584"/>
                  </a:lnTo>
                  <a:lnTo>
                    <a:pt x="494" y="607"/>
                  </a:lnTo>
                  <a:lnTo>
                    <a:pt x="578" y="607"/>
                  </a:lnTo>
                  <a:lnTo>
                    <a:pt x="577" y="632"/>
                  </a:lnTo>
                  <a:lnTo>
                    <a:pt x="612" y="632"/>
                  </a:lnTo>
                  <a:lnTo>
                    <a:pt x="614" y="735"/>
                  </a:lnTo>
                  <a:lnTo>
                    <a:pt x="621" y="735"/>
                  </a:lnTo>
                  <a:lnTo>
                    <a:pt x="621" y="762"/>
                  </a:lnTo>
                  <a:lnTo>
                    <a:pt x="634" y="758"/>
                  </a:lnTo>
                  <a:lnTo>
                    <a:pt x="638" y="817"/>
                  </a:lnTo>
                  <a:lnTo>
                    <a:pt x="654" y="814"/>
                  </a:lnTo>
                  <a:lnTo>
                    <a:pt x="656" y="844"/>
                  </a:lnTo>
                  <a:lnTo>
                    <a:pt x="666" y="846"/>
                  </a:lnTo>
                  <a:lnTo>
                    <a:pt x="664" y="876"/>
                  </a:lnTo>
                  <a:lnTo>
                    <a:pt x="765" y="876"/>
                  </a:lnTo>
                  <a:lnTo>
                    <a:pt x="765" y="904"/>
                  </a:lnTo>
                  <a:lnTo>
                    <a:pt x="786" y="904"/>
                  </a:lnTo>
                  <a:lnTo>
                    <a:pt x="784" y="970"/>
                  </a:lnTo>
                  <a:lnTo>
                    <a:pt x="790" y="972"/>
                  </a:lnTo>
                  <a:lnTo>
                    <a:pt x="790" y="1000"/>
                  </a:lnTo>
                  <a:lnTo>
                    <a:pt x="844" y="1003"/>
                  </a:lnTo>
                  <a:lnTo>
                    <a:pt x="844" y="1036"/>
                  </a:lnTo>
                  <a:lnTo>
                    <a:pt x="921" y="1036"/>
                  </a:lnTo>
                  <a:lnTo>
                    <a:pt x="921" y="1105"/>
                  </a:lnTo>
                  <a:lnTo>
                    <a:pt x="927" y="1104"/>
                  </a:lnTo>
                  <a:lnTo>
                    <a:pt x="927" y="1140"/>
                  </a:lnTo>
                  <a:lnTo>
                    <a:pt x="936" y="1141"/>
                  </a:lnTo>
                  <a:lnTo>
                    <a:pt x="934" y="1206"/>
                  </a:lnTo>
                  <a:lnTo>
                    <a:pt x="939" y="1208"/>
                  </a:lnTo>
                  <a:lnTo>
                    <a:pt x="939" y="1239"/>
                  </a:lnTo>
                  <a:lnTo>
                    <a:pt x="996" y="1240"/>
                  </a:lnTo>
                  <a:lnTo>
                    <a:pt x="997" y="1280"/>
                  </a:lnTo>
                  <a:lnTo>
                    <a:pt x="1071" y="1280"/>
                  </a:lnTo>
                  <a:lnTo>
                    <a:pt x="1071" y="1352"/>
                  </a:lnTo>
                  <a:lnTo>
                    <a:pt x="1081" y="1352"/>
                  </a:lnTo>
                  <a:lnTo>
                    <a:pt x="1081" y="1393"/>
                  </a:lnTo>
                  <a:lnTo>
                    <a:pt x="1099" y="1392"/>
                  </a:lnTo>
                  <a:lnTo>
                    <a:pt x="1100" y="1426"/>
                  </a:lnTo>
                  <a:lnTo>
                    <a:pt x="1182" y="1426"/>
                  </a:lnTo>
                  <a:lnTo>
                    <a:pt x="1182" y="1467"/>
                  </a:lnTo>
                  <a:lnTo>
                    <a:pt x="1233" y="1467"/>
                  </a:lnTo>
                  <a:lnTo>
                    <a:pt x="1233" y="1503"/>
                  </a:lnTo>
                  <a:lnTo>
                    <a:pt x="1387" y="1502"/>
                  </a:lnTo>
                  <a:lnTo>
                    <a:pt x="1388" y="1549"/>
                  </a:lnTo>
                  <a:lnTo>
                    <a:pt x="1543" y="1545"/>
                  </a:lnTo>
                  <a:lnTo>
                    <a:pt x="1542" y="1593"/>
                  </a:lnTo>
                  <a:lnTo>
                    <a:pt x="1840" y="1592"/>
                  </a:lnTo>
                  <a:lnTo>
                    <a:pt x="1842" y="1701"/>
                  </a:lnTo>
                  <a:lnTo>
                    <a:pt x="1980" y="1700"/>
                  </a:lnTo>
                  <a:lnTo>
                    <a:pt x="1981" y="1768"/>
                  </a:lnTo>
                  <a:lnTo>
                    <a:pt x="2484" y="1770"/>
                  </a:lnTo>
                </a:path>
              </a:pathLst>
            </a:custGeom>
            <a:noFill/>
            <a:ln w="28575" cmpd="sng">
              <a:solidFill>
                <a:srgbClr val="717073"/>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pSp>
      <p:grpSp>
        <p:nvGrpSpPr>
          <p:cNvPr id="434" name="Group 3"/>
          <p:cNvGrpSpPr>
            <a:grpSpLocks/>
          </p:cNvGrpSpPr>
          <p:nvPr/>
        </p:nvGrpSpPr>
        <p:grpSpPr bwMode="auto">
          <a:xfrm>
            <a:off x="2024886" y="2129801"/>
            <a:ext cx="2690813" cy="3003550"/>
            <a:chOff x="2210427" y="1698639"/>
            <a:chExt cx="2690469" cy="3003550"/>
          </a:xfrm>
        </p:grpSpPr>
        <p:grpSp>
          <p:nvGrpSpPr>
            <p:cNvPr id="435" name="Group 3"/>
            <p:cNvGrpSpPr>
              <a:grpSpLocks/>
            </p:cNvGrpSpPr>
            <p:nvPr/>
          </p:nvGrpSpPr>
          <p:grpSpPr bwMode="auto">
            <a:xfrm>
              <a:off x="2790791" y="2222514"/>
              <a:ext cx="37465" cy="37465"/>
              <a:chOff x="4553267" y="3050540"/>
              <a:chExt cx="37465" cy="37465"/>
            </a:xfrm>
          </p:grpSpPr>
          <p:cxnSp>
            <p:nvCxnSpPr>
              <p:cNvPr id="509" name="Straight Connector 4"/>
              <p:cNvCxnSpPr/>
              <p:nvPr/>
            </p:nvCxnSpPr>
            <p:spPr>
              <a:xfrm>
                <a:off x="4572901" y="3050540"/>
                <a:ext cx="0" cy="38100"/>
              </a:xfrm>
              <a:prstGeom prst="line">
                <a:avLst/>
              </a:prstGeom>
              <a:noFill/>
              <a:ln w="28575" cap="rnd" cmpd="sng" algn="ctr">
                <a:solidFill>
                  <a:schemeClr val="bg1">
                    <a:lumMod val="50000"/>
                  </a:schemeClr>
                </a:solidFill>
                <a:prstDash val="solid"/>
              </a:ln>
              <a:effectLst/>
            </p:spPr>
          </p:cxnSp>
          <p:cxnSp>
            <p:nvCxnSpPr>
              <p:cNvPr id="510" name="Straight Connector 5"/>
              <p:cNvCxnSpPr/>
              <p:nvPr/>
            </p:nvCxnSpPr>
            <p:spPr>
              <a:xfrm rot="16200000">
                <a:off x="4572108" y="3051335"/>
                <a:ext cx="0" cy="36508"/>
              </a:xfrm>
              <a:prstGeom prst="line">
                <a:avLst/>
              </a:prstGeom>
              <a:noFill/>
              <a:ln w="28575" cap="rnd" cmpd="sng" algn="ctr">
                <a:solidFill>
                  <a:schemeClr val="bg1">
                    <a:lumMod val="50000"/>
                  </a:schemeClr>
                </a:solidFill>
                <a:prstDash val="solid"/>
              </a:ln>
              <a:effectLst/>
            </p:spPr>
          </p:cxnSp>
        </p:grpSp>
        <p:grpSp>
          <p:nvGrpSpPr>
            <p:cNvPr id="436" name="Group 13"/>
            <p:cNvGrpSpPr>
              <a:grpSpLocks/>
            </p:cNvGrpSpPr>
            <p:nvPr/>
          </p:nvGrpSpPr>
          <p:grpSpPr bwMode="auto">
            <a:xfrm>
              <a:off x="2329781" y="1698639"/>
              <a:ext cx="37465" cy="37465"/>
              <a:chOff x="4553267" y="3050540"/>
              <a:chExt cx="37465" cy="37465"/>
            </a:xfrm>
          </p:grpSpPr>
          <p:cxnSp>
            <p:nvCxnSpPr>
              <p:cNvPr id="507" name="Straight Connector 14"/>
              <p:cNvCxnSpPr/>
              <p:nvPr/>
            </p:nvCxnSpPr>
            <p:spPr>
              <a:xfrm>
                <a:off x="4572008" y="3050540"/>
                <a:ext cx="0" cy="38100"/>
              </a:xfrm>
              <a:prstGeom prst="line">
                <a:avLst/>
              </a:prstGeom>
              <a:noFill/>
              <a:ln w="28575" cap="rnd" cmpd="sng" algn="ctr">
                <a:solidFill>
                  <a:schemeClr val="bg1">
                    <a:lumMod val="50000"/>
                  </a:schemeClr>
                </a:solidFill>
                <a:prstDash val="solid"/>
              </a:ln>
              <a:effectLst/>
            </p:spPr>
          </p:cxnSp>
          <p:cxnSp>
            <p:nvCxnSpPr>
              <p:cNvPr id="508" name="Straight Connector 15"/>
              <p:cNvCxnSpPr/>
              <p:nvPr/>
            </p:nvCxnSpPr>
            <p:spPr>
              <a:xfrm rot="16200000">
                <a:off x="4572008" y="3050543"/>
                <a:ext cx="0" cy="38095"/>
              </a:xfrm>
              <a:prstGeom prst="line">
                <a:avLst/>
              </a:prstGeom>
              <a:noFill/>
              <a:ln w="28575" cap="rnd" cmpd="sng" algn="ctr">
                <a:solidFill>
                  <a:schemeClr val="bg1">
                    <a:lumMod val="50000"/>
                  </a:schemeClr>
                </a:solidFill>
                <a:prstDash val="solid"/>
              </a:ln>
              <a:effectLst/>
            </p:spPr>
          </p:cxnSp>
        </p:grpSp>
        <p:grpSp>
          <p:nvGrpSpPr>
            <p:cNvPr id="437" name="Group 16"/>
            <p:cNvGrpSpPr>
              <a:grpSpLocks/>
            </p:cNvGrpSpPr>
            <p:nvPr/>
          </p:nvGrpSpPr>
          <p:grpSpPr bwMode="auto">
            <a:xfrm>
              <a:off x="2221196" y="1698639"/>
              <a:ext cx="37465" cy="37465"/>
              <a:chOff x="4553267" y="3050540"/>
              <a:chExt cx="37465" cy="37465"/>
            </a:xfrm>
          </p:grpSpPr>
          <p:cxnSp>
            <p:nvCxnSpPr>
              <p:cNvPr id="505" name="Straight Connector 17"/>
              <p:cNvCxnSpPr/>
              <p:nvPr/>
            </p:nvCxnSpPr>
            <p:spPr>
              <a:xfrm>
                <a:off x="4572657" y="3050540"/>
                <a:ext cx="0" cy="38100"/>
              </a:xfrm>
              <a:prstGeom prst="line">
                <a:avLst/>
              </a:prstGeom>
              <a:noFill/>
              <a:ln w="28575" cap="rnd" cmpd="sng" algn="ctr">
                <a:solidFill>
                  <a:schemeClr val="bg1">
                    <a:lumMod val="50000"/>
                  </a:schemeClr>
                </a:solidFill>
                <a:prstDash val="solid"/>
              </a:ln>
              <a:effectLst/>
            </p:spPr>
          </p:cxnSp>
          <p:cxnSp>
            <p:nvCxnSpPr>
              <p:cNvPr id="506" name="Straight Connector 18"/>
              <p:cNvCxnSpPr/>
              <p:nvPr/>
            </p:nvCxnSpPr>
            <p:spPr>
              <a:xfrm rot="16200000">
                <a:off x="4571864" y="3051336"/>
                <a:ext cx="0" cy="36507"/>
              </a:xfrm>
              <a:prstGeom prst="line">
                <a:avLst/>
              </a:prstGeom>
              <a:noFill/>
              <a:ln w="28575" cap="rnd" cmpd="sng" algn="ctr">
                <a:solidFill>
                  <a:schemeClr val="bg1">
                    <a:lumMod val="50000"/>
                  </a:schemeClr>
                </a:solidFill>
                <a:prstDash val="solid"/>
              </a:ln>
              <a:effectLst/>
            </p:spPr>
          </p:cxnSp>
        </p:grpSp>
        <p:grpSp>
          <p:nvGrpSpPr>
            <p:cNvPr id="438" name="Group 19"/>
            <p:cNvGrpSpPr>
              <a:grpSpLocks/>
            </p:cNvGrpSpPr>
            <p:nvPr/>
          </p:nvGrpSpPr>
          <p:grpSpPr bwMode="auto">
            <a:xfrm>
              <a:off x="2390741" y="1698639"/>
              <a:ext cx="37465" cy="37465"/>
              <a:chOff x="4553267" y="3050540"/>
              <a:chExt cx="37465" cy="37465"/>
            </a:xfrm>
          </p:grpSpPr>
          <p:cxnSp>
            <p:nvCxnSpPr>
              <p:cNvPr id="503" name="Straight Connector 20"/>
              <p:cNvCxnSpPr/>
              <p:nvPr/>
            </p:nvCxnSpPr>
            <p:spPr>
              <a:xfrm>
                <a:off x="4572952" y="3050540"/>
                <a:ext cx="0" cy="38100"/>
              </a:xfrm>
              <a:prstGeom prst="line">
                <a:avLst/>
              </a:prstGeom>
              <a:noFill/>
              <a:ln w="28575" cap="rnd" cmpd="sng" algn="ctr">
                <a:solidFill>
                  <a:schemeClr val="bg1">
                    <a:lumMod val="50000"/>
                  </a:schemeClr>
                </a:solidFill>
                <a:prstDash val="solid"/>
              </a:ln>
              <a:effectLst/>
            </p:spPr>
          </p:cxnSp>
          <p:cxnSp>
            <p:nvCxnSpPr>
              <p:cNvPr id="504" name="Straight Connector 21"/>
              <p:cNvCxnSpPr/>
              <p:nvPr/>
            </p:nvCxnSpPr>
            <p:spPr>
              <a:xfrm rot="16200000">
                <a:off x="4572159" y="3051335"/>
                <a:ext cx="0" cy="36508"/>
              </a:xfrm>
              <a:prstGeom prst="line">
                <a:avLst/>
              </a:prstGeom>
              <a:noFill/>
              <a:ln w="28575" cap="rnd" cmpd="sng" algn="ctr">
                <a:solidFill>
                  <a:schemeClr val="bg1">
                    <a:lumMod val="50000"/>
                  </a:schemeClr>
                </a:solidFill>
                <a:prstDash val="solid"/>
              </a:ln>
              <a:effectLst/>
            </p:spPr>
          </p:cxnSp>
        </p:grpSp>
        <p:grpSp>
          <p:nvGrpSpPr>
            <p:cNvPr id="439" name="Group 22"/>
            <p:cNvGrpSpPr>
              <a:grpSpLocks/>
            </p:cNvGrpSpPr>
            <p:nvPr/>
          </p:nvGrpSpPr>
          <p:grpSpPr bwMode="auto">
            <a:xfrm>
              <a:off x="2453606" y="1767219"/>
              <a:ext cx="37465" cy="37465"/>
              <a:chOff x="4553267" y="3050540"/>
              <a:chExt cx="37465" cy="37465"/>
            </a:xfrm>
          </p:grpSpPr>
          <p:cxnSp>
            <p:nvCxnSpPr>
              <p:cNvPr id="501" name="Straight Connector 23"/>
              <p:cNvCxnSpPr/>
              <p:nvPr/>
            </p:nvCxnSpPr>
            <p:spPr>
              <a:xfrm>
                <a:off x="4571993" y="3050223"/>
                <a:ext cx="0" cy="38100"/>
              </a:xfrm>
              <a:prstGeom prst="line">
                <a:avLst/>
              </a:prstGeom>
              <a:noFill/>
              <a:ln w="28575" cap="rnd" cmpd="sng" algn="ctr">
                <a:solidFill>
                  <a:schemeClr val="bg1">
                    <a:lumMod val="50000"/>
                  </a:schemeClr>
                </a:solidFill>
                <a:prstDash val="solid"/>
              </a:ln>
              <a:effectLst/>
            </p:spPr>
          </p:cxnSp>
          <p:cxnSp>
            <p:nvCxnSpPr>
              <p:cNvPr id="502" name="Straight Connector 24"/>
              <p:cNvCxnSpPr/>
              <p:nvPr/>
            </p:nvCxnSpPr>
            <p:spPr>
              <a:xfrm rot="16200000">
                <a:off x="4571993" y="3050226"/>
                <a:ext cx="0" cy="38095"/>
              </a:xfrm>
              <a:prstGeom prst="line">
                <a:avLst/>
              </a:prstGeom>
              <a:noFill/>
              <a:ln w="28575" cap="rnd" cmpd="sng" algn="ctr">
                <a:solidFill>
                  <a:schemeClr val="bg1">
                    <a:lumMod val="50000"/>
                  </a:schemeClr>
                </a:solidFill>
                <a:prstDash val="solid"/>
              </a:ln>
              <a:effectLst/>
            </p:spPr>
          </p:cxnSp>
        </p:grpSp>
        <p:grpSp>
          <p:nvGrpSpPr>
            <p:cNvPr id="440" name="Group 25"/>
            <p:cNvGrpSpPr>
              <a:grpSpLocks/>
            </p:cNvGrpSpPr>
            <p:nvPr/>
          </p:nvGrpSpPr>
          <p:grpSpPr bwMode="auto">
            <a:xfrm>
              <a:off x="2501231" y="1837704"/>
              <a:ext cx="37465" cy="37465"/>
              <a:chOff x="4553267" y="3050540"/>
              <a:chExt cx="37465" cy="37465"/>
            </a:xfrm>
          </p:grpSpPr>
          <p:cxnSp>
            <p:nvCxnSpPr>
              <p:cNvPr id="499" name="Straight Connector 26"/>
              <p:cNvCxnSpPr/>
              <p:nvPr/>
            </p:nvCxnSpPr>
            <p:spPr>
              <a:xfrm>
                <a:off x="4571987" y="3051175"/>
                <a:ext cx="0" cy="36513"/>
              </a:xfrm>
              <a:prstGeom prst="line">
                <a:avLst/>
              </a:prstGeom>
              <a:noFill/>
              <a:ln w="28575" cap="rnd" cmpd="sng" algn="ctr">
                <a:solidFill>
                  <a:schemeClr val="bg1">
                    <a:lumMod val="50000"/>
                  </a:schemeClr>
                </a:solidFill>
                <a:prstDash val="solid"/>
              </a:ln>
              <a:effectLst/>
            </p:spPr>
          </p:cxnSp>
          <p:cxnSp>
            <p:nvCxnSpPr>
              <p:cNvPr id="500" name="Straight Connector 513"/>
              <p:cNvCxnSpPr/>
              <p:nvPr/>
            </p:nvCxnSpPr>
            <p:spPr>
              <a:xfrm rot="16200000">
                <a:off x="4571987" y="3051178"/>
                <a:ext cx="0" cy="38095"/>
              </a:xfrm>
              <a:prstGeom prst="line">
                <a:avLst/>
              </a:prstGeom>
              <a:noFill/>
              <a:ln w="28575" cap="rnd" cmpd="sng" algn="ctr">
                <a:solidFill>
                  <a:schemeClr val="bg1">
                    <a:lumMod val="50000"/>
                  </a:schemeClr>
                </a:solidFill>
                <a:prstDash val="solid"/>
              </a:ln>
              <a:effectLst/>
            </p:spPr>
          </p:cxnSp>
        </p:grpSp>
        <p:grpSp>
          <p:nvGrpSpPr>
            <p:cNvPr id="441" name="Group 28"/>
            <p:cNvGrpSpPr>
              <a:grpSpLocks/>
            </p:cNvGrpSpPr>
            <p:nvPr/>
          </p:nvGrpSpPr>
          <p:grpSpPr bwMode="auto">
            <a:xfrm>
              <a:off x="2470751" y="1805319"/>
              <a:ext cx="37465" cy="37465"/>
              <a:chOff x="4553267" y="3050540"/>
              <a:chExt cx="37465" cy="37465"/>
            </a:xfrm>
          </p:grpSpPr>
          <p:cxnSp>
            <p:nvCxnSpPr>
              <p:cNvPr id="497" name="Straight Connector 510"/>
              <p:cNvCxnSpPr/>
              <p:nvPr/>
            </p:nvCxnSpPr>
            <p:spPr>
              <a:xfrm>
                <a:off x="4572307" y="3050223"/>
                <a:ext cx="0" cy="38100"/>
              </a:xfrm>
              <a:prstGeom prst="line">
                <a:avLst/>
              </a:prstGeom>
              <a:noFill/>
              <a:ln w="28575" cap="rnd" cmpd="sng" algn="ctr">
                <a:solidFill>
                  <a:schemeClr val="bg1">
                    <a:lumMod val="50000"/>
                  </a:schemeClr>
                </a:solidFill>
                <a:prstDash val="solid"/>
              </a:ln>
              <a:effectLst/>
            </p:spPr>
          </p:cxnSp>
          <p:cxnSp>
            <p:nvCxnSpPr>
              <p:cNvPr id="498" name="Straight Connector 511"/>
              <p:cNvCxnSpPr/>
              <p:nvPr/>
            </p:nvCxnSpPr>
            <p:spPr>
              <a:xfrm rot="16200000">
                <a:off x="4572307" y="3050226"/>
                <a:ext cx="0" cy="38095"/>
              </a:xfrm>
              <a:prstGeom prst="line">
                <a:avLst/>
              </a:prstGeom>
              <a:noFill/>
              <a:ln w="28575" cap="rnd" cmpd="sng" algn="ctr">
                <a:solidFill>
                  <a:schemeClr val="bg1">
                    <a:lumMod val="50000"/>
                  </a:schemeClr>
                </a:solidFill>
                <a:prstDash val="solid"/>
              </a:ln>
              <a:effectLst/>
            </p:spPr>
          </p:cxnSp>
        </p:grpSp>
        <p:grpSp>
          <p:nvGrpSpPr>
            <p:cNvPr id="442" name="Group 31"/>
            <p:cNvGrpSpPr>
              <a:grpSpLocks/>
            </p:cNvGrpSpPr>
            <p:nvPr/>
          </p:nvGrpSpPr>
          <p:grpSpPr bwMode="auto">
            <a:xfrm>
              <a:off x="2522186" y="1952004"/>
              <a:ext cx="37465" cy="37465"/>
              <a:chOff x="4553267" y="3050540"/>
              <a:chExt cx="37465" cy="37465"/>
            </a:xfrm>
          </p:grpSpPr>
          <p:cxnSp>
            <p:nvCxnSpPr>
              <p:cNvPr id="495" name="Straight Connector 508"/>
              <p:cNvCxnSpPr/>
              <p:nvPr/>
            </p:nvCxnSpPr>
            <p:spPr>
              <a:xfrm>
                <a:off x="4571666" y="3051175"/>
                <a:ext cx="0" cy="36513"/>
              </a:xfrm>
              <a:prstGeom prst="line">
                <a:avLst/>
              </a:prstGeom>
              <a:noFill/>
              <a:ln w="28575" cap="rnd" cmpd="sng" algn="ctr">
                <a:solidFill>
                  <a:schemeClr val="bg1">
                    <a:lumMod val="50000"/>
                  </a:schemeClr>
                </a:solidFill>
                <a:prstDash val="solid"/>
              </a:ln>
              <a:effectLst/>
            </p:spPr>
          </p:cxnSp>
          <p:cxnSp>
            <p:nvCxnSpPr>
              <p:cNvPr id="496" name="Straight Connector 509"/>
              <p:cNvCxnSpPr/>
              <p:nvPr/>
            </p:nvCxnSpPr>
            <p:spPr>
              <a:xfrm rot="16200000">
                <a:off x="4571666" y="3051178"/>
                <a:ext cx="0" cy="38095"/>
              </a:xfrm>
              <a:prstGeom prst="line">
                <a:avLst/>
              </a:prstGeom>
              <a:noFill/>
              <a:ln w="28575" cap="rnd" cmpd="sng" algn="ctr">
                <a:solidFill>
                  <a:schemeClr val="bg1">
                    <a:lumMod val="50000"/>
                  </a:schemeClr>
                </a:solidFill>
                <a:prstDash val="solid"/>
              </a:ln>
              <a:effectLst/>
            </p:spPr>
          </p:cxnSp>
        </p:grpSp>
        <p:grpSp>
          <p:nvGrpSpPr>
            <p:cNvPr id="443" name="Group 34"/>
            <p:cNvGrpSpPr>
              <a:grpSpLocks/>
            </p:cNvGrpSpPr>
            <p:nvPr/>
          </p:nvGrpSpPr>
          <p:grpSpPr bwMode="auto">
            <a:xfrm>
              <a:off x="2666966" y="2024394"/>
              <a:ext cx="37465" cy="37465"/>
              <a:chOff x="4553267" y="3050540"/>
              <a:chExt cx="37465" cy="37465"/>
            </a:xfrm>
          </p:grpSpPr>
          <p:cxnSp>
            <p:nvCxnSpPr>
              <p:cNvPr id="493" name="Straight Connector 506"/>
              <p:cNvCxnSpPr/>
              <p:nvPr/>
            </p:nvCxnSpPr>
            <p:spPr>
              <a:xfrm>
                <a:off x="4572917" y="3050223"/>
                <a:ext cx="0" cy="38100"/>
              </a:xfrm>
              <a:prstGeom prst="line">
                <a:avLst/>
              </a:prstGeom>
              <a:noFill/>
              <a:ln w="28575" cap="rnd" cmpd="sng" algn="ctr">
                <a:solidFill>
                  <a:schemeClr val="bg1">
                    <a:lumMod val="50000"/>
                  </a:schemeClr>
                </a:solidFill>
                <a:prstDash val="solid"/>
              </a:ln>
              <a:effectLst/>
            </p:spPr>
          </p:cxnSp>
          <p:cxnSp>
            <p:nvCxnSpPr>
              <p:cNvPr id="494" name="Straight Connector 507"/>
              <p:cNvCxnSpPr/>
              <p:nvPr/>
            </p:nvCxnSpPr>
            <p:spPr>
              <a:xfrm rot="16200000">
                <a:off x="4572124" y="3051018"/>
                <a:ext cx="0" cy="36508"/>
              </a:xfrm>
              <a:prstGeom prst="line">
                <a:avLst/>
              </a:prstGeom>
              <a:noFill/>
              <a:ln w="28575" cap="rnd" cmpd="sng" algn="ctr">
                <a:solidFill>
                  <a:schemeClr val="bg1">
                    <a:lumMod val="50000"/>
                  </a:schemeClr>
                </a:solidFill>
                <a:prstDash val="solid"/>
              </a:ln>
              <a:effectLst/>
            </p:spPr>
          </p:cxnSp>
        </p:grpSp>
        <p:grpSp>
          <p:nvGrpSpPr>
            <p:cNvPr id="444" name="Group 37"/>
            <p:cNvGrpSpPr>
              <a:grpSpLocks/>
            </p:cNvGrpSpPr>
            <p:nvPr/>
          </p:nvGrpSpPr>
          <p:grpSpPr bwMode="auto">
            <a:xfrm>
              <a:off x="2706971" y="2102499"/>
              <a:ext cx="37465" cy="37465"/>
              <a:chOff x="4553267" y="3050540"/>
              <a:chExt cx="37465" cy="37465"/>
            </a:xfrm>
          </p:grpSpPr>
          <p:cxnSp>
            <p:nvCxnSpPr>
              <p:cNvPr id="491" name="Straight Connector 504"/>
              <p:cNvCxnSpPr/>
              <p:nvPr/>
            </p:nvCxnSpPr>
            <p:spPr>
              <a:xfrm>
                <a:off x="4572595" y="3049905"/>
                <a:ext cx="0" cy="38100"/>
              </a:xfrm>
              <a:prstGeom prst="line">
                <a:avLst/>
              </a:prstGeom>
              <a:noFill/>
              <a:ln w="28575" cap="rnd" cmpd="sng" algn="ctr">
                <a:solidFill>
                  <a:schemeClr val="bg1">
                    <a:lumMod val="50000"/>
                  </a:schemeClr>
                </a:solidFill>
                <a:prstDash val="solid"/>
              </a:ln>
              <a:effectLst/>
            </p:spPr>
          </p:cxnSp>
          <p:cxnSp>
            <p:nvCxnSpPr>
              <p:cNvPr id="492" name="Straight Connector 505"/>
              <p:cNvCxnSpPr/>
              <p:nvPr/>
            </p:nvCxnSpPr>
            <p:spPr>
              <a:xfrm rot="16200000">
                <a:off x="4571802" y="3050701"/>
                <a:ext cx="0" cy="36507"/>
              </a:xfrm>
              <a:prstGeom prst="line">
                <a:avLst/>
              </a:prstGeom>
              <a:noFill/>
              <a:ln w="28575" cap="rnd" cmpd="sng" algn="ctr">
                <a:solidFill>
                  <a:schemeClr val="bg1">
                    <a:lumMod val="50000"/>
                  </a:schemeClr>
                </a:solidFill>
                <a:prstDash val="solid"/>
              </a:ln>
              <a:effectLst/>
            </p:spPr>
          </p:cxnSp>
        </p:grpSp>
        <p:grpSp>
          <p:nvGrpSpPr>
            <p:cNvPr id="445" name="Group 40"/>
            <p:cNvGrpSpPr>
              <a:grpSpLocks/>
            </p:cNvGrpSpPr>
            <p:nvPr/>
          </p:nvGrpSpPr>
          <p:grpSpPr bwMode="auto">
            <a:xfrm>
              <a:off x="2710781" y="2176794"/>
              <a:ext cx="37465" cy="37465"/>
              <a:chOff x="4553267" y="3050540"/>
              <a:chExt cx="37465" cy="37465"/>
            </a:xfrm>
          </p:grpSpPr>
          <p:cxnSp>
            <p:nvCxnSpPr>
              <p:cNvPr id="489" name="Straight Connector 502"/>
              <p:cNvCxnSpPr/>
              <p:nvPr/>
            </p:nvCxnSpPr>
            <p:spPr>
              <a:xfrm>
                <a:off x="4571960" y="3050223"/>
                <a:ext cx="0" cy="38100"/>
              </a:xfrm>
              <a:prstGeom prst="line">
                <a:avLst/>
              </a:prstGeom>
              <a:noFill/>
              <a:ln w="28575" cap="rnd" cmpd="sng" algn="ctr">
                <a:solidFill>
                  <a:schemeClr val="bg1">
                    <a:lumMod val="50000"/>
                  </a:schemeClr>
                </a:solidFill>
                <a:prstDash val="solid"/>
              </a:ln>
              <a:effectLst/>
            </p:spPr>
          </p:cxnSp>
          <p:cxnSp>
            <p:nvCxnSpPr>
              <p:cNvPr id="490" name="Straight Connector 503"/>
              <p:cNvCxnSpPr/>
              <p:nvPr/>
            </p:nvCxnSpPr>
            <p:spPr>
              <a:xfrm rot="16200000">
                <a:off x="4571960" y="3050226"/>
                <a:ext cx="0" cy="38095"/>
              </a:xfrm>
              <a:prstGeom prst="line">
                <a:avLst/>
              </a:prstGeom>
              <a:noFill/>
              <a:ln w="28575" cap="rnd" cmpd="sng" algn="ctr">
                <a:solidFill>
                  <a:schemeClr val="bg1">
                    <a:lumMod val="50000"/>
                  </a:schemeClr>
                </a:solidFill>
                <a:prstDash val="solid"/>
              </a:ln>
              <a:effectLst/>
            </p:spPr>
          </p:cxnSp>
        </p:grpSp>
        <p:grpSp>
          <p:nvGrpSpPr>
            <p:cNvPr id="446" name="Group 43"/>
            <p:cNvGrpSpPr>
              <a:grpSpLocks/>
            </p:cNvGrpSpPr>
            <p:nvPr/>
          </p:nvGrpSpPr>
          <p:grpSpPr bwMode="auto">
            <a:xfrm>
              <a:off x="2739356" y="2176794"/>
              <a:ext cx="37465" cy="37465"/>
              <a:chOff x="4553267" y="3050540"/>
              <a:chExt cx="37465" cy="37465"/>
            </a:xfrm>
          </p:grpSpPr>
          <p:cxnSp>
            <p:nvCxnSpPr>
              <p:cNvPr id="487" name="Straight Connector 500"/>
              <p:cNvCxnSpPr/>
              <p:nvPr/>
            </p:nvCxnSpPr>
            <p:spPr>
              <a:xfrm>
                <a:off x="4571956" y="3050223"/>
                <a:ext cx="0" cy="38100"/>
              </a:xfrm>
              <a:prstGeom prst="line">
                <a:avLst/>
              </a:prstGeom>
              <a:noFill/>
              <a:ln w="28575" cap="rnd" cmpd="sng" algn="ctr">
                <a:solidFill>
                  <a:schemeClr val="bg1">
                    <a:lumMod val="50000"/>
                  </a:schemeClr>
                </a:solidFill>
                <a:prstDash val="solid"/>
              </a:ln>
              <a:effectLst/>
            </p:spPr>
          </p:cxnSp>
          <p:cxnSp>
            <p:nvCxnSpPr>
              <p:cNvPr id="488" name="Straight Connector 501"/>
              <p:cNvCxnSpPr/>
              <p:nvPr/>
            </p:nvCxnSpPr>
            <p:spPr>
              <a:xfrm rot="16200000">
                <a:off x="4571956" y="3050226"/>
                <a:ext cx="0" cy="38095"/>
              </a:xfrm>
              <a:prstGeom prst="line">
                <a:avLst/>
              </a:prstGeom>
              <a:noFill/>
              <a:ln w="28575" cap="rnd" cmpd="sng" algn="ctr">
                <a:solidFill>
                  <a:schemeClr val="bg1">
                    <a:lumMod val="50000"/>
                  </a:schemeClr>
                </a:solidFill>
                <a:prstDash val="solid"/>
              </a:ln>
              <a:effectLst/>
            </p:spPr>
          </p:cxnSp>
        </p:grpSp>
        <p:grpSp>
          <p:nvGrpSpPr>
            <p:cNvPr id="447" name="Group 46"/>
            <p:cNvGrpSpPr>
              <a:grpSpLocks/>
            </p:cNvGrpSpPr>
            <p:nvPr/>
          </p:nvGrpSpPr>
          <p:grpSpPr bwMode="auto">
            <a:xfrm>
              <a:off x="2750786" y="2176794"/>
              <a:ext cx="37465" cy="37465"/>
              <a:chOff x="4553267" y="3050540"/>
              <a:chExt cx="37465" cy="37465"/>
            </a:xfrm>
          </p:grpSpPr>
          <p:cxnSp>
            <p:nvCxnSpPr>
              <p:cNvPr id="485" name="Straight Connector 498"/>
              <p:cNvCxnSpPr/>
              <p:nvPr/>
            </p:nvCxnSpPr>
            <p:spPr>
              <a:xfrm>
                <a:off x="4571637" y="3050223"/>
                <a:ext cx="0" cy="38100"/>
              </a:xfrm>
              <a:prstGeom prst="line">
                <a:avLst/>
              </a:prstGeom>
              <a:noFill/>
              <a:ln w="28575" cap="rnd" cmpd="sng" algn="ctr">
                <a:solidFill>
                  <a:schemeClr val="bg1">
                    <a:lumMod val="50000"/>
                  </a:schemeClr>
                </a:solidFill>
                <a:prstDash val="solid"/>
              </a:ln>
              <a:effectLst/>
            </p:spPr>
          </p:cxnSp>
          <p:cxnSp>
            <p:nvCxnSpPr>
              <p:cNvPr id="486" name="Straight Connector 499"/>
              <p:cNvCxnSpPr/>
              <p:nvPr/>
            </p:nvCxnSpPr>
            <p:spPr>
              <a:xfrm rot="16200000">
                <a:off x="4571637" y="3050226"/>
                <a:ext cx="0" cy="38095"/>
              </a:xfrm>
              <a:prstGeom prst="line">
                <a:avLst/>
              </a:prstGeom>
              <a:noFill/>
              <a:ln w="28575" cap="rnd" cmpd="sng" algn="ctr">
                <a:solidFill>
                  <a:schemeClr val="bg1">
                    <a:lumMod val="50000"/>
                  </a:schemeClr>
                </a:solidFill>
                <a:prstDash val="solid"/>
              </a:ln>
              <a:effectLst/>
            </p:spPr>
          </p:cxnSp>
        </p:grpSp>
        <p:grpSp>
          <p:nvGrpSpPr>
            <p:cNvPr id="448" name="Group 49"/>
            <p:cNvGrpSpPr>
              <a:grpSpLocks/>
            </p:cNvGrpSpPr>
            <p:nvPr/>
          </p:nvGrpSpPr>
          <p:grpSpPr bwMode="auto">
            <a:xfrm>
              <a:off x="2756501" y="2222514"/>
              <a:ext cx="37465" cy="37465"/>
              <a:chOff x="4553267" y="3050540"/>
              <a:chExt cx="37465" cy="37465"/>
            </a:xfrm>
          </p:grpSpPr>
          <p:cxnSp>
            <p:nvCxnSpPr>
              <p:cNvPr id="483" name="Straight Connector 496"/>
              <p:cNvCxnSpPr/>
              <p:nvPr/>
            </p:nvCxnSpPr>
            <p:spPr>
              <a:xfrm>
                <a:off x="4572270" y="3050540"/>
                <a:ext cx="0" cy="38100"/>
              </a:xfrm>
              <a:prstGeom prst="line">
                <a:avLst/>
              </a:prstGeom>
              <a:noFill/>
              <a:ln w="28575" cap="rnd" cmpd="sng" algn="ctr">
                <a:solidFill>
                  <a:schemeClr val="bg1">
                    <a:lumMod val="50000"/>
                  </a:schemeClr>
                </a:solidFill>
                <a:prstDash val="solid"/>
              </a:ln>
              <a:effectLst/>
            </p:spPr>
          </p:cxnSp>
          <p:cxnSp>
            <p:nvCxnSpPr>
              <p:cNvPr id="484" name="Straight Connector 497"/>
              <p:cNvCxnSpPr/>
              <p:nvPr/>
            </p:nvCxnSpPr>
            <p:spPr>
              <a:xfrm rot="16200000">
                <a:off x="4572270" y="3050543"/>
                <a:ext cx="0" cy="38095"/>
              </a:xfrm>
              <a:prstGeom prst="line">
                <a:avLst/>
              </a:prstGeom>
              <a:noFill/>
              <a:ln w="28575" cap="rnd" cmpd="sng" algn="ctr">
                <a:solidFill>
                  <a:schemeClr val="bg1">
                    <a:lumMod val="50000"/>
                  </a:schemeClr>
                </a:solidFill>
                <a:prstDash val="solid"/>
              </a:ln>
              <a:effectLst/>
            </p:spPr>
          </p:cxnSp>
        </p:grpSp>
        <p:grpSp>
          <p:nvGrpSpPr>
            <p:cNvPr id="449" name="Group 52"/>
            <p:cNvGrpSpPr>
              <a:grpSpLocks/>
            </p:cNvGrpSpPr>
            <p:nvPr/>
          </p:nvGrpSpPr>
          <p:grpSpPr bwMode="auto">
            <a:xfrm>
              <a:off x="2811746" y="2266329"/>
              <a:ext cx="37465" cy="37465"/>
              <a:chOff x="4553267" y="3050540"/>
              <a:chExt cx="37465" cy="37465"/>
            </a:xfrm>
          </p:grpSpPr>
          <p:cxnSp>
            <p:nvCxnSpPr>
              <p:cNvPr id="481" name="Straight Connector 494"/>
              <p:cNvCxnSpPr/>
              <p:nvPr/>
            </p:nvCxnSpPr>
            <p:spPr>
              <a:xfrm>
                <a:off x="4572581" y="3051175"/>
                <a:ext cx="0" cy="36513"/>
              </a:xfrm>
              <a:prstGeom prst="line">
                <a:avLst/>
              </a:prstGeom>
              <a:noFill/>
              <a:ln w="28575" cap="rnd" cmpd="sng" algn="ctr">
                <a:solidFill>
                  <a:schemeClr val="bg1">
                    <a:lumMod val="50000"/>
                  </a:schemeClr>
                </a:solidFill>
                <a:prstDash val="solid"/>
              </a:ln>
              <a:effectLst/>
            </p:spPr>
          </p:cxnSp>
          <p:cxnSp>
            <p:nvCxnSpPr>
              <p:cNvPr id="482" name="Straight Connector 495"/>
              <p:cNvCxnSpPr/>
              <p:nvPr/>
            </p:nvCxnSpPr>
            <p:spPr>
              <a:xfrm rot="16200000">
                <a:off x="4571788" y="3051971"/>
                <a:ext cx="0" cy="36507"/>
              </a:xfrm>
              <a:prstGeom prst="line">
                <a:avLst/>
              </a:prstGeom>
              <a:noFill/>
              <a:ln w="28575" cap="rnd" cmpd="sng" algn="ctr">
                <a:solidFill>
                  <a:schemeClr val="bg1">
                    <a:lumMod val="50000"/>
                  </a:schemeClr>
                </a:solidFill>
                <a:prstDash val="solid"/>
              </a:ln>
              <a:effectLst/>
            </p:spPr>
          </p:cxnSp>
        </p:grpSp>
        <p:grpSp>
          <p:nvGrpSpPr>
            <p:cNvPr id="450" name="Group 55"/>
            <p:cNvGrpSpPr>
              <a:grpSpLocks/>
            </p:cNvGrpSpPr>
            <p:nvPr/>
          </p:nvGrpSpPr>
          <p:grpSpPr bwMode="auto">
            <a:xfrm>
              <a:off x="2857466" y="2310144"/>
              <a:ext cx="37465" cy="37465"/>
              <a:chOff x="4553267" y="3050540"/>
              <a:chExt cx="37465" cy="37465"/>
            </a:xfrm>
          </p:grpSpPr>
          <p:cxnSp>
            <p:nvCxnSpPr>
              <p:cNvPr id="479" name="Straight Connector 492"/>
              <p:cNvCxnSpPr/>
              <p:nvPr/>
            </p:nvCxnSpPr>
            <p:spPr>
              <a:xfrm>
                <a:off x="4572892" y="3050223"/>
                <a:ext cx="0" cy="38100"/>
              </a:xfrm>
              <a:prstGeom prst="line">
                <a:avLst/>
              </a:prstGeom>
              <a:noFill/>
              <a:ln w="28575" cap="rnd" cmpd="sng" algn="ctr">
                <a:solidFill>
                  <a:schemeClr val="bg1">
                    <a:lumMod val="50000"/>
                  </a:schemeClr>
                </a:solidFill>
                <a:prstDash val="solid"/>
              </a:ln>
              <a:effectLst/>
            </p:spPr>
          </p:cxnSp>
          <p:cxnSp>
            <p:nvCxnSpPr>
              <p:cNvPr id="480" name="Straight Connector 493"/>
              <p:cNvCxnSpPr/>
              <p:nvPr/>
            </p:nvCxnSpPr>
            <p:spPr>
              <a:xfrm rot="16200000">
                <a:off x="4572099" y="3051018"/>
                <a:ext cx="0" cy="36508"/>
              </a:xfrm>
              <a:prstGeom prst="line">
                <a:avLst/>
              </a:prstGeom>
              <a:noFill/>
              <a:ln w="28575" cap="rnd" cmpd="sng" algn="ctr">
                <a:solidFill>
                  <a:schemeClr val="bg1">
                    <a:lumMod val="50000"/>
                  </a:schemeClr>
                </a:solidFill>
                <a:prstDash val="solid"/>
              </a:ln>
              <a:effectLst/>
            </p:spPr>
          </p:cxnSp>
        </p:grpSp>
        <p:grpSp>
          <p:nvGrpSpPr>
            <p:cNvPr id="451" name="Group 58"/>
            <p:cNvGrpSpPr>
              <a:grpSpLocks/>
            </p:cNvGrpSpPr>
            <p:nvPr/>
          </p:nvGrpSpPr>
          <p:grpSpPr bwMode="auto">
            <a:xfrm>
              <a:off x="2912711" y="2489214"/>
              <a:ext cx="37465" cy="37465"/>
              <a:chOff x="4553267" y="3050540"/>
              <a:chExt cx="37465" cy="37465"/>
            </a:xfrm>
          </p:grpSpPr>
          <p:cxnSp>
            <p:nvCxnSpPr>
              <p:cNvPr id="477" name="Straight Connector 490"/>
              <p:cNvCxnSpPr/>
              <p:nvPr/>
            </p:nvCxnSpPr>
            <p:spPr>
              <a:xfrm>
                <a:off x="4571616" y="3050540"/>
                <a:ext cx="0" cy="38100"/>
              </a:xfrm>
              <a:prstGeom prst="line">
                <a:avLst/>
              </a:prstGeom>
              <a:noFill/>
              <a:ln w="28575" cap="rnd" cmpd="sng" algn="ctr">
                <a:solidFill>
                  <a:schemeClr val="bg1">
                    <a:lumMod val="50000"/>
                  </a:schemeClr>
                </a:solidFill>
                <a:prstDash val="solid"/>
              </a:ln>
              <a:effectLst/>
            </p:spPr>
          </p:cxnSp>
          <p:cxnSp>
            <p:nvCxnSpPr>
              <p:cNvPr id="478" name="Straight Connector 491"/>
              <p:cNvCxnSpPr/>
              <p:nvPr/>
            </p:nvCxnSpPr>
            <p:spPr>
              <a:xfrm rot="16200000">
                <a:off x="4571616" y="3050543"/>
                <a:ext cx="0" cy="38095"/>
              </a:xfrm>
              <a:prstGeom prst="line">
                <a:avLst/>
              </a:prstGeom>
              <a:noFill/>
              <a:ln w="28575" cap="rnd" cmpd="sng" algn="ctr">
                <a:solidFill>
                  <a:schemeClr val="bg1">
                    <a:lumMod val="50000"/>
                  </a:schemeClr>
                </a:solidFill>
                <a:prstDash val="solid"/>
              </a:ln>
              <a:effectLst/>
            </p:spPr>
          </p:cxnSp>
        </p:grpSp>
        <p:grpSp>
          <p:nvGrpSpPr>
            <p:cNvPr id="452" name="Group 61"/>
            <p:cNvGrpSpPr>
              <a:grpSpLocks/>
            </p:cNvGrpSpPr>
            <p:nvPr/>
          </p:nvGrpSpPr>
          <p:grpSpPr bwMode="auto">
            <a:xfrm>
              <a:off x="2956526" y="2740674"/>
              <a:ext cx="37465" cy="37465"/>
              <a:chOff x="4553267" y="3050540"/>
              <a:chExt cx="37465" cy="37465"/>
            </a:xfrm>
          </p:grpSpPr>
          <p:cxnSp>
            <p:nvCxnSpPr>
              <p:cNvPr id="475" name="Straight Connector 488"/>
              <p:cNvCxnSpPr/>
              <p:nvPr/>
            </p:nvCxnSpPr>
            <p:spPr>
              <a:xfrm>
                <a:off x="4572245" y="3049905"/>
                <a:ext cx="0" cy="38100"/>
              </a:xfrm>
              <a:prstGeom prst="line">
                <a:avLst/>
              </a:prstGeom>
              <a:noFill/>
              <a:ln w="28575" cap="rnd" cmpd="sng" algn="ctr">
                <a:solidFill>
                  <a:schemeClr val="bg1">
                    <a:lumMod val="50000"/>
                  </a:schemeClr>
                </a:solidFill>
                <a:prstDash val="solid"/>
              </a:ln>
              <a:effectLst/>
            </p:spPr>
          </p:cxnSp>
          <p:cxnSp>
            <p:nvCxnSpPr>
              <p:cNvPr id="476" name="Straight Connector 489"/>
              <p:cNvCxnSpPr/>
              <p:nvPr/>
            </p:nvCxnSpPr>
            <p:spPr>
              <a:xfrm rot="16200000">
                <a:off x="4572245" y="3049908"/>
                <a:ext cx="0" cy="38095"/>
              </a:xfrm>
              <a:prstGeom prst="line">
                <a:avLst/>
              </a:prstGeom>
              <a:noFill/>
              <a:ln w="28575" cap="rnd" cmpd="sng" algn="ctr">
                <a:solidFill>
                  <a:schemeClr val="bg1">
                    <a:lumMod val="50000"/>
                  </a:schemeClr>
                </a:solidFill>
                <a:prstDash val="solid"/>
              </a:ln>
              <a:effectLst/>
            </p:spPr>
          </p:cxnSp>
        </p:grpSp>
        <p:grpSp>
          <p:nvGrpSpPr>
            <p:cNvPr id="453" name="Group 64"/>
            <p:cNvGrpSpPr>
              <a:grpSpLocks/>
            </p:cNvGrpSpPr>
            <p:nvPr/>
          </p:nvGrpSpPr>
          <p:grpSpPr bwMode="auto">
            <a:xfrm>
              <a:off x="3019391" y="2843544"/>
              <a:ext cx="37465" cy="37465"/>
              <a:chOff x="4553267" y="3050540"/>
              <a:chExt cx="37465" cy="37465"/>
            </a:xfrm>
          </p:grpSpPr>
          <p:cxnSp>
            <p:nvCxnSpPr>
              <p:cNvPr id="473" name="Straight Connector 486"/>
              <p:cNvCxnSpPr/>
              <p:nvPr/>
            </p:nvCxnSpPr>
            <p:spPr>
              <a:xfrm>
                <a:off x="4572872" y="3050223"/>
                <a:ext cx="0" cy="38100"/>
              </a:xfrm>
              <a:prstGeom prst="line">
                <a:avLst/>
              </a:prstGeom>
              <a:noFill/>
              <a:ln w="28575" cap="rnd" cmpd="sng" algn="ctr">
                <a:solidFill>
                  <a:schemeClr val="bg1">
                    <a:lumMod val="50000"/>
                  </a:schemeClr>
                </a:solidFill>
                <a:prstDash val="solid"/>
              </a:ln>
              <a:effectLst/>
            </p:spPr>
          </p:cxnSp>
          <p:cxnSp>
            <p:nvCxnSpPr>
              <p:cNvPr id="474" name="Straight Connector 487"/>
              <p:cNvCxnSpPr/>
              <p:nvPr/>
            </p:nvCxnSpPr>
            <p:spPr>
              <a:xfrm rot="16200000">
                <a:off x="4572079" y="3051018"/>
                <a:ext cx="0" cy="36508"/>
              </a:xfrm>
              <a:prstGeom prst="line">
                <a:avLst/>
              </a:prstGeom>
              <a:noFill/>
              <a:ln w="28575" cap="rnd" cmpd="sng" algn="ctr">
                <a:solidFill>
                  <a:schemeClr val="bg1">
                    <a:lumMod val="50000"/>
                  </a:schemeClr>
                </a:solidFill>
                <a:prstDash val="solid"/>
              </a:ln>
              <a:effectLst/>
            </p:spPr>
          </p:cxnSp>
        </p:grpSp>
        <p:grpSp>
          <p:nvGrpSpPr>
            <p:cNvPr id="454" name="Group 67"/>
            <p:cNvGrpSpPr>
              <a:grpSpLocks/>
            </p:cNvGrpSpPr>
            <p:nvPr/>
          </p:nvGrpSpPr>
          <p:grpSpPr bwMode="auto">
            <a:xfrm>
              <a:off x="3049871" y="2946414"/>
              <a:ext cx="37465" cy="37465"/>
              <a:chOff x="4553267" y="3050540"/>
              <a:chExt cx="37465" cy="37465"/>
            </a:xfrm>
          </p:grpSpPr>
          <p:cxnSp>
            <p:nvCxnSpPr>
              <p:cNvPr id="471" name="Straight Connector 484"/>
              <p:cNvCxnSpPr/>
              <p:nvPr/>
            </p:nvCxnSpPr>
            <p:spPr>
              <a:xfrm>
                <a:off x="4572551" y="3050540"/>
                <a:ext cx="0" cy="38100"/>
              </a:xfrm>
              <a:prstGeom prst="line">
                <a:avLst/>
              </a:prstGeom>
              <a:noFill/>
              <a:ln w="28575" cap="rnd" cmpd="sng" algn="ctr">
                <a:solidFill>
                  <a:schemeClr val="bg1">
                    <a:lumMod val="50000"/>
                  </a:schemeClr>
                </a:solidFill>
                <a:prstDash val="solid"/>
              </a:ln>
              <a:effectLst/>
            </p:spPr>
          </p:cxnSp>
          <p:cxnSp>
            <p:nvCxnSpPr>
              <p:cNvPr id="472" name="Straight Connector 485"/>
              <p:cNvCxnSpPr/>
              <p:nvPr/>
            </p:nvCxnSpPr>
            <p:spPr>
              <a:xfrm rot="16200000">
                <a:off x="4571758" y="3051336"/>
                <a:ext cx="0" cy="36507"/>
              </a:xfrm>
              <a:prstGeom prst="line">
                <a:avLst/>
              </a:prstGeom>
              <a:noFill/>
              <a:ln w="28575" cap="rnd" cmpd="sng" algn="ctr">
                <a:solidFill>
                  <a:schemeClr val="bg1">
                    <a:lumMod val="50000"/>
                  </a:schemeClr>
                </a:solidFill>
                <a:prstDash val="solid"/>
              </a:ln>
              <a:effectLst/>
            </p:spPr>
          </p:cxnSp>
        </p:grpSp>
        <p:grpSp>
          <p:nvGrpSpPr>
            <p:cNvPr id="455" name="Group 70"/>
            <p:cNvGrpSpPr>
              <a:grpSpLocks/>
            </p:cNvGrpSpPr>
            <p:nvPr/>
          </p:nvGrpSpPr>
          <p:grpSpPr bwMode="auto">
            <a:xfrm>
              <a:off x="3173696" y="3051189"/>
              <a:ext cx="37465" cy="37465"/>
              <a:chOff x="4553267" y="3050540"/>
              <a:chExt cx="37465" cy="37465"/>
            </a:xfrm>
          </p:grpSpPr>
          <p:cxnSp>
            <p:nvCxnSpPr>
              <p:cNvPr id="469" name="Straight Connector 482"/>
              <p:cNvCxnSpPr/>
              <p:nvPr/>
            </p:nvCxnSpPr>
            <p:spPr>
              <a:xfrm>
                <a:off x="4572535" y="3050540"/>
                <a:ext cx="0" cy="38100"/>
              </a:xfrm>
              <a:prstGeom prst="line">
                <a:avLst/>
              </a:prstGeom>
              <a:noFill/>
              <a:ln w="28575" cap="rnd" cmpd="sng" algn="ctr">
                <a:solidFill>
                  <a:schemeClr val="bg1">
                    <a:lumMod val="50000"/>
                  </a:schemeClr>
                </a:solidFill>
                <a:prstDash val="solid"/>
              </a:ln>
              <a:effectLst/>
            </p:spPr>
          </p:cxnSp>
          <p:cxnSp>
            <p:nvCxnSpPr>
              <p:cNvPr id="470" name="Straight Connector 483"/>
              <p:cNvCxnSpPr/>
              <p:nvPr/>
            </p:nvCxnSpPr>
            <p:spPr>
              <a:xfrm rot="16200000">
                <a:off x="4571742" y="3051336"/>
                <a:ext cx="0" cy="36507"/>
              </a:xfrm>
              <a:prstGeom prst="line">
                <a:avLst/>
              </a:prstGeom>
              <a:noFill/>
              <a:ln w="28575" cap="rnd" cmpd="sng" algn="ctr">
                <a:solidFill>
                  <a:schemeClr val="bg1">
                    <a:lumMod val="50000"/>
                  </a:schemeClr>
                </a:solidFill>
                <a:prstDash val="solid"/>
              </a:ln>
              <a:effectLst/>
            </p:spPr>
          </p:cxnSp>
        </p:grpSp>
        <p:grpSp>
          <p:nvGrpSpPr>
            <p:cNvPr id="456" name="Group 73"/>
            <p:cNvGrpSpPr>
              <a:grpSpLocks/>
            </p:cNvGrpSpPr>
            <p:nvPr/>
          </p:nvGrpSpPr>
          <p:grpSpPr bwMode="auto">
            <a:xfrm>
              <a:off x="3188936" y="3108339"/>
              <a:ext cx="37465" cy="37465"/>
              <a:chOff x="4553267" y="3050540"/>
              <a:chExt cx="37465" cy="37465"/>
            </a:xfrm>
          </p:grpSpPr>
          <p:cxnSp>
            <p:nvCxnSpPr>
              <p:cNvPr id="467" name="Straight Connector 480"/>
              <p:cNvCxnSpPr/>
              <p:nvPr/>
            </p:nvCxnSpPr>
            <p:spPr>
              <a:xfrm>
                <a:off x="4571581" y="3050540"/>
                <a:ext cx="0" cy="38100"/>
              </a:xfrm>
              <a:prstGeom prst="line">
                <a:avLst/>
              </a:prstGeom>
              <a:noFill/>
              <a:ln w="28575" cap="rnd" cmpd="sng" algn="ctr">
                <a:solidFill>
                  <a:schemeClr val="bg1">
                    <a:lumMod val="50000"/>
                  </a:schemeClr>
                </a:solidFill>
                <a:prstDash val="solid"/>
              </a:ln>
              <a:effectLst/>
            </p:spPr>
          </p:cxnSp>
          <p:cxnSp>
            <p:nvCxnSpPr>
              <p:cNvPr id="468" name="Straight Connector 481"/>
              <p:cNvCxnSpPr/>
              <p:nvPr/>
            </p:nvCxnSpPr>
            <p:spPr>
              <a:xfrm rot="16200000">
                <a:off x="4571581" y="3050543"/>
                <a:ext cx="0" cy="38095"/>
              </a:xfrm>
              <a:prstGeom prst="line">
                <a:avLst/>
              </a:prstGeom>
              <a:noFill/>
              <a:ln w="28575" cap="rnd" cmpd="sng" algn="ctr">
                <a:solidFill>
                  <a:schemeClr val="bg1">
                    <a:lumMod val="50000"/>
                  </a:schemeClr>
                </a:solidFill>
                <a:prstDash val="solid"/>
              </a:ln>
              <a:effectLst/>
            </p:spPr>
          </p:cxnSp>
        </p:grpSp>
        <p:grpSp>
          <p:nvGrpSpPr>
            <p:cNvPr id="457" name="Group 76"/>
            <p:cNvGrpSpPr>
              <a:grpSpLocks/>
            </p:cNvGrpSpPr>
            <p:nvPr/>
          </p:nvGrpSpPr>
          <p:grpSpPr bwMode="auto">
            <a:xfrm>
              <a:off x="3417536" y="3750324"/>
              <a:ext cx="37465" cy="37465"/>
              <a:chOff x="4553267" y="3050540"/>
              <a:chExt cx="37465" cy="37465"/>
            </a:xfrm>
          </p:grpSpPr>
          <p:cxnSp>
            <p:nvCxnSpPr>
              <p:cNvPr id="465" name="Straight Connector 478"/>
              <p:cNvCxnSpPr/>
              <p:nvPr/>
            </p:nvCxnSpPr>
            <p:spPr>
              <a:xfrm>
                <a:off x="4571552" y="3049905"/>
                <a:ext cx="0" cy="38100"/>
              </a:xfrm>
              <a:prstGeom prst="line">
                <a:avLst/>
              </a:prstGeom>
              <a:noFill/>
              <a:ln w="28575" cap="rnd" cmpd="sng" algn="ctr">
                <a:solidFill>
                  <a:schemeClr val="bg1">
                    <a:lumMod val="50000"/>
                  </a:schemeClr>
                </a:solidFill>
                <a:prstDash val="solid"/>
              </a:ln>
              <a:effectLst/>
            </p:spPr>
          </p:cxnSp>
          <p:cxnSp>
            <p:nvCxnSpPr>
              <p:cNvPr id="466" name="Straight Connector 479"/>
              <p:cNvCxnSpPr/>
              <p:nvPr/>
            </p:nvCxnSpPr>
            <p:spPr>
              <a:xfrm rot="16200000">
                <a:off x="4571552" y="3049908"/>
                <a:ext cx="0" cy="38095"/>
              </a:xfrm>
              <a:prstGeom prst="line">
                <a:avLst/>
              </a:prstGeom>
              <a:noFill/>
              <a:ln w="28575" cap="rnd" cmpd="sng" algn="ctr">
                <a:solidFill>
                  <a:schemeClr val="bg1">
                    <a:lumMod val="50000"/>
                  </a:schemeClr>
                </a:solidFill>
                <a:prstDash val="solid"/>
              </a:ln>
              <a:effectLst/>
            </p:spPr>
          </p:cxnSp>
        </p:grpSp>
        <p:grpSp>
          <p:nvGrpSpPr>
            <p:cNvPr id="458" name="Group 79"/>
            <p:cNvGrpSpPr>
              <a:grpSpLocks/>
            </p:cNvGrpSpPr>
            <p:nvPr/>
          </p:nvGrpSpPr>
          <p:grpSpPr bwMode="auto">
            <a:xfrm>
              <a:off x="3684236" y="4239909"/>
              <a:ext cx="37465" cy="37465"/>
              <a:chOff x="4553267" y="3050540"/>
              <a:chExt cx="37465" cy="37465"/>
            </a:xfrm>
          </p:grpSpPr>
          <p:cxnSp>
            <p:nvCxnSpPr>
              <p:cNvPr id="463" name="Straight Connector 476"/>
              <p:cNvCxnSpPr/>
              <p:nvPr/>
            </p:nvCxnSpPr>
            <p:spPr>
              <a:xfrm>
                <a:off x="4573105" y="3050858"/>
                <a:ext cx="0" cy="36512"/>
              </a:xfrm>
              <a:prstGeom prst="line">
                <a:avLst/>
              </a:prstGeom>
              <a:noFill/>
              <a:ln w="28575" cap="rnd" cmpd="sng" algn="ctr">
                <a:solidFill>
                  <a:schemeClr val="bg1">
                    <a:lumMod val="50000"/>
                  </a:schemeClr>
                </a:solidFill>
                <a:prstDash val="solid"/>
              </a:ln>
              <a:effectLst/>
            </p:spPr>
          </p:cxnSp>
          <p:cxnSp>
            <p:nvCxnSpPr>
              <p:cNvPr id="464" name="Straight Connector 477"/>
              <p:cNvCxnSpPr/>
              <p:nvPr/>
            </p:nvCxnSpPr>
            <p:spPr>
              <a:xfrm rot="16200000">
                <a:off x="4572311" y="3051654"/>
                <a:ext cx="0" cy="36507"/>
              </a:xfrm>
              <a:prstGeom prst="line">
                <a:avLst/>
              </a:prstGeom>
              <a:noFill/>
              <a:ln w="28575" cap="rnd" cmpd="sng" algn="ctr">
                <a:solidFill>
                  <a:schemeClr val="bg1">
                    <a:lumMod val="50000"/>
                  </a:schemeClr>
                </a:solidFill>
                <a:prstDash val="solid"/>
              </a:ln>
              <a:effectLst/>
            </p:spPr>
          </p:cxnSp>
        </p:grpSp>
        <p:grpSp>
          <p:nvGrpSpPr>
            <p:cNvPr id="459" name="Group 82"/>
            <p:cNvGrpSpPr>
              <a:grpSpLocks/>
            </p:cNvGrpSpPr>
            <p:nvPr/>
          </p:nvGrpSpPr>
          <p:grpSpPr bwMode="auto">
            <a:xfrm>
              <a:off x="4863431" y="4664724"/>
              <a:ext cx="37465" cy="37465"/>
              <a:chOff x="4553267" y="3050540"/>
              <a:chExt cx="37465" cy="37465"/>
            </a:xfrm>
          </p:grpSpPr>
          <p:cxnSp>
            <p:nvCxnSpPr>
              <p:cNvPr id="461" name="Straight Connector 474"/>
              <p:cNvCxnSpPr/>
              <p:nvPr/>
            </p:nvCxnSpPr>
            <p:spPr>
              <a:xfrm>
                <a:off x="4571685" y="3049905"/>
                <a:ext cx="0" cy="38100"/>
              </a:xfrm>
              <a:prstGeom prst="line">
                <a:avLst/>
              </a:prstGeom>
              <a:noFill/>
              <a:ln w="28575" cap="rnd" cmpd="sng" algn="ctr">
                <a:solidFill>
                  <a:schemeClr val="bg1">
                    <a:lumMod val="50000"/>
                  </a:schemeClr>
                </a:solidFill>
                <a:prstDash val="solid"/>
              </a:ln>
              <a:effectLst/>
            </p:spPr>
          </p:cxnSp>
          <p:cxnSp>
            <p:nvCxnSpPr>
              <p:cNvPr id="462" name="Straight Connector 475"/>
              <p:cNvCxnSpPr/>
              <p:nvPr/>
            </p:nvCxnSpPr>
            <p:spPr>
              <a:xfrm rot="16200000">
                <a:off x="4571685" y="3049908"/>
                <a:ext cx="0" cy="38095"/>
              </a:xfrm>
              <a:prstGeom prst="line">
                <a:avLst/>
              </a:prstGeom>
              <a:noFill/>
              <a:ln w="28575" cap="rnd" cmpd="sng" algn="ctr">
                <a:solidFill>
                  <a:schemeClr val="bg1">
                    <a:lumMod val="50000"/>
                  </a:schemeClr>
                </a:solidFill>
                <a:prstDash val="solid"/>
              </a:ln>
              <a:effectLst/>
            </p:spPr>
          </p:cxnSp>
        </p:grpSp>
        <p:sp>
          <p:nvSpPr>
            <p:cNvPr id="460" name="Freeform 2"/>
            <p:cNvSpPr>
              <a:spLocks/>
            </p:cNvSpPr>
            <p:nvPr/>
          </p:nvSpPr>
          <p:spPr bwMode="auto">
            <a:xfrm>
              <a:off x="2210427" y="1722212"/>
              <a:ext cx="2689225" cy="2962275"/>
            </a:xfrm>
            <a:custGeom>
              <a:avLst/>
              <a:gdLst>
                <a:gd name="T0" fmla="*/ 132 w 1694"/>
                <a:gd name="T1" fmla="*/ 0 h 1866"/>
                <a:gd name="T2" fmla="*/ 155 w 1694"/>
                <a:gd name="T3" fmla="*/ 21 h 1866"/>
                <a:gd name="T4" fmla="*/ 165 w 1694"/>
                <a:gd name="T5" fmla="*/ 39 h 1866"/>
                <a:gd name="T6" fmla="*/ 173 w 1694"/>
                <a:gd name="T7" fmla="*/ 54 h 1866"/>
                <a:gd name="T8" fmla="*/ 176 w 1694"/>
                <a:gd name="T9" fmla="*/ 86 h 1866"/>
                <a:gd name="T10" fmla="*/ 195 w 1694"/>
                <a:gd name="T11" fmla="*/ 109 h 1866"/>
                <a:gd name="T12" fmla="*/ 210 w 1694"/>
                <a:gd name="T13" fmla="*/ 157 h 1866"/>
                <a:gd name="T14" fmla="*/ 272 w 1694"/>
                <a:gd name="T15" fmla="*/ 178 h 1866"/>
                <a:gd name="T16" fmla="*/ 294 w 1694"/>
                <a:gd name="T17" fmla="*/ 201 h 1866"/>
                <a:gd name="T18" fmla="*/ 315 w 1694"/>
                <a:gd name="T19" fmla="*/ 236 h 1866"/>
                <a:gd name="T20" fmla="*/ 326 w 1694"/>
                <a:gd name="T21" fmla="*/ 255 h 1866"/>
                <a:gd name="T22" fmla="*/ 330 w 1694"/>
                <a:gd name="T23" fmla="*/ 271 h 1866"/>
                <a:gd name="T24" fmla="*/ 356 w 1694"/>
                <a:gd name="T25" fmla="*/ 298 h 1866"/>
                <a:gd name="T26" fmla="*/ 381 w 1694"/>
                <a:gd name="T27" fmla="*/ 332 h 1866"/>
                <a:gd name="T28" fmla="*/ 405 w 1694"/>
                <a:gd name="T29" fmla="*/ 355 h 1866"/>
                <a:gd name="T30" fmla="*/ 435 w 1694"/>
                <a:gd name="T31" fmla="*/ 384 h 1866"/>
                <a:gd name="T32" fmla="*/ 437 w 1694"/>
                <a:gd name="T33" fmla="*/ 441 h 1866"/>
                <a:gd name="T34" fmla="*/ 447 w 1694"/>
                <a:gd name="T35" fmla="*/ 472 h 1866"/>
                <a:gd name="T36" fmla="*/ 453 w 1694"/>
                <a:gd name="T37" fmla="*/ 498 h 1866"/>
                <a:gd name="T38" fmla="*/ 465 w 1694"/>
                <a:gd name="T39" fmla="*/ 531 h 1866"/>
                <a:gd name="T40" fmla="*/ 473 w 1694"/>
                <a:gd name="T41" fmla="*/ 562 h 1866"/>
                <a:gd name="T42" fmla="*/ 480 w 1694"/>
                <a:gd name="T43" fmla="*/ 626 h 1866"/>
                <a:gd name="T44" fmla="*/ 485 w 1694"/>
                <a:gd name="T45" fmla="*/ 651 h 1866"/>
                <a:gd name="T46" fmla="*/ 501 w 1694"/>
                <a:gd name="T47" fmla="*/ 682 h 1866"/>
                <a:gd name="T48" fmla="*/ 526 w 1694"/>
                <a:gd name="T49" fmla="*/ 748 h 1866"/>
                <a:gd name="T50" fmla="*/ 537 w 1694"/>
                <a:gd name="T51" fmla="*/ 782 h 1866"/>
                <a:gd name="T52" fmla="*/ 579 w 1694"/>
                <a:gd name="T53" fmla="*/ 820 h 1866"/>
                <a:gd name="T54" fmla="*/ 608 w 1694"/>
                <a:gd name="T55" fmla="*/ 849 h 1866"/>
                <a:gd name="T56" fmla="*/ 628 w 1694"/>
                <a:gd name="T57" fmla="*/ 885 h 1866"/>
                <a:gd name="T58" fmla="*/ 633 w 1694"/>
                <a:gd name="T59" fmla="*/ 998 h 1866"/>
                <a:gd name="T60" fmla="*/ 638 w 1694"/>
                <a:gd name="T61" fmla="*/ 1069 h 1866"/>
                <a:gd name="T62" fmla="*/ 648 w 1694"/>
                <a:gd name="T63" fmla="*/ 1108 h 1866"/>
                <a:gd name="T64" fmla="*/ 663 w 1694"/>
                <a:gd name="T65" fmla="*/ 1143 h 1866"/>
                <a:gd name="T66" fmla="*/ 690 w 1694"/>
                <a:gd name="T67" fmla="*/ 1179 h 1866"/>
                <a:gd name="T68" fmla="*/ 706 w 1694"/>
                <a:gd name="T69" fmla="*/ 1215 h 1866"/>
                <a:gd name="T70" fmla="*/ 761 w 1694"/>
                <a:gd name="T71" fmla="*/ 1251 h 1866"/>
                <a:gd name="T72" fmla="*/ 767 w 1694"/>
                <a:gd name="T73" fmla="*/ 1290 h 1866"/>
                <a:gd name="T74" fmla="*/ 786 w 1694"/>
                <a:gd name="T75" fmla="*/ 1446 h 1866"/>
                <a:gd name="T76" fmla="*/ 801 w 1694"/>
                <a:gd name="T77" fmla="*/ 1480 h 1866"/>
                <a:gd name="T78" fmla="*/ 918 w 1694"/>
                <a:gd name="T79" fmla="*/ 1563 h 1866"/>
                <a:gd name="T80" fmla="*/ 940 w 1694"/>
                <a:gd name="T81" fmla="*/ 1598 h 1866"/>
                <a:gd name="T82" fmla="*/ 1029 w 1694"/>
                <a:gd name="T83" fmla="*/ 1647 h 1866"/>
                <a:gd name="T84" fmla="*/ 1036 w 1694"/>
                <a:gd name="T85" fmla="*/ 1690 h 1866"/>
                <a:gd name="T86" fmla="*/ 1066 w 1694"/>
                <a:gd name="T87" fmla="*/ 1780 h 1866"/>
                <a:gd name="T88" fmla="*/ 1071 w 1694"/>
                <a:gd name="T89" fmla="*/ 1820 h 1866"/>
                <a:gd name="T90" fmla="*/ 1158 w 1694"/>
                <a:gd name="T91" fmla="*/ 1866 h 186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694" h="1866">
                  <a:moveTo>
                    <a:pt x="0" y="1"/>
                  </a:moveTo>
                  <a:lnTo>
                    <a:pt x="132" y="0"/>
                  </a:lnTo>
                  <a:lnTo>
                    <a:pt x="136" y="22"/>
                  </a:lnTo>
                  <a:lnTo>
                    <a:pt x="155" y="21"/>
                  </a:lnTo>
                  <a:lnTo>
                    <a:pt x="156" y="39"/>
                  </a:lnTo>
                  <a:lnTo>
                    <a:pt x="165" y="39"/>
                  </a:lnTo>
                  <a:lnTo>
                    <a:pt x="165" y="54"/>
                  </a:lnTo>
                  <a:lnTo>
                    <a:pt x="173" y="54"/>
                  </a:lnTo>
                  <a:lnTo>
                    <a:pt x="174" y="69"/>
                  </a:lnTo>
                  <a:lnTo>
                    <a:pt x="176" y="86"/>
                  </a:lnTo>
                  <a:lnTo>
                    <a:pt x="195" y="88"/>
                  </a:lnTo>
                  <a:lnTo>
                    <a:pt x="195" y="109"/>
                  </a:lnTo>
                  <a:lnTo>
                    <a:pt x="208" y="108"/>
                  </a:lnTo>
                  <a:lnTo>
                    <a:pt x="210" y="157"/>
                  </a:lnTo>
                  <a:lnTo>
                    <a:pt x="269" y="157"/>
                  </a:lnTo>
                  <a:lnTo>
                    <a:pt x="272" y="178"/>
                  </a:lnTo>
                  <a:lnTo>
                    <a:pt x="296" y="178"/>
                  </a:lnTo>
                  <a:lnTo>
                    <a:pt x="294" y="201"/>
                  </a:lnTo>
                  <a:lnTo>
                    <a:pt x="315" y="202"/>
                  </a:lnTo>
                  <a:lnTo>
                    <a:pt x="315" y="236"/>
                  </a:lnTo>
                  <a:lnTo>
                    <a:pt x="323" y="235"/>
                  </a:lnTo>
                  <a:lnTo>
                    <a:pt x="326" y="255"/>
                  </a:lnTo>
                  <a:lnTo>
                    <a:pt x="326" y="270"/>
                  </a:lnTo>
                  <a:lnTo>
                    <a:pt x="330" y="271"/>
                  </a:lnTo>
                  <a:lnTo>
                    <a:pt x="329" y="300"/>
                  </a:lnTo>
                  <a:lnTo>
                    <a:pt x="356" y="298"/>
                  </a:lnTo>
                  <a:lnTo>
                    <a:pt x="357" y="330"/>
                  </a:lnTo>
                  <a:lnTo>
                    <a:pt x="381" y="332"/>
                  </a:lnTo>
                  <a:lnTo>
                    <a:pt x="382" y="356"/>
                  </a:lnTo>
                  <a:lnTo>
                    <a:pt x="405" y="355"/>
                  </a:lnTo>
                  <a:lnTo>
                    <a:pt x="407" y="384"/>
                  </a:lnTo>
                  <a:lnTo>
                    <a:pt x="435" y="384"/>
                  </a:lnTo>
                  <a:lnTo>
                    <a:pt x="436" y="409"/>
                  </a:lnTo>
                  <a:lnTo>
                    <a:pt x="437" y="441"/>
                  </a:lnTo>
                  <a:lnTo>
                    <a:pt x="446" y="444"/>
                  </a:lnTo>
                  <a:lnTo>
                    <a:pt x="447" y="472"/>
                  </a:lnTo>
                  <a:lnTo>
                    <a:pt x="454" y="472"/>
                  </a:lnTo>
                  <a:lnTo>
                    <a:pt x="453" y="498"/>
                  </a:lnTo>
                  <a:lnTo>
                    <a:pt x="464" y="496"/>
                  </a:lnTo>
                  <a:lnTo>
                    <a:pt x="465" y="531"/>
                  </a:lnTo>
                  <a:lnTo>
                    <a:pt x="474" y="531"/>
                  </a:lnTo>
                  <a:lnTo>
                    <a:pt x="473" y="562"/>
                  </a:lnTo>
                  <a:lnTo>
                    <a:pt x="479" y="564"/>
                  </a:lnTo>
                  <a:lnTo>
                    <a:pt x="480" y="626"/>
                  </a:lnTo>
                  <a:lnTo>
                    <a:pt x="483" y="627"/>
                  </a:lnTo>
                  <a:lnTo>
                    <a:pt x="485" y="651"/>
                  </a:lnTo>
                  <a:lnTo>
                    <a:pt x="502" y="651"/>
                  </a:lnTo>
                  <a:lnTo>
                    <a:pt x="501" y="682"/>
                  </a:lnTo>
                  <a:lnTo>
                    <a:pt x="521" y="681"/>
                  </a:lnTo>
                  <a:lnTo>
                    <a:pt x="526" y="748"/>
                  </a:lnTo>
                  <a:lnTo>
                    <a:pt x="538" y="748"/>
                  </a:lnTo>
                  <a:lnTo>
                    <a:pt x="537" y="782"/>
                  </a:lnTo>
                  <a:lnTo>
                    <a:pt x="579" y="783"/>
                  </a:lnTo>
                  <a:lnTo>
                    <a:pt x="579" y="820"/>
                  </a:lnTo>
                  <a:lnTo>
                    <a:pt x="609" y="819"/>
                  </a:lnTo>
                  <a:lnTo>
                    <a:pt x="608" y="849"/>
                  </a:lnTo>
                  <a:lnTo>
                    <a:pt x="628" y="850"/>
                  </a:lnTo>
                  <a:lnTo>
                    <a:pt x="628" y="885"/>
                  </a:lnTo>
                  <a:lnTo>
                    <a:pt x="633" y="909"/>
                  </a:lnTo>
                  <a:lnTo>
                    <a:pt x="633" y="998"/>
                  </a:lnTo>
                  <a:lnTo>
                    <a:pt x="638" y="1003"/>
                  </a:lnTo>
                  <a:lnTo>
                    <a:pt x="638" y="1069"/>
                  </a:lnTo>
                  <a:lnTo>
                    <a:pt x="646" y="1068"/>
                  </a:lnTo>
                  <a:lnTo>
                    <a:pt x="648" y="1108"/>
                  </a:lnTo>
                  <a:lnTo>
                    <a:pt x="662" y="1107"/>
                  </a:lnTo>
                  <a:lnTo>
                    <a:pt x="663" y="1143"/>
                  </a:lnTo>
                  <a:lnTo>
                    <a:pt x="689" y="1143"/>
                  </a:lnTo>
                  <a:lnTo>
                    <a:pt x="690" y="1179"/>
                  </a:lnTo>
                  <a:lnTo>
                    <a:pt x="704" y="1179"/>
                  </a:lnTo>
                  <a:lnTo>
                    <a:pt x="706" y="1215"/>
                  </a:lnTo>
                  <a:lnTo>
                    <a:pt x="762" y="1213"/>
                  </a:lnTo>
                  <a:lnTo>
                    <a:pt x="761" y="1251"/>
                  </a:lnTo>
                  <a:lnTo>
                    <a:pt x="767" y="1258"/>
                  </a:lnTo>
                  <a:lnTo>
                    <a:pt x="767" y="1290"/>
                  </a:lnTo>
                  <a:lnTo>
                    <a:pt x="786" y="1288"/>
                  </a:lnTo>
                  <a:lnTo>
                    <a:pt x="786" y="1446"/>
                  </a:lnTo>
                  <a:lnTo>
                    <a:pt x="802" y="1447"/>
                  </a:lnTo>
                  <a:lnTo>
                    <a:pt x="801" y="1480"/>
                  </a:lnTo>
                  <a:lnTo>
                    <a:pt x="916" y="1480"/>
                  </a:lnTo>
                  <a:lnTo>
                    <a:pt x="918" y="1563"/>
                  </a:lnTo>
                  <a:lnTo>
                    <a:pt x="940" y="1564"/>
                  </a:lnTo>
                  <a:lnTo>
                    <a:pt x="940" y="1598"/>
                  </a:lnTo>
                  <a:lnTo>
                    <a:pt x="1026" y="1598"/>
                  </a:lnTo>
                  <a:lnTo>
                    <a:pt x="1029" y="1647"/>
                  </a:lnTo>
                  <a:lnTo>
                    <a:pt x="1036" y="1647"/>
                  </a:lnTo>
                  <a:lnTo>
                    <a:pt x="1036" y="1690"/>
                  </a:lnTo>
                  <a:lnTo>
                    <a:pt x="1067" y="1690"/>
                  </a:lnTo>
                  <a:lnTo>
                    <a:pt x="1066" y="1780"/>
                  </a:lnTo>
                  <a:lnTo>
                    <a:pt x="1071" y="1783"/>
                  </a:lnTo>
                  <a:lnTo>
                    <a:pt x="1071" y="1820"/>
                  </a:lnTo>
                  <a:lnTo>
                    <a:pt x="1158" y="1819"/>
                  </a:lnTo>
                  <a:lnTo>
                    <a:pt x="1158" y="1866"/>
                  </a:lnTo>
                  <a:lnTo>
                    <a:pt x="1694" y="1864"/>
                  </a:lnTo>
                </a:path>
              </a:pathLst>
            </a:custGeom>
            <a:noFill/>
            <a:ln w="28575" cmpd="sng">
              <a:solidFill>
                <a:schemeClr val="bg1">
                  <a:lumMod val="50000"/>
                </a:schemeClr>
              </a:solidFill>
              <a:prstDash val="sysDash"/>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grpSp>
      <p:sp>
        <p:nvSpPr>
          <p:cNvPr id="511" name="Round Same Side Corner Rectangle 526"/>
          <p:cNvSpPr/>
          <p:nvPr/>
        </p:nvSpPr>
        <p:spPr>
          <a:xfrm>
            <a:off x="4172774" y="1924668"/>
            <a:ext cx="4364037" cy="423862"/>
          </a:xfrm>
          <a:prstGeom prst="round2SameRect">
            <a:avLst>
              <a:gd name="adj1" fmla="val 50000"/>
              <a:gd name="adj2" fmla="val 0"/>
            </a:avLst>
          </a:prstGeom>
          <a:solidFill>
            <a:srgbClr val="1CBECA"/>
          </a:solidFill>
          <a:ln w="12700" cap="rnd" cmpd="sng" algn="ctr">
            <a:solidFill>
              <a:srgbClr val="C3B600"/>
            </a:solidFill>
            <a:prstDash val="solid"/>
          </a:ln>
          <a:effectLst/>
        </p:spPr>
        <p:txBody>
          <a:bodyPr anchor="ctr" anchorCtr="1"/>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de-DE" altLang="en-US" sz="1400" b="0" i="0" u="none" strike="noStrike" kern="1200" cap="none" spc="0" normalizeH="0" baseline="3000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512" name="Round Same Side Corner Rectangle 527"/>
          <p:cNvSpPr/>
          <p:nvPr/>
        </p:nvSpPr>
        <p:spPr>
          <a:xfrm rot="10800000">
            <a:off x="4172774" y="2348530"/>
            <a:ext cx="4364037" cy="495300"/>
          </a:xfrm>
          <a:prstGeom prst="round2SameRect">
            <a:avLst>
              <a:gd name="adj1" fmla="val 20976"/>
              <a:gd name="adj2" fmla="val 0"/>
            </a:avLst>
          </a:prstGeom>
          <a:solidFill>
            <a:sysClr val="window" lastClr="FFFFFF"/>
          </a:solidFill>
          <a:ln w="12700" cap="rnd" cmpd="sng" algn="ctr">
            <a:solidFill>
              <a:srgbClr val="C3B600"/>
            </a:solidFill>
            <a:prstDash val="solid"/>
          </a:ln>
          <a:effectLst/>
        </p:spPr>
        <p:txBody>
          <a:bodyPr anchor="ctr" anchorCtr="1"/>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zh-CN" altLang="en-US" sz="14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rPr>
              <a:t>总体人群的</a:t>
            </a:r>
            <a:r>
              <a:rPr kumimoji="0" lang="de-DE" altLang="en-US" sz="14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rPr>
              <a:t>PFS</a:t>
            </a:r>
            <a:endParaRPr kumimoji="0" lang="de-DE" altLang="en-US" sz="1400" b="0" i="0" u="none" strike="noStrike" kern="1200" cap="none" spc="0" normalizeH="0" baseline="3000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graphicFrame>
        <p:nvGraphicFramePr>
          <p:cNvPr id="513" name="Table 528"/>
          <p:cNvGraphicFramePr>
            <a:graphicFrameLocks noGrp="1"/>
          </p:cNvGraphicFramePr>
          <p:nvPr>
            <p:extLst/>
          </p:nvPr>
        </p:nvGraphicFramePr>
        <p:xfrm>
          <a:off x="4172774" y="1940543"/>
          <a:ext cx="4349750" cy="912495"/>
        </p:xfrm>
        <a:graphic>
          <a:graphicData uri="http://schemas.openxmlformats.org/drawingml/2006/table">
            <a:tbl>
              <a:tblPr/>
              <a:tblGrid>
                <a:gridCol w="1082675">
                  <a:extLst>
                    <a:ext uri="{9D8B030D-6E8A-4147-A177-3AD203B41FA5}">
                      <a16:colId xmlns:a16="http://schemas.microsoft.com/office/drawing/2014/main" val="20000"/>
                    </a:ext>
                  </a:extLst>
                </a:gridCol>
                <a:gridCol w="1633537">
                  <a:extLst>
                    <a:ext uri="{9D8B030D-6E8A-4147-A177-3AD203B41FA5}">
                      <a16:colId xmlns:a16="http://schemas.microsoft.com/office/drawing/2014/main" val="20001"/>
                    </a:ext>
                  </a:extLst>
                </a:gridCol>
                <a:gridCol w="1633538">
                  <a:extLst>
                    <a:ext uri="{9D8B030D-6E8A-4147-A177-3AD203B41FA5}">
                      <a16:colId xmlns:a16="http://schemas.microsoft.com/office/drawing/2014/main" val="20002"/>
                    </a:ext>
                  </a:extLst>
                </a:gridCol>
              </a:tblGrid>
              <a:tr h="409575">
                <a:tc>
                  <a:txBody>
                    <a:bodyPr/>
                    <a:lstStyle>
                      <a:lvl1pPr marL="0" algn="l" defTabSz="1218652" rtl="0" eaLnBrk="1" latinLnBrk="0" hangingPunct="1">
                        <a:lnSpc>
                          <a:spcPct val="85000"/>
                        </a:lnSpc>
                        <a:spcBef>
                          <a:spcPts val="1200"/>
                        </a:spcBef>
                        <a:buClr>
                          <a:srgbClr val="1CBECA"/>
                        </a:buClr>
                        <a:buFont typeface="Arial" pitchFamily="34" charset="0"/>
                        <a:defRPr sz="2400" kern="1200">
                          <a:solidFill>
                            <a:srgbClr val="595959"/>
                          </a:solidFill>
                          <a:latin typeface="Arial" pitchFamily="34" charset="0"/>
                        </a:defRPr>
                      </a:lvl1pPr>
                      <a:lvl2pPr marL="742950" indent="-285750" algn="l" defTabSz="1218652" rtl="0" eaLnBrk="1" latinLnBrk="0" hangingPunct="1">
                        <a:lnSpc>
                          <a:spcPct val="85000"/>
                        </a:lnSpc>
                        <a:spcBef>
                          <a:spcPts val="600"/>
                        </a:spcBef>
                        <a:buClr>
                          <a:srgbClr val="595959"/>
                        </a:buClr>
                        <a:buFont typeface="Arial" pitchFamily="34" charset="0"/>
                        <a:defRPr sz="1600" kern="1200">
                          <a:solidFill>
                            <a:srgbClr val="595959"/>
                          </a:solidFill>
                          <a:latin typeface="Arial" pitchFamily="34" charset="0"/>
                        </a:defRPr>
                      </a:lvl2pPr>
                      <a:lvl3pPr marL="1143000" indent="-228600" algn="l" defTabSz="1218652" rtl="0" eaLnBrk="1" latinLnBrk="0" hangingPunct="1">
                        <a:lnSpc>
                          <a:spcPct val="85000"/>
                        </a:lnSpc>
                        <a:spcBef>
                          <a:spcPts val="400"/>
                        </a:spcBef>
                        <a:buClr>
                          <a:srgbClr val="1CBECA"/>
                        </a:buClr>
                        <a:buFont typeface="Arial" pitchFamily="34" charset="0"/>
                        <a:defRPr sz="1400" kern="1200">
                          <a:solidFill>
                            <a:srgbClr val="595959"/>
                          </a:solidFill>
                          <a:latin typeface="Arial" pitchFamily="34" charset="0"/>
                        </a:defRPr>
                      </a:lvl3pPr>
                      <a:lvl4pPr marL="1600200" indent="-228600" algn="l" defTabSz="1218652" rtl="0" eaLnBrk="1" latinLnBrk="0" hangingPunct="1">
                        <a:lnSpc>
                          <a:spcPct val="85000"/>
                        </a:lnSpc>
                        <a:buClr>
                          <a:srgbClr val="1CBECA"/>
                        </a:buClr>
                        <a:buFont typeface="Arial" pitchFamily="34" charset="0"/>
                        <a:defRPr sz="1200" kern="1200">
                          <a:solidFill>
                            <a:srgbClr val="595959"/>
                          </a:solidFill>
                          <a:latin typeface="Arial" pitchFamily="34" charset="0"/>
                        </a:defRPr>
                      </a:lvl4pPr>
                      <a:lvl5pPr marL="2057400" indent="-228600" algn="l" defTabSz="1218652" rtl="0" eaLnBrk="1" latinLnBrk="0" hangingPunct="1">
                        <a:lnSpc>
                          <a:spcPct val="85000"/>
                        </a:lnSpc>
                        <a:buClr>
                          <a:srgbClr val="1CBECA"/>
                        </a:buClr>
                        <a:buFont typeface="Arial" pitchFamily="34" charset="0"/>
                        <a:defRPr sz="1200" kern="1200">
                          <a:solidFill>
                            <a:srgbClr val="595959"/>
                          </a:solidFill>
                          <a:latin typeface="Arial" pitchFamily="34" charset="0"/>
                        </a:defRPr>
                      </a:lvl5pPr>
                      <a:lvl6pPr marL="25146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6pPr>
                      <a:lvl7pPr marL="29718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7pPr>
                      <a:lvl8pPr marL="34290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8pPr>
                      <a:lvl9pPr marL="38862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altLang="zh-CN" sz="1200" b="1" i="0" u="none" strike="noStrike" cap="none" normalizeH="0" baseline="0" dirty="0">
                        <a:ln>
                          <a:noFill/>
                        </a:ln>
                        <a:solidFill>
                          <a:schemeClr val="tx1"/>
                        </a:solidFill>
                        <a:effectLst/>
                        <a:latin typeface="+mn-lt"/>
                        <a:ea typeface="微软雅黑" panose="020B0503020204020204" pitchFamily="34" charset="-122"/>
                        <a:cs typeface="Arial" pitchFamily="34" charset="0"/>
                      </a:endParaRPr>
                    </a:p>
                  </a:txBody>
                  <a:tcPr marL="0" marR="45729" marT="45729" marB="45729" anchor="ctr" horzOverflow="overflow">
                    <a:lnL>
                      <a:noFill/>
                    </a:lnL>
                    <a:lnR w="9525" cap="flat" cmpd="sng" algn="ctr">
                      <a:solidFill>
                        <a:sysClr val="window" lastClr="FFFFFF"/>
                      </a:solidFill>
                      <a:prstDash val="solid"/>
                      <a:round/>
                      <a:headEnd type="none" w="med" len="med"/>
                      <a:tailEnd type="none" w="med" len="med"/>
                    </a:lnR>
                    <a:lnT>
                      <a:noFill/>
                    </a:lnT>
                    <a:lnB>
                      <a:noFill/>
                    </a:lnB>
                    <a:lnTlToBr>
                      <a:noFill/>
                    </a:lnTlToBr>
                    <a:lnBlToTr>
                      <a:noFill/>
                    </a:lnBlToTr>
                    <a:noFill/>
                  </a:tcPr>
                </a:tc>
                <a:tc>
                  <a:txBody>
                    <a:bodyPr/>
                    <a:lstStyle>
                      <a:lvl1pPr marL="0" algn="l" defTabSz="1218652" rtl="0" eaLnBrk="1" latinLnBrk="0" hangingPunct="1">
                        <a:lnSpc>
                          <a:spcPct val="85000"/>
                        </a:lnSpc>
                        <a:spcBef>
                          <a:spcPts val="1200"/>
                        </a:spcBef>
                        <a:buClr>
                          <a:srgbClr val="1CBECA"/>
                        </a:buClr>
                        <a:buFont typeface="Arial" pitchFamily="34" charset="0"/>
                        <a:defRPr sz="2400" kern="1200">
                          <a:solidFill>
                            <a:srgbClr val="595959"/>
                          </a:solidFill>
                          <a:latin typeface="Arial" pitchFamily="34" charset="0"/>
                        </a:defRPr>
                      </a:lvl1pPr>
                      <a:lvl2pPr marL="742950" indent="-285750" algn="l" defTabSz="1218652" rtl="0" eaLnBrk="1" latinLnBrk="0" hangingPunct="1">
                        <a:lnSpc>
                          <a:spcPct val="85000"/>
                        </a:lnSpc>
                        <a:spcBef>
                          <a:spcPts val="600"/>
                        </a:spcBef>
                        <a:buClr>
                          <a:srgbClr val="595959"/>
                        </a:buClr>
                        <a:buFont typeface="Arial" pitchFamily="34" charset="0"/>
                        <a:defRPr sz="1600" kern="1200">
                          <a:solidFill>
                            <a:srgbClr val="595959"/>
                          </a:solidFill>
                          <a:latin typeface="Arial" pitchFamily="34" charset="0"/>
                        </a:defRPr>
                      </a:lvl2pPr>
                      <a:lvl3pPr marL="1143000" indent="-228600" algn="l" defTabSz="1218652" rtl="0" eaLnBrk="1" latinLnBrk="0" hangingPunct="1">
                        <a:lnSpc>
                          <a:spcPct val="85000"/>
                        </a:lnSpc>
                        <a:spcBef>
                          <a:spcPts val="400"/>
                        </a:spcBef>
                        <a:buClr>
                          <a:srgbClr val="1CBECA"/>
                        </a:buClr>
                        <a:buFont typeface="Arial" pitchFamily="34" charset="0"/>
                        <a:defRPr sz="1400" kern="1200">
                          <a:solidFill>
                            <a:srgbClr val="595959"/>
                          </a:solidFill>
                          <a:latin typeface="Arial" pitchFamily="34" charset="0"/>
                        </a:defRPr>
                      </a:lvl3pPr>
                      <a:lvl4pPr marL="1600200" indent="-228600" algn="l" defTabSz="1218652" rtl="0" eaLnBrk="1" latinLnBrk="0" hangingPunct="1">
                        <a:lnSpc>
                          <a:spcPct val="85000"/>
                        </a:lnSpc>
                        <a:buClr>
                          <a:srgbClr val="1CBECA"/>
                        </a:buClr>
                        <a:buFont typeface="Arial" pitchFamily="34" charset="0"/>
                        <a:defRPr sz="1200" kern="1200">
                          <a:solidFill>
                            <a:srgbClr val="595959"/>
                          </a:solidFill>
                          <a:latin typeface="Arial" pitchFamily="34" charset="0"/>
                        </a:defRPr>
                      </a:lvl4pPr>
                      <a:lvl5pPr marL="2057400" indent="-228600" algn="l" defTabSz="1218652" rtl="0" eaLnBrk="1" latinLnBrk="0" hangingPunct="1">
                        <a:lnSpc>
                          <a:spcPct val="85000"/>
                        </a:lnSpc>
                        <a:buClr>
                          <a:srgbClr val="1CBECA"/>
                        </a:buClr>
                        <a:buFont typeface="Arial" pitchFamily="34" charset="0"/>
                        <a:defRPr sz="1200" kern="1200">
                          <a:solidFill>
                            <a:srgbClr val="595959"/>
                          </a:solidFill>
                          <a:latin typeface="Arial" pitchFamily="34" charset="0"/>
                        </a:defRPr>
                      </a:lvl5pPr>
                      <a:lvl6pPr marL="25146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6pPr>
                      <a:lvl7pPr marL="29718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7pPr>
                      <a:lvl8pPr marL="34290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8pPr>
                      <a:lvl9pPr marL="38862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CN" sz="1100" b="1" i="0" u="none" strike="noStrike" cap="none" normalizeH="0" baseline="0" dirty="0">
                          <a:ln>
                            <a:noFill/>
                          </a:ln>
                          <a:solidFill>
                            <a:schemeClr val="bg1"/>
                          </a:solidFill>
                          <a:effectLst/>
                          <a:latin typeface="+mn-lt"/>
                          <a:ea typeface="微软雅黑" panose="020B0503020204020204" pitchFamily="34" charset="-122"/>
                        </a:rPr>
                        <a:t>LUX-Lung 3</a:t>
                      </a:r>
                      <a:r>
                        <a:rPr kumimoji="0" lang="en-GB" altLang="zh-CN" sz="1100" b="1" i="0" u="none" strike="noStrike" cap="none" normalizeH="0" baseline="30000" dirty="0">
                          <a:ln>
                            <a:noFill/>
                          </a:ln>
                          <a:solidFill>
                            <a:schemeClr val="bg1"/>
                          </a:solidFill>
                          <a:effectLst/>
                          <a:latin typeface="+mn-lt"/>
                          <a:ea typeface="微软雅黑" panose="020B0503020204020204" pitchFamily="34" charset="-122"/>
                        </a:rPr>
                        <a:t>1</a:t>
                      </a:r>
                      <a:r>
                        <a:rPr kumimoji="0" lang="en-GB" altLang="zh-CN" sz="1100" b="1" i="0" u="none" strike="noStrike" cap="none" normalizeH="0" baseline="0" dirty="0">
                          <a:ln>
                            <a:noFill/>
                          </a:ln>
                          <a:solidFill>
                            <a:schemeClr val="bg1"/>
                          </a:solidFill>
                          <a:effectLst/>
                          <a:latin typeface="+mn-lt"/>
                          <a:ea typeface="微软雅黑" panose="020B0503020204020204" pitchFamily="34" charset="-122"/>
                        </a:rPr>
                        <a:t> (n=308)  </a:t>
                      </a:r>
                    </a:p>
                  </a:txBody>
                  <a:tcPr marT="34290" marB="34290" anchor="ctr" horzOverflow="overflow">
                    <a:lnL w="9525" cap="flat" cmpd="sng" algn="ctr">
                      <a:solidFill>
                        <a:sysClr val="window" lastClr="FFFFFF"/>
                      </a:solidFill>
                      <a:prstDash val="solid"/>
                      <a:round/>
                      <a:headEnd type="none" w="med" len="med"/>
                      <a:tailEnd type="none" w="med" len="med"/>
                    </a:lnL>
                    <a:lnR w="9525" cap="flat" cmpd="sng" algn="ctr">
                      <a:solidFill>
                        <a:sysClr val="window" lastClr="FFFFFF"/>
                      </a:solidFill>
                      <a:prstDash val="solid"/>
                      <a:round/>
                      <a:headEnd type="none" w="med" len="med"/>
                      <a:tailEnd type="none" w="med" len="med"/>
                    </a:lnR>
                    <a:lnT>
                      <a:noFill/>
                    </a:lnT>
                    <a:lnB>
                      <a:noFill/>
                    </a:lnB>
                    <a:lnTlToBr>
                      <a:noFill/>
                    </a:lnTlToBr>
                    <a:lnBlToTr>
                      <a:noFill/>
                    </a:lnBlToTr>
                    <a:noFill/>
                  </a:tcPr>
                </a:tc>
                <a:tc>
                  <a:txBody>
                    <a:bodyPr/>
                    <a:lstStyle>
                      <a:lvl1pPr marL="0" algn="l" defTabSz="1218652" rtl="0" eaLnBrk="1" latinLnBrk="0" hangingPunct="1">
                        <a:lnSpc>
                          <a:spcPct val="85000"/>
                        </a:lnSpc>
                        <a:spcBef>
                          <a:spcPts val="1200"/>
                        </a:spcBef>
                        <a:buClr>
                          <a:srgbClr val="1CBECA"/>
                        </a:buClr>
                        <a:buFont typeface="Arial" pitchFamily="34" charset="0"/>
                        <a:defRPr sz="2400" kern="1200">
                          <a:solidFill>
                            <a:srgbClr val="595959"/>
                          </a:solidFill>
                          <a:latin typeface="Arial" pitchFamily="34" charset="0"/>
                        </a:defRPr>
                      </a:lvl1pPr>
                      <a:lvl2pPr marL="742950" indent="-285750" algn="l" defTabSz="1218652" rtl="0" eaLnBrk="1" latinLnBrk="0" hangingPunct="1">
                        <a:lnSpc>
                          <a:spcPct val="85000"/>
                        </a:lnSpc>
                        <a:spcBef>
                          <a:spcPts val="600"/>
                        </a:spcBef>
                        <a:buClr>
                          <a:srgbClr val="595959"/>
                        </a:buClr>
                        <a:buFont typeface="Arial" pitchFamily="34" charset="0"/>
                        <a:defRPr sz="1600" kern="1200">
                          <a:solidFill>
                            <a:srgbClr val="595959"/>
                          </a:solidFill>
                          <a:latin typeface="Arial" pitchFamily="34" charset="0"/>
                        </a:defRPr>
                      </a:lvl2pPr>
                      <a:lvl3pPr marL="1143000" indent="-228600" algn="l" defTabSz="1218652" rtl="0" eaLnBrk="1" latinLnBrk="0" hangingPunct="1">
                        <a:lnSpc>
                          <a:spcPct val="85000"/>
                        </a:lnSpc>
                        <a:spcBef>
                          <a:spcPts val="400"/>
                        </a:spcBef>
                        <a:buClr>
                          <a:srgbClr val="1CBECA"/>
                        </a:buClr>
                        <a:buFont typeface="Arial" pitchFamily="34" charset="0"/>
                        <a:defRPr sz="1400" kern="1200">
                          <a:solidFill>
                            <a:srgbClr val="595959"/>
                          </a:solidFill>
                          <a:latin typeface="Arial" pitchFamily="34" charset="0"/>
                        </a:defRPr>
                      </a:lvl3pPr>
                      <a:lvl4pPr marL="1600200" indent="-228600" algn="l" defTabSz="1218652" rtl="0" eaLnBrk="1" latinLnBrk="0" hangingPunct="1">
                        <a:lnSpc>
                          <a:spcPct val="85000"/>
                        </a:lnSpc>
                        <a:buClr>
                          <a:srgbClr val="1CBECA"/>
                        </a:buClr>
                        <a:buFont typeface="Arial" pitchFamily="34" charset="0"/>
                        <a:defRPr sz="1200" kern="1200">
                          <a:solidFill>
                            <a:srgbClr val="595959"/>
                          </a:solidFill>
                          <a:latin typeface="Arial" pitchFamily="34" charset="0"/>
                        </a:defRPr>
                      </a:lvl4pPr>
                      <a:lvl5pPr marL="2057400" indent="-228600" algn="l" defTabSz="1218652" rtl="0" eaLnBrk="1" latinLnBrk="0" hangingPunct="1">
                        <a:lnSpc>
                          <a:spcPct val="85000"/>
                        </a:lnSpc>
                        <a:buClr>
                          <a:srgbClr val="1CBECA"/>
                        </a:buClr>
                        <a:buFont typeface="Arial" pitchFamily="34" charset="0"/>
                        <a:defRPr sz="1200" kern="1200">
                          <a:solidFill>
                            <a:srgbClr val="595959"/>
                          </a:solidFill>
                          <a:latin typeface="Arial" pitchFamily="34" charset="0"/>
                        </a:defRPr>
                      </a:lvl5pPr>
                      <a:lvl6pPr marL="25146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6pPr>
                      <a:lvl7pPr marL="29718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7pPr>
                      <a:lvl8pPr marL="34290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8pPr>
                      <a:lvl9pPr marL="38862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CN" sz="1100" b="1" i="0" u="none" strike="noStrike" cap="none" normalizeH="0" baseline="0" dirty="0">
                          <a:ln>
                            <a:noFill/>
                          </a:ln>
                          <a:solidFill>
                            <a:schemeClr val="bg1"/>
                          </a:solidFill>
                          <a:effectLst/>
                          <a:latin typeface="+mn-lt"/>
                          <a:ea typeface="微软雅黑" panose="020B0503020204020204" pitchFamily="34" charset="-122"/>
                        </a:rPr>
                        <a:t>LUX-Lung 6</a:t>
                      </a:r>
                      <a:r>
                        <a:rPr kumimoji="0" lang="en-GB" altLang="zh-CN" sz="1100" b="1" i="0" u="none" strike="noStrike" cap="none" normalizeH="0" baseline="30000" dirty="0">
                          <a:ln>
                            <a:noFill/>
                          </a:ln>
                          <a:solidFill>
                            <a:schemeClr val="bg1"/>
                          </a:solidFill>
                          <a:effectLst/>
                          <a:latin typeface="+mn-lt"/>
                          <a:ea typeface="微软雅黑" panose="020B0503020204020204" pitchFamily="34" charset="-122"/>
                        </a:rPr>
                        <a:t>2</a:t>
                      </a:r>
                      <a:r>
                        <a:rPr kumimoji="0" lang="en-GB" altLang="zh-CN" sz="1100" b="1" i="0" u="none" strike="noStrike" cap="none" normalizeH="0" baseline="0" dirty="0">
                          <a:ln>
                            <a:noFill/>
                          </a:ln>
                          <a:solidFill>
                            <a:schemeClr val="bg1"/>
                          </a:solidFill>
                          <a:effectLst/>
                          <a:latin typeface="+mn-lt"/>
                          <a:ea typeface="微软雅黑" panose="020B0503020204020204" pitchFamily="34" charset="-122"/>
                        </a:rPr>
                        <a:t> (n=324) </a:t>
                      </a:r>
                    </a:p>
                  </a:txBody>
                  <a:tcPr marT="34290" marB="34290" anchor="ctr" horzOverflow="overflow">
                    <a:lnL w="9525" cap="flat" cmpd="sng" algn="ctr">
                      <a:solidFill>
                        <a:sysClr val="window" lastClr="FFFFFF"/>
                      </a:solidFill>
                      <a:prstDash val="solid"/>
                      <a:round/>
                      <a:headEnd type="none" w="med" len="med"/>
                      <a:tailEnd type="none" w="med" len="med"/>
                    </a:lnL>
                    <a:lnR>
                      <a:noFill/>
                    </a:lnR>
                    <a:lnT>
                      <a:noFill/>
                    </a:lnT>
                    <a:lnB>
                      <a:noFill/>
                    </a:lnB>
                    <a:lnTlToBr>
                      <a:noFill/>
                    </a:lnTlToBr>
                    <a:lnBlToTr>
                      <a:noFill/>
                    </a:lnBlToTr>
                    <a:noFill/>
                  </a:tcPr>
                </a:tc>
                <a:extLst>
                  <a:ext uri="{0D108BD9-81ED-4DB2-BD59-A6C34878D82A}">
                    <a16:rowId xmlns:a16="http://schemas.microsoft.com/office/drawing/2014/main" val="10000"/>
                  </a:ext>
                </a:extLst>
              </a:tr>
              <a:tr h="246063">
                <a:tc>
                  <a:txBody>
                    <a:bodyPr/>
                    <a:lstStyle>
                      <a:lvl1pPr marL="0" algn="l" defTabSz="1218652" rtl="0" eaLnBrk="1" latinLnBrk="0" hangingPunct="1">
                        <a:lnSpc>
                          <a:spcPct val="85000"/>
                        </a:lnSpc>
                        <a:spcBef>
                          <a:spcPts val="1200"/>
                        </a:spcBef>
                        <a:buClr>
                          <a:srgbClr val="1CBECA"/>
                        </a:buClr>
                        <a:buFont typeface="Arial" pitchFamily="34" charset="0"/>
                        <a:defRPr sz="2400" kern="1200">
                          <a:solidFill>
                            <a:srgbClr val="595959"/>
                          </a:solidFill>
                          <a:latin typeface="Arial" pitchFamily="34" charset="0"/>
                        </a:defRPr>
                      </a:lvl1pPr>
                      <a:lvl2pPr marL="742950" indent="-285750" algn="l" defTabSz="1218652" rtl="0" eaLnBrk="1" latinLnBrk="0" hangingPunct="1">
                        <a:lnSpc>
                          <a:spcPct val="85000"/>
                        </a:lnSpc>
                        <a:spcBef>
                          <a:spcPts val="600"/>
                        </a:spcBef>
                        <a:buClr>
                          <a:srgbClr val="595959"/>
                        </a:buClr>
                        <a:buFont typeface="Arial" pitchFamily="34" charset="0"/>
                        <a:defRPr sz="1600" kern="1200">
                          <a:solidFill>
                            <a:srgbClr val="595959"/>
                          </a:solidFill>
                          <a:latin typeface="Arial" pitchFamily="34" charset="0"/>
                        </a:defRPr>
                      </a:lvl2pPr>
                      <a:lvl3pPr marL="1143000" indent="-228600" algn="l" defTabSz="1218652" rtl="0" eaLnBrk="1" latinLnBrk="0" hangingPunct="1">
                        <a:lnSpc>
                          <a:spcPct val="85000"/>
                        </a:lnSpc>
                        <a:spcBef>
                          <a:spcPts val="400"/>
                        </a:spcBef>
                        <a:buClr>
                          <a:srgbClr val="1CBECA"/>
                        </a:buClr>
                        <a:buFont typeface="Arial" pitchFamily="34" charset="0"/>
                        <a:defRPr sz="1400" kern="1200">
                          <a:solidFill>
                            <a:srgbClr val="595959"/>
                          </a:solidFill>
                          <a:latin typeface="Arial" pitchFamily="34" charset="0"/>
                        </a:defRPr>
                      </a:lvl3pPr>
                      <a:lvl4pPr marL="1600200" indent="-228600" algn="l" defTabSz="1218652" rtl="0" eaLnBrk="1" latinLnBrk="0" hangingPunct="1">
                        <a:lnSpc>
                          <a:spcPct val="85000"/>
                        </a:lnSpc>
                        <a:buClr>
                          <a:srgbClr val="1CBECA"/>
                        </a:buClr>
                        <a:buFont typeface="Arial" pitchFamily="34" charset="0"/>
                        <a:defRPr sz="1200" kern="1200">
                          <a:solidFill>
                            <a:srgbClr val="595959"/>
                          </a:solidFill>
                          <a:latin typeface="Arial" pitchFamily="34" charset="0"/>
                        </a:defRPr>
                      </a:lvl4pPr>
                      <a:lvl5pPr marL="2057400" indent="-228600" algn="l" defTabSz="1218652" rtl="0" eaLnBrk="1" latinLnBrk="0" hangingPunct="1">
                        <a:lnSpc>
                          <a:spcPct val="85000"/>
                        </a:lnSpc>
                        <a:buClr>
                          <a:srgbClr val="1CBECA"/>
                        </a:buClr>
                        <a:buFont typeface="Arial" pitchFamily="34" charset="0"/>
                        <a:defRPr sz="1200" kern="1200">
                          <a:solidFill>
                            <a:srgbClr val="595959"/>
                          </a:solidFill>
                          <a:latin typeface="Arial" pitchFamily="34" charset="0"/>
                        </a:defRPr>
                      </a:lvl5pPr>
                      <a:lvl6pPr marL="25146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6pPr>
                      <a:lvl7pPr marL="29718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7pPr>
                      <a:lvl8pPr marL="34290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8pPr>
                      <a:lvl9pPr marL="38862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zh-CN" altLang="en-US" sz="1200" b="1" i="0" u="none" strike="noStrike" cap="none" normalizeH="0" baseline="0" dirty="0">
                          <a:ln>
                            <a:noFill/>
                          </a:ln>
                          <a:solidFill>
                            <a:srgbClr val="595959"/>
                          </a:solidFill>
                          <a:effectLst/>
                          <a:latin typeface="+mn-lt"/>
                          <a:ea typeface="微软雅黑" panose="020B0503020204020204" pitchFamily="34" charset="-122"/>
                        </a:rPr>
                        <a:t>中位数，月</a:t>
                      </a:r>
                      <a:endParaRPr kumimoji="0" lang="en-GB" altLang="zh-CN" sz="1200" b="1" i="0" u="none" strike="noStrike" cap="none" normalizeH="0" baseline="0" dirty="0">
                        <a:ln>
                          <a:noFill/>
                        </a:ln>
                        <a:solidFill>
                          <a:srgbClr val="595959"/>
                        </a:solidFill>
                        <a:effectLst/>
                        <a:latin typeface="+mn-lt"/>
                        <a:ea typeface="微软雅黑" panose="020B0503020204020204" pitchFamily="34" charset="-122"/>
                      </a:endParaRPr>
                    </a:p>
                  </a:txBody>
                  <a:tcPr marT="34290" marB="34290" anchor="ctr" horzOverflow="overflow">
                    <a:lnL>
                      <a:noFill/>
                    </a:lnL>
                    <a:lnR w="9525" cap="flat" cmpd="sng" algn="ctr">
                      <a:solidFill>
                        <a:srgbClr val="717073"/>
                      </a:solidFill>
                      <a:prstDash val="solid"/>
                      <a:round/>
                      <a:headEnd type="none" w="med" len="med"/>
                      <a:tailEnd type="none" w="med" len="med"/>
                    </a:lnR>
                    <a:lnT>
                      <a:noFill/>
                    </a:lnT>
                    <a:lnB w="9525" cap="flat" cmpd="sng" algn="ctr">
                      <a:solidFill>
                        <a:srgbClr val="717073"/>
                      </a:solidFill>
                      <a:prstDash val="solid"/>
                      <a:round/>
                      <a:headEnd type="none" w="med" len="med"/>
                      <a:tailEnd type="none" w="med" len="med"/>
                    </a:lnB>
                    <a:lnTlToBr>
                      <a:noFill/>
                    </a:lnTlToBr>
                    <a:lnBlToTr>
                      <a:noFill/>
                    </a:lnBlToTr>
                    <a:noFill/>
                  </a:tcPr>
                </a:tc>
                <a:tc>
                  <a:txBody>
                    <a:bodyPr/>
                    <a:lstStyle>
                      <a:lvl1pPr marL="0" algn="l" defTabSz="1218652" rtl="0" eaLnBrk="1" latinLnBrk="0" hangingPunct="1">
                        <a:lnSpc>
                          <a:spcPct val="85000"/>
                        </a:lnSpc>
                        <a:spcBef>
                          <a:spcPts val="1200"/>
                        </a:spcBef>
                        <a:buClr>
                          <a:srgbClr val="1CBECA"/>
                        </a:buClr>
                        <a:buFont typeface="Arial" pitchFamily="34" charset="0"/>
                        <a:defRPr sz="2400" kern="1200">
                          <a:solidFill>
                            <a:srgbClr val="595959"/>
                          </a:solidFill>
                          <a:latin typeface="Arial" pitchFamily="34" charset="0"/>
                        </a:defRPr>
                      </a:lvl1pPr>
                      <a:lvl2pPr marL="742950" indent="-285750" algn="l" defTabSz="1218652" rtl="0" eaLnBrk="1" latinLnBrk="0" hangingPunct="1">
                        <a:lnSpc>
                          <a:spcPct val="85000"/>
                        </a:lnSpc>
                        <a:spcBef>
                          <a:spcPts val="600"/>
                        </a:spcBef>
                        <a:buClr>
                          <a:srgbClr val="595959"/>
                        </a:buClr>
                        <a:buFont typeface="Arial" pitchFamily="34" charset="0"/>
                        <a:defRPr sz="1600" kern="1200">
                          <a:solidFill>
                            <a:srgbClr val="595959"/>
                          </a:solidFill>
                          <a:latin typeface="Arial" pitchFamily="34" charset="0"/>
                        </a:defRPr>
                      </a:lvl2pPr>
                      <a:lvl3pPr marL="1143000" indent="-228600" algn="l" defTabSz="1218652" rtl="0" eaLnBrk="1" latinLnBrk="0" hangingPunct="1">
                        <a:lnSpc>
                          <a:spcPct val="85000"/>
                        </a:lnSpc>
                        <a:spcBef>
                          <a:spcPts val="400"/>
                        </a:spcBef>
                        <a:buClr>
                          <a:srgbClr val="1CBECA"/>
                        </a:buClr>
                        <a:buFont typeface="Arial" pitchFamily="34" charset="0"/>
                        <a:defRPr sz="1400" kern="1200">
                          <a:solidFill>
                            <a:srgbClr val="595959"/>
                          </a:solidFill>
                          <a:latin typeface="Arial" pitchFamily="34" charset="0"/>
                        </a:defRPr>
                      </a:lvl3pPr>
                      <a:lvl4pPr marL="1600200" indent="-228600" algn="l" defTabSz="1218652" rtl="0" eaLnBrk="1" latinLnBrk="0" hangingPunct="1">
                        <a:lnSpc>
                          <a:spcPct val="85000"/>
                        </a:lnSpc>
                        <a:buClr>
                          <a:srgbClr val="1CBECA"/>
                        </a:buClr>
                        <a:buFont typeface="Arial" pitchFamily="34" charset="0"/>
                        <a:defRPr sz="1200" kern="1200">
                          <a:solidFill>
                            <a:srgbClr val="595959"/>
                          </a:solidFill>
                          <a:latin typeface="Arial" pitchFamily="34" charset="0"/>
                        </a:defRPr>
                      </a:lvl4pPr>
                      <a:lvl5pPr marL="2057400" indent="-228600" algn="l" defTabSz="1218652" rtl="0" eaLnBrk="1" latinLnBrk="0" hangingPunct="1">
                        <a:lnSpc>
                          <a:spcPct val="85000"/>
                        </a:lnSpc>
                        <a:buClr>
                          <a:srgbClr val="1CBECA"/>
                        </a:buClr>
                        <a:buFont typeface="Arial" pitchFamily="34" charset="0"/>
                        <a:defRPr sz="1200" kern="1200">
                          <a:solidFill>
                            <a:srgbClr val="595959"/>
                          </a:solidFill>
                          <a:latin typeface="Arial" pitchFamily="34" charset="0"/>
                        </a:defRPr>
                      </a:lvl5pPr>
                      <a:lvl6pPr marL="25146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6pPr>
                      <a:lvl7pPr marL="29718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7pPr>
                      <a:lvl8pPr marL="34290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8pPr>
                      <a:lvl9pPr marL="38862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CN" sz="1200" b="1" i="0" u="none" strike="noStrike" cap="none" normalizeH="0" baseline="0" dirty="0">
                          <a:ln>
                            <a:noFill/>
                          </a:ln>
                          <a:solidFill>
                            <a:srgbClr val="0DBCC5"/>
                          </a:solidFill>
                          <a:effectLst/>
                          <a:latin typeface="+mn-lt"/>
                          <a:ea typeface="微软雅黑" panose="020B0503020204020204" pitchFamily="34" charset="-122"/>
                        </a:rPr>
                        <a:t>13.6</a:t>
                      </a:r>
                      <a:r>
                        <a:rPr kumimoji="0" lang="en-GB" altLang="zh-CN" sz="1200" b="1" i="0" u="none" strike="noStrike" cap="none" normalizeH="0" baseline="0" dirty="0">
                          <a:ln>
                            <a:noFill/>
                          </a:ln>
                          <a:solidFill>
                            <a:srgbClr val="595959"/>
                          </a:solidFill>
                          <a:effectLst/>
                          <a:latin typeface="+mn-lt"/>
                          <a:ea typeface="微软雅黑" panose="020B0503020204020204" pitchFamily="34" charset="-122"/>
                        </a:rPr>
                        <a:t> </a:t>
                      </a:r>
                      <a:r>
                        <a:rPr kumimoji="0" lang="en-GB" altLang="zh-CN" sz="1200" b="1" i="0" u="none" strike="noStrike" cap="none" normalizeH="0" baseline="0" dirty="0" err="1">
                          <a:ln>
                            <a:noFill/>
                          </a:ln>
                          <a:solidFill>
                            <a:srgbClr val="595959"/>
                          </a:solidFill>
                          <a:effectLst/>
                          <a:latin typeface="+mn-lt"/>
                          <a:ea typeface="微软雅黑" panose="020B0503020204020204" pitchFamily="34" charset="-122"/>
                        </a:rPr>
                        <a:t>vs</a:t>
                      </a:r>
                      <a:r>
                        <a:rPr kumimoji="0" lang="en-GB" altLang="zh-CN" sz="1200" b="1" i="0" u="none" strike="noStrike" cap="none" normalizeH="0" baseline="0" dirty="0">
                          <a:ln>
                            <a:noFill/>
                          </a:ln>
                          <a:solidFill>
                            <a:srgbClr val="595959"/>
                          </a:solidFill>
                          <a:effectLst/>
                          <a:latin typeface="+mn-lt"/>
                          <a:ea typeface="微软雅黑" panose="020B0503020204020204" pitchFamily="34" charset="-122"/>
                        </a:rPr>
                        <a:t> 6.9 </a:t>
                      </a:r>
                    </a:p>
                  </a:txBody>
                  <a:tcPr marT="34290" marB="34290" anchor="ctr" horzOverflow="overflow">
                    <a:lnL w="9525" cap="flat" cmpd="sng" algn="ctr">
                      <a:solidFill>
                        <a:srgbClr val="717073"/>
                      </a:solidFill>
                      <a:prstDash val="solid"/>
                      <a:round/>
                      <a:headEnd type="none" w="med" len="med"/>
                      <a:tailEnd type="none" w="med" len="med"/>
                    </a:lnL>
                    <a:lnR w="9525" cap="flat" cmpd="sng" algn="ctr">
                      <a:solidFill>
                        <a:srgbClr val="717073"/>
                      </a:solidFill>
                      <a:prstDash val="solid"/>
                      <a:round/>
                      <a:headEnd type="none" w="med" len="med"/>
                      <a:tailEnd type="none" w="med" len="med"/>
                    </a:lnR>
                    <a:lnT>
                      <a:noFill/>
                    </a:lnT>
                    <a:lnB w="9525" cap="flat" cmpd="sng" algn="ctr">
                      <a:solidFill>
                        <a:srgbClr val="717073"/>
                      </a:solidFill>
                      <a:prstDash val="solid"/>
                      <a:round/>
                      <a:headEnd type="none" w="med" len="med"/>
                      <a:tailEnd type="none" w="med" len="med"/>
                    </a:lnB>
                    <a:lnTlToBr>
                      <a:noFill/>
                    </a:lnTlToBr>
                    <a:lnBlToTr>
                      <a:noFill/>
                    </a:lnBlToTr>
                    <a:noFill/>
                  </a:tcPr>
                </a:tc>
                <a:tc>
                  <a:txBody>
                    <a:bodyPr/>
                    <a:lstStyle>
                      <a:lvl1pPr marL="0" algn="l" defTabSz="1218652" rtl="0" eaLnBrk="1" latinLnBrk="0" hangingPunct="1">
                        <a:lnSpc>
                          <a:spcPct val="85000"/>
                        </a:lnSpc>
                        <a:spcBef>
                          <a:spcPts val="1200"/>
                        </a:spcBef>
                        <a:buClr>
                          <a:srgbClr val="1CBECA"/>
                        </a:buClr>
                        <a:buFont typeface="Arial" pitchFamily="34" charset="0"/>
                        <a:defRPr sz="2400" kern="1200">
                          <a:solidFill>
                            <a:srgbClr val="595959"/>
                          </a:solidFill>
                          <a:latin typeface="Arial" pitchFamily="34" charset="0"/>
                        </a:defRPr>
                      </a:lvl1pPr>
                      <a:lvl2pPr marL="742950" indent="-285750" algn="l" defTabSz="1218652" rtl="0" eaLnBrk="1" latinLnBrk="0" hangingPunct="1">
                        <a:lnSpc>
                          <a:spcPct val="85000"/>
                        </a:lnSpc>
                        <a:spcBef>
                          <a:spcPts val="600"/>
                        </a:spcBef>
                        <a:buClr>
                          <a:srgbClr val="595959"/>
                        </a:buClr>
                        <a:buFont typeface="Arial" pitchFamily="34" charset="0"/>
                        <a:defRPr sz="1600" kern="1200">
                          <a:solidFill>
                            <a:srgbClr val="595959"/>
                          </a:solidFill>
                          <a:latin typeface="Arial" pitchFamily="34" charset="0"/>
                        </a:defRPr>
                      </a:lvl2pPr>
                      <a:lvl3pPr marL="1143000" indent="-228600" algn="l" defTabSz="1218652" rtl="0" eaLnBrk="1" latinLnBrk="0" hangingPunct="1">
                        <a:lnSpc>
                          <a:spcPct val="85000"/>
                        </a:lnSpc>
                        <a:spcBef>
                          <a:spcPts val="400"/>
                        </a:spcBef>
                        <a:buClr>
                          <a:srgbClr val="1CBECA"/>
                        </a:buClr>
                        <a:buFont typeface="Arial" pitchFamily="34" charset="0"/>
                        <a:defRPr sz="1400" kern="1200">
                          <a:solidFill>
                            <a:srgbClr val="595959"/>
                          </a:solidFill>
                          <a:latin typeface="Arial" pitchFamily="34" charset="0"/>
                        </a:defRPr>
                      </a:lvl3pPr>
                      <a:lvl4pPr marL="1600200" indent="-228600" algn="l" defTabSz="1218652" rtl="0" eaLnBrk="1" latinLnBrk="0" hangingPunct="1">
                        <a:lnSpc>
                          <a:spcPct val="85000"/>
                        </a:lnSpc>
                        <a:buClr>
                          <a:srgbClr val="1CBECA"/>
                        </a:buClr>
                        <a:buFont typeface="Arial" pitchFamily="34" charset="0"/>
                        <a:defRPr sz="1200" kern="1200">
                          <a:solidFill>
                            <a:srgbClr val="595959"/>
                          </a:solidFill>
                          <a:latin typeface="Arial" pitchFamily="34" charset="0"/>
                        </a:defRPr>
                      </a:lvl4pPr>
                      <a:lvl5pPr marL="2057400" indent="-228600" algn="l" defTabSz="1218652" rtl="0" eaLnBrk="1" latinLnBrk="0" hangingPunct="1">
                        <a:lnSpc>
                          <a:spcPct val="85000"/>
                        </a:lnSpc>
                        <a:buClr>
                          <a:srgbClr val="1CBECA"/>
                        </a:buClr>
                        <a:buFont typeface="Arial" pitchFamily="34" charset="0"/>
                        <a:defRPr sz="1200" kern="1200">
                          <a:solidFill>
                            <a:srgbClr val="595959"/>
                          </a:solidFill>
                          <a:latin typeface="Arial" pitchFamily="34" charset="0"/>
                        </a:defRPr>
                      </a:lvl5pPr>
                      <a:lvl6pPr marL="25146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6pPr>
                      <a:lvl7pPr marL="29718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7pPr>
                      <a:lvl8pPr marL="34290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8pPr>
                      <a:lvl9pPr marL="38862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CN" sz="1200" b="1" i="0" u="none" strike="noStrike" cap="none" normalizeH="0" baseline="0" dirty="0">
                          <a:ln>
                            <a:noFill/>
                          </a:ln>
                          <a:solidFill>
                            <a:srgbClr val="0DBCC5"/>
                          </a:solidFill>
                          <a:effectLst/>
                          <a:latin typeface="+mn-lt"/>
                          <a:ea typeface="微软雅黑" panose="020B0503020204020204" pitchFamily="34" charset="-122"/>
                        </a:rPr>
                        <a:t>11.0</a:t>
                      </a:r>
                      <a:r>
                        <a:rPr kumimoji="0" lang="en-GB" altLang="zh-CN" sz="1200" b="1" i="0" u="none" strike="noStrike" cap="none" normalizeH="0" baseline="0" dirty="0">
                          <a:ln>
                            <a:noFill/>
                          </a:ln>
                          <a:solidFill>
                            <a:srgbClr val="595959"/>
                          </a:solidFill>
                          <a:effectLst/>
                          <a:latin typeface="+mn-lt"/>
                          <a:ea typeface="微软雅黑" panose="020B0503020204020204" pitchFamily="34" charset="-122"/>
                        </a:rPr>
                        <a:t> </a:t>
                      </a:r>
                      <a:r>
                        <a:rPr kumimoji="0" lang="en-GB" altLang="zh-CN" sz="1200" b="1" i="0" u="none" strike="noStrike" cap="none" normalizeH="0" baseline="0" dirty="0" err="1">
                          <a:ln>
                            <a:noFill/>
                          </a:ln>
                          <a:solidFill>
                            <a:srgbClr val="595959"/>
                          </a:solidFill>
                          <a:effectLst/>
                          <a:latin typeface="+mn-lt"/>
                          <a:ea typeface="微软雅黑" panose="020B0503020204020204" pitchFamily="34" charset="-122"/>
                        </a:rPr>
                        <a:t>vs</a:t>
                      </a:r>
                      <a:r>
                        <a:rPr kumimoji="0" lang="en-GB" altLang="zh-CN" sz="1200" b="1" i="0" u="none" strike="noStrike" cap="none" normalizeH="0" baseline="0" dirty="0">
                          <a:ln>
                            <a:noFill/>
                          </a:ln>
                          <a:solidFill>
                            <a:srgbClr val="595959"/>
                          </a:solidFill>
                          <a:effectLst/>
                          <a:latin typeface="+mn-lt"/>
                          <a:ea typeface="微软雅黑" panose="020B0503020204020204" pitchFamily="34" charset="-122"/>
                        </a:rPr>
                        <a:t> 5.6</a:t>
                      </a:r>
                    </a:p>
                  </a:txBody>
                  <a:tcPr marT="34290" marB="34290" anchor="ctr" horzOverflow="overflow">
                    <a:lnL w="9525" cap="flat" cmpd="sng" algn="ctr">
                      <a:solidFill>
                        <a:srgbClr val="717073"/>
                      </a:solidFill>
                      <a:prstDash val="solid"/>
                      <a:round/>
                      <a:headEnd type="none" w="med" len="med"/>
                      <a:tailEnd type="none" w="med" len="med"/>
                    </a:lnL>
                    <a:lnR>
                      <a:noFill/>
                    </a:lnR>
                    <a:lnT>
                      <a:noFill/>
                    </a:lnT>
                    <a:lnB w="9525" cap="flat" cmpd="sng" algn="ctr">
                      <a:solidFill>
                        <a:srgbClr val="71707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46063">
                <a:tc>
                  <a:txBody>
                    <a:bodyPr/>
                    <a:lstStyle>
                      <a:lvl1pPr marL="0" algn="l" defTabSz="1218652" rtl="0" eaLnBrk="1" latinLnBrk="0" hangingPunct="1">
                        <a:lnSpc>
                          <a:spcPct val="85000"/>
                        </a:lnSpc>
                        <a:spcBef>
                          <a:spcPts val="1200"/>
                        </a:spcBef>
                        <a:buClr>
                          <a:srgbClr val="1CBECA"/>
                        </a:buClr>
                        <a:buFont typeface="Arial" pitchFamily="34" charset="0"/>
                        <a:defRPr sz="2400" kern="1200">
                          <a:solidFill>
                            <a:srgbClr val="595959"/>
                          </a:solidFill>
                          <a:latin typeface="Arial" pitchFamily="34" charset="0"/>
                        </a:defRPr>
                      </a:lvl1pPr>
                      <a:lvl2pPr marL="742950" indent="-285750" algn="l" defTabSz="1218652" rtl="0" eaLnBrk="1" latinLnBrk="0" hangingPunct="1">
                        <a:lnSpc>
                          <a:spcPct val="85000"/>
                        </a:lnSpc>
                        <a:spcBef>
                          <a:spcPts val="600"/>
                        </a:spcBef>
                        <a:buClr>
                          <a:srgbClr val="595959"/>
                        </a:buClr>
                        <a:buFont typeface="Arial" pitchFamily="34" charset="0"/>
                        <a:defRPr sz="1600" kern="1200">
                          <a:solidFill>
                            <a:srgbClr val="595959"/>
                          </a:solidFill>
                          <a:latin typeface="Arial" pitchFamily="34" charset="0"/>
                        </a:defRPr>
                      </a:lvl2pPr>
                      <a:lvl3pPr marL="1143000" indent="-228600" algn="l" defTabSz="1218652" rtl="0" eaLnBrk="1" latinLnBrk="0" hangingPunct="1">
                        <a:lnSpc>
                          <a:spcPct val="85000"/>
                        </a:lnSpc>
                        <a:spcBef>
                          <a:spcPts val="400"/>
                        </a:spcBef>
                        <a:buClr>
                          <a:srgbClr val="1CBECA"/>
                        </a:buClr>
                        <a:buFont typeface="Arial" pitchFamily="34" charset="0"/>
                        <a:defRPr sz="1400" kern="1200">
                          <a:solidFill>
                            <a:srgbClr val="595959"/>
                          </a:solidFill>
                          <a:latin typeface="Arial" pitchFamily="34" charset="0"/>
                        </a:defRPr>
                      </a:lvl3pPr>
                      <a:lvl4pPr marL="1600200" indent="-228600" algn="l" defTabSz="1218652" rtl="0" eaLnBrk="1" latinLnBrk="0" hangingPunct="1">
                        <a:lnSpc>
                          <a:spcPct val="85000"/>
                        </a:lnSpc>
                        <a:buClr>
                          <a:srgbClr val="1CBECA"/>
                        </a:buClr>
                        <a:buFont typeface="Arial" pitchFamily="34" charset="0"/>
                        <a:defRPr sz="1200" kern="1200">
                          <a:solidFill>
                            <a:srgbClr val="595959"/>
                          </a:solidFill>
                          <a:latin typeface="Arial" pitchFamily="34" charset="0"/>
                        </a:defRPr>
                      </a:lvl4pPr>
                      <a:lvl5pPr marL="2057400" indent="-228600" algn="l" defTabSz="1218652" rtl="0" eaLnBrk="1" latinLnBrk="0" hangingPunct="1">
                        <a:lnSpc>
                          <a:spcPct val="85000"/>
                        </a:lnSpc>
                        <a:buClr>
                          <a:srgbClr val="1CBECA"/>
                        </a:buClr>
                        <a:buFont typeface="Arial" pitchFamily="34" charset="0"/>
                        <a:defRPr sz="1200" kern="1200">
                          <a:solidFill>
                            <a:srgbClr val="595959"/>
                          </a:solidFill>
                          <a:latin typeface="Arial" pitchFamily="34" charset="0"/>
                        </a:defRPr>
                      </a:lvl5pPr>
                      <a:lvl6pPr marL="25146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6pPr>
                      <a:lvl7pPr marL="29718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7pPr>
                      <a:lvl8pPr marL="34290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8pPr>
                      <a:lvl9pPr marL="38862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GB" altLang="zh-CN" sz="1200" b="1" i="0" u="none" strike="noStrike" cap="none" normalizeH="0" baseline="0">
                          <a:ln>
                            <a:noFill/>
                          </a:ln>
                          <a:solidFill>
                            <a:srgbClr val="595959"/>
                          </a:solidFill>
                          <a:effectLst/>
                          <a:latin typeface="+mn-lt"/>
                          <a:ea typeface="微软雅黑" panose="020B0503020204020204" pitchFamily="34" charset="-122"/>
                        </a:rPr>
                        <a:t>HR, P</a:t>
                      </a:r>
                      <a:r>
                        <a:rPr kumimoji="0" lang="zh-CN" altLang="en-US" sz="1200" b="1" i="0" u="none" strike="noStrike" cap="none" normalizeH="0" baseline="0">
                          <a:ln>
                            <a:noFill/>
                          </a:ln>
                          <a:solidFill>
                            <a:srgbClr val="595959"/>
                          </a:solidFill>
                          <a:effectLst/>
                          <a:latin typeface="+mn-lt"/>
                          <a:ea typeface="微软雅黑" panose="020B0503020204020204" pitchFamily="34" charset="-122"/>
                        </a:rPr>
                        <a:t>值</a:t>
                      </a:r>
                      <a:endParaRPr kumimoji="0" lang="en-GB" altLang="zh-CN" sz="1200" b="1" i="0" u="none" strike="noStrike" cap="none" normalizeH="0" baseline="0">
                        <a:ln>
                          <a:noFill/>
                        </a:ln>
                        <a:solidFill>
                          <a:srgbClr val="595959"/>
                        </a:solidFill>
                        <a:effectLst/>
                        <a:latin typeface="+mn-lt"/>
                        <a:ea typeface="微软雅黑" panose="020B0503020204020204" pitchFamily="34" charset="-122"/>
                      </a:endParaRPr>
                    </a:p>
                  </a:txBody>
                  <a:tcPr marT="34290" marB="34290" anchor="ctr" horzOverflow="overflow">
                    <a:lnL>
                      <a:noFill/>
                    </a:lnL>
                    <a:lnR w="9525" cap="flat" cmpd="sng" algn="ctr">
                      <a:solidFill>
                        <a:srgbClr val="717073"/>
                      </a:solidFill>
                      <a:prstDash val="solid"/>
                      <a:round/>
                      <a:headEnd type="none" w="med" len="med"/>
                      <a:tailEnd type="none" w="med" len="med"/>
                    </a:lnR>
                    <a:lnT w="9525" cap="flat" cmpd="sng" algn="ctr">
                      <a:solidFill>
                        <a:srgbClr val="717073"/>
                      </a:solidFill>
                      <a:prstDash val="solid"/>
                      <a:round/>
                      <a:headEnd type="none" w="med" len="med"/>
                      <a:tailEnd type="none" w="med" len="med"/>
                    </a:lnT>
                    <a:lnB>
                      <a:noFill/>
                    </a:lnB>
                    <a:lnTlToBr>
                      <a:noFill/>
                    </a:lnTlToBr>
                    <a:lnBlToTr>
                      <a:noFill/>
                    </a:lnBlToTr>
                    <a:noFill/>
                  </a:tcPr>
                </a:tc>
                <a:tc>
                  <a:txBody>
                    <a:bodyPr/>
                    <a:lstStyle>
                      <a:lvl1pPr marL="0" algn="l" defTabSz="1218652" rtl="0" eaLnBrk="1" latinLnBrk="0" hangingPunct="1">
                        <a:lnSpc>
                          <a:spcPct val="85000"/>
                        </a:lnSpc>
                        <a:spcBef>
                          <a:spcPts val="1200"/>
                        </a:spcBef>
                        <a:buClr>
                          <a:srgbClr val="1CBECA"/>
                        </a:buClr>
                        <a:buFont typeface="Arial" pitchFamily="34" charset="0"/>
                        <a:defRPr sz="2400" kern="1200">
                          <a:solidFill>
                            <a:srgbClr val="595959"/>
                          </a:solidFill>
                          <a:latin typeface="Arial" pitchFamily="34" charset="0"/>
                        </a:defRPr>
                      </a:lvl1pPr>
                      <a:lvl2pPr marL="742950" indent="-285750" algn="l" defTabSz="1218652" rtl="0" eaLnBrk="1" latinLnBrk="0" hangingPunct="1">
                        <a:lnSpc>
                          <a:spcPct val="85000"/>
                        </a:lnSpc>
                        <a:spcBef>
                          <a:spcPts val="600"/>
                        </a:spcBef>
                        <a:buClr>
                          <a:srgbClr val="595959"/>
                        </a:buClr>
                        <a:buFont typeface="Arial" pitchFamily="34" charset="0"/>
                        <a:defRPr sz="1600" kern="1200">
                          <a:solidFill>
                            <a:srgbClr val="595959"/>
                          </a:solidFill>
                          <a:latin typeface="Arial" pitchFamily="34" charset="0"/>
                        </a:defRPr>
                      </a:lvl2pPr>
                      <a:lvl3pPr marL="1143000" indent="-228600" algn="l" defTabSz="1218652" rtl="0" eaLnBrk="1" latinLnBrk="0" hangingPunct="1">
                        <a:lnSpc>
                          <a:spcPct val="85000"/>
                        </a:lnSpc>
                        <a:spcBef>
                          <a:spcPts val="400"/>
                        </a:spcBef>
                        <a:buClr>
                          <a:srgbClr val="1CBECA"/>
                        </a:buClr>
                        <a:buFont typeface="Arial" pitchFamily="34" charset="0"/>
                        <a:defRPr sz="1400" kern="1200">
                          <a:solidFill>
                            <a:srgbClr val="595959"/>
                          </a:solidFill>
                          <a:latin typeface="Arial" pitchFamily="34" charset="0"/>
                        </a:defRPr>
                      </a:lvl3pPr>
                      <a:lvl4pPr marL="1600200" indent="-228600" algn="l" defTabSz="1218652" rtl="0" eaLnBrk="1" latinLnBrk="0" hangingPunct="1">
                        <a:lnSpc>
                          <a:spcPct val="85000"/>
                        </a:lnSpc>
                        <a:buClr>
                          <a:srgbClr val="1CBECA"/>
                        </a:buClr>
                        <a:buFont typeface="Arial" pitchFamily="34" charset="0"/>
                        <a:defRPr sz="1200" kern="1200">
                          <a:solidFill>
                            <a:srgbClr val="595959"/>
                          </a:solidFill>
                          <a:latin typeface="Arial" pitchFamily="34" charset="0"/>
                        </a:defRPr>
                      </a:lvl4pPr>
                      <a:lvl5pPr marL="2057400" indent="-228600" algn="l" defTabSz="1218652" rtl="0" eaLnBrk="1" latinLnBrk="0" hangingPunct="1">
                        <a:lnSpc>
                          <a:spcPct val="85000"/>
                        </a:lnSpc>
                        <a:buClr>
                          <a:srgbClr val="1CBECA"/>
                        </a:buClr>
                        <a:buFont typeface="Arial" pitchFamily="34" charset="0"/>
                        <a:defRPr sz="1200" kern="1200">
                          <a:solidFill>
                            <a:srgbClr val="595959"/>
                          </a:solidFill>
                          <a:latin typeface="Arial" pitchFamily="34" charset="0"/>
                        </a:defRPr>
                      </a:lvl5pPr>
                      <a:lvl6pPr marL="25146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6pPr>
                      <a:lvl7pPr marL="29718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7pPr>
                      <a:lvl8pPr marL="34290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8pPr>
                      <a:lvl9pPr marL="38862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CN" sz="1200" b="1" i="0" u="none" strike="noStrike" cap="none" normalizeH="0" baseline="0" dirty="0">
                          <a:ln>
                            <a:noFill/>
                          </a:ln>
                          <a:solidFill>
                            <a:srgbClr val="595959"/>
                          </a:solidFill>
                          <a:effectLst/>
                          <a:latin typeface="+mn-lt"/>
                          <a:ea typeface="微软雅黑" panose="020B0503020204020204" pitchFamily="34" charset="-122"/>
                        </a:rPr>
                        <a:t>0.47</a:t>
                      </a:r>
                      <a:r>
                        <a:rPr kumimoji="0" lang="en-GB" altLang="zh-CN" sz="1200" b="0" i="0" u="none" strike="noStrike" cap="none" normalizeH="0" baseline="0" dirty="0">
                          <a:ln>
                            <a:noFill/>
                          </a:ln>
                          <a:solidFill>
                            <a:srgbClr val="595959"/>
                          </a:solidFill>
                          <a:effectLst/>
                          <a:latin typeface="+mn-lt"/>
                          <a:ea typeface="微软雅黑" panose="020B0503020204020204" pitchFamily="34" charset="-122"/>
                        </a:rPr>
                        <a:t>, </a:t>
                      </a:r>
                      <a:r>
                        <a:rPr kumimoji="0" lang="en-GB" altLang="zh-CN" sz="1200" b="1" i="1" u="none" strike="noStrike" cap="none" normalizeH="0" baseline="0" dirty="0">
                          <a:ln>
                            <a:noFill/>
                          </a:ln>
                          <a:solidFill>
                            <a:srgbClr val="595959"/>
                          </a:solidFill>
                          <a:effectLst/>
                          <a:latin typeface="+mn-lt"/>
                          <a:ea typeface="微软雅黑" panose="020B0503020204020204" pitchFamily="34" charset="-122"/>
                        </a:rPr>
                        <a:t>P</a:t>
                      </a:r>
                      <a:r>
                        <a:rPr kumimoji="0" lang="en-GB" altLang="zh-CN" sz="1200" b="1" i="0" u="none" strike="noStrike" cap="none" normalizeH="0" baseline="0" dirty="0">
                          <a:ln>
                            <a:noFill/>
                          </a:ln>
                          <a:solidFill>
                            <a:srgbClr val="595959"/>
                          </a:solidFill>
                          <a:effectLst/>
                          <a:latin typeface="+mn-lt"/>
                          <a:ea typeface="微软雅黑" panose="020B0503020204020204" pitchFamily="34" charset="-122"/>
                        </a:rPr>
                        <a:t>&lt;0.0001</a:t>
                      </a:r>
                    </a:p>
                  </a:txBody>
                  <a:tcPr marT="34290" marB="34290" anchor="ctr" horzOverflow="overflow">
                    <a:lnL w="9525" cap="flat" cmpd="sng" algn="ctr">
                      <a:solidFill>
                        <a:srgbClr val="717073"/>
                      </a:solidFill>
                      <a:prstDash val="solid"/>
                      <a:round/>
                      <a:headEnd type="none" w="med" len="med"/>
                      <a:tailEnd type="none" w="med" len="med"/>
                    </a:lnL>
                    <a:lnR w="9525" cap="flat" cmpd="sng" algn="ctr">
                      <a:solidFill>
                        <a:srgbClr val="717073"/>
                      </a:solidFill>
                      <a:prstDash val="solid"/>
                      <a:round/>
                      <a:headEnd type="none" w="med" len="med"/>
                      <a:tailEnd type="none" w="med" len="med"/>
                    </a:lnR>
                    <a:lnT w="9525" cap="flat" cmpd="sng" algn="ctr">
                      <a:solidFill>
                        <a:srgbClr val="717073"/>
                      </a:solidFill>
                      <a:prstDash val="solid"/>
                      <a:round/>
                      <a:headEnd type="none" w="med" len="med"/>
                      <a:tailEnd type="none" w="med" len="med"/>
                    </a:lnT>
                    <a:lnB>
                      <a:noFill/>
                    </a:lnB>
                    <a:lnTlToBr>
                      <a:noFill/>
                    </a:lnTlToBr>
                    <a:lnBlToTr>
                      <a:noFill/>
                    </a:lnBlToTr>
                    <a:noFill/>
                  </a:tcPr>
                </a:tc>
                <a:tc>
                  <a:txBody>
                    <a:bodyPr/>
                    <a:lstStyle>
                      <a:lvl1pPr marL="0" algn="l" defTabSz="1218652" rtl="0" eaLnBrk="1" latinLnBrk="0" hangingPunct="1">
                        <a:lnSpc>
                          <a:spcPct val="85000"/>
                        </a:lnSpc>
                        <a:spcBef>
                          <a:spcPts val="1200"/>
                        </a:spcBef>
                        <a:buClr>
                          <a:srgbClr val="1CBECA"/>
                        </a:buClr>
                        <a:buFont typeface="Arial" pitchFamily="34" charset="0"/>
                        <a:defRPr sz="2400" kern="1200">
                          <a:solidFill>
                            <a:srgbClr val="595959"/>
                          </a:solidFill>
                          <a:latin typeface="Arial" pitchFamily="34" charset="0"/>
                        </a:defRPr>
                      </a:lvl1pPr>
                      <a:lvl2pPr marL="742950" indent="-285750" algn="l" defTabSz="1218652" rtl="0" eaLnBrk="1" latinLnBrk="0" hangingPunct="1">
                        <a:lnSpc>
                          <a:spcPct val="85000"/>
                        </a:lnSpc>
                        <a:spcBef>
                          <a:spcPts val="600"/>
                        </a:spcBef>
                        <a:buClr>
                          <a:srgbClr val="595959"/>
                        </a:buClr>
                        <a:buFont typeface="Arial" pitchFamily="34" charset="0"/>
                        <a:defRPr sz="1600" kern="1200">
                          <a:solidFill>
                            <a:srgbClr val="595959"/>
                          </a:solidFill>
                          <a:latin typeface="Arial" pitchFamily="34" charset="0"/>
                        </a:defRPr>
                      </a:lvl2pPr>
                      <a:lvl3pPr marL="1143000" indent="-228600" algn="l" defTabSz="1218652" rtl="0" eaLnBrk="1" latinLnBrk="0" hangingPunct="1">
                        <a:lnSpc>
                          <a:spcPct val="85000"/>
                        </a:lnSpc>
                        <a:spcBef>
                          <a:spcPts val="400"/>
                        </a:spcBef>
                        <a:buClr>
                          <a:srgbClr val="1CBECA"/>
                        </a:buClr>
                        <a:buFont typeface="Arial" pitchFamily="34" charset="0"/>
                        <a:defRPr sz="1400" kern="1200">
                          <a:solidFill>
                            <a:srgbClr val="595959"/>
                          </a:solidFill>
                          <a:latin typeface="Arial" pitchFamily="34" charset="0"/>
                        </a:defRPr>
                      </a:lvl3pPr>
                      <a:lvl4pPr marL="1600200" indent="-228600" algn="l" defTabSz="1218652" rtl="0" eaLnBrk="1" latinLnBrk="0" hangingPunct="1">
                        <a:lnSpc>
                          <a:spcPct val="85000"/>
                        </a:lnSpc>
                        <a:buClr>
                          <a:srgbClr val="1CBECA"/>
                        </a:buClr>
                        <a:buFont typeface="Arial" pitchFamily="34" charset="0"/>
                        <a:defRPr sz="1200" kern="1200">
                          <a:solidFill>
                            <a:srgbClr val="595959"/>
                          </a:solidFill>
                          <a:latin typeface="Arial" pitchFamily="34" charset="0"/>
                        </a:defRPr>
                      </a:lvl4pPr>
                      <a:lvl5pPr marL="2057400" indent="-228600" algn="l" defTabSz="1218652" rtl="0" eaLnBrk="1" latinLnBrk="0" hangingPunct="1">
                        <a:lnSpc>
                          <a:spcPct val="85000"/>
                        </a:lnSpc>
                        <a:buClr>
                          <a:srgbClr val="1CBECA"/>
                        </a:buClr>
                        <a:buFont typeface="Arial" pitchFamily="34" charset="0"/>
                        <a:defRPr sz="1200" kern="1200">
                          <a:solidFill>
                            <a:srgbClr val="595959"/>
                          </a:solidFill>
                          <a:latin typeface="Arial" pitchFamily="34" charset="0"/>
                        </a:defRPr>
                      </a:lvl5pPr>
                      <a:lvl6pPr marL="25146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6pPr>
                      <a:lvl7pPr marL="29718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7pPr>
                      <a:lvl8pPr marL="34290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8pPr>
                      <a:lvl9pPr marL="3886200" indent="-228600" algn="l" defTabSz="1218652" rtl="0" eaLnBrk="1" fontAlgn="base" latinLnBrk="0" hangingPunct="1">
                        <a:lnSpc>
                          <a:spcPct val="85000"/>
                        </a:lnSpc>
                        <a:spcBef>
                          <a:spcPct val="0"/>
                        </a:spcBef>
                        <a:spcAft>
                          <a:spcPct val="0"/>
                        </a:spcAft>
                        <a:buClr>
                          <a:srgbClr val="1CBECA"/>
                        </a:buClr>
                        <a:buFont typeface="Arial" pitchFamily="34" charset="0"/>
                        <a:defRPr sz="1200" kern="1200">
                          <a:solidFill>
                            <a:srgbClr val="595959"/>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zh-CN" sz="1200" b="1" i="0" u="none" strike="noStrike" cap="none" normalizeH="0" baseline="0" dirty="0">
                          <a:ln>
                            <a:noFill/>
                          </a:ln>
                          <a:solidFill>
                            <a:srgbClr val="595959"/>
                          </a:solidFill>
                          <a:effectLst/>
                          <a:latin typeface="+mn-lt"/>
                          <a:ea typeface="微软雅黑" panose="020B0503020204020204" pitchFamily="34" charset="-122"/>
                        </a:rPr>
                        <a:t>0.25</a:t>
                      </a:r>
                      <a:r>
                        <a:rPr kumimoji="0" lang="en-GB" altLang="zh-CN" sz="1200" b="0" i="0" u="none" strike="noStrike" cap="none" normalizeH="0" baseline="0" dirty="0">
                          <a:ln>
                            <a:noFill/>
                          </a:ln>
                          <a:solidFill>
                            <a:srgbClr val="595959"/>
                          </a:solidFill>
                          <a:effectLst/>
                          <a:latin typeface="+mn-lt"/>
                          <a:ea typeface="微软雅黑" panose="020B0503020204020204" pitchFamily="34" charset="-122"/>
                        </a:rPr>
                        <a:t>, </a:t>
                      </a:r>
                      <a:r>
                        <a:rPr kumimoji="0" lang="en-GB" altLang="zh-CN" sz="1200" b="1" i="1" u="none" strike="noStrike" cap="none" normalizeH="0" baseline="0" dirty="0">
                          <a:ln>
                            <a:noFill/>
                          </a:ln>
                          <a:solidFill>
                            <a:srgbClr val="595959"/>
                          </a:solidFill>
                          <a:effectLst/>
                          <a:latin typeface="+mn-lt"/>
                          <a:ea typeface="微软雅黑" panose="020B0503020204020204" pitchFamily="34" charset="-122"/>
                        </a:rPr>
                        <a:t>P</a:t>
                      </a:r>
                      <a:r>
                        <a:rPr kumimoji="0" lang="en-GB" altLang="zh-CN" sz="1200" b="1" i="0" u="none" strike="noStrike" cap="none" normalizeH="0" baseline="0" dirty="0">
                          <a:ln>
                            <a:noFill/>
                          </a:ln>
                          <a:solidFill>
                            <a:srgbClr val="595959"/>
                          </a:solidFill>
                          <a:effectLst/>
                          <a:latin typeface="+mn-lt"/>
                          <a:ea typeface="微软雅黑" panose="020B0503020204020204" pitchFamily="34" charset="-122"/>
                        </a:rPr>
                        <a:t>&lt;0.0001</a:t>
                      </a:r>
                    </a:p>
                  </a:txBody>
                  <a:tcPr marT="34290" marB="34290" anchor="ctr" horzOverflow="overflow">
                    <a:lnL w="9525" cap="flat" cmpd="sng" algn="ctr">
                      <a:solidFill>
                        <a:srgbClr val="717073"/>
                      </a:solidFill>
                      <a:prstDash val="solid"/>
                      <a:round/>
                      <a:headEnd type="none" w="med" len="med"/>
                      <a:tailEnd type="none" w="med" len="med"/>
                    </a:lnL>
                    <a:lnR>
                      <a:noFill/>
                    </a:lnR>
                    <a:lnT w="9525" cap="flat" cmpd="sng" algn="ctr">
                      <a:solidFill>
                        <a:srgbClr val="717073"/>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2"/>
                  </a:ext>
                </a:extLst>
              </a:tr>
            </a:tbl>
          </a:graphicData>
        </a:graphic>
      </p:graphicFrame>
      <p:sp>
        <p:nvSpPr>
          <p:cNvPr id="515" name="Title 3"/>
          <p:cNvSpPr txBox="1">
            <a:spLocks/>
          </p:cNvSpPr>
          <p:nvPr/>
        </p:nvSpPr>
        <p:spPr>
          <a:xfrm>
            <a:off x="467543" y="220525"/>
            <a:ext cx="8289854" cy="830997"/>
          </a:xfrm>
          <a:prstGeom prst="rect">
            <a:avLst/>
          </a:prstGeom>
        </p:spPr>
        <p:txBody>
          <a:bodyPr vert="horz" wrap="square" lIns="91440" tIns="45720" rIns="91440" bIns="45720" rtlCol="0" anchor="ctr">
            <a:spAutoFit/>
          </a:bodyPr>
          <a:lstStyle>
            <a:lvl1pPr algn="l" defTabSz="914400" rtl="0" eaLnBrk="1" latinLnBrk="0" hangingPunct="1">
              <a:lnSpc>
                <a:spcPct val="85000"/>
              </a:lnSpc>
              <a:spcBef>
                <a:spcPct val="0"/>
              </a:spcBef>
              <a:buNone/>
              <a:defRPr sz="2700" kern="1200">
                <a:solidFill>
                  <a:schemeClr val="bg1"/>
                </a:solidFill>
                <a:latin typeface="+mj-lt"/>
                <a:ea typeface="+mj-ea"/>
                <a:cs typeface="+mj-cs"/>
              </a:defRPr>
            </a:lvl1pPr>
          </a:lstStyle>
          <a:p>
            <a:pPr marL="0" marR="0" lvl="0" indent="0" algn="l" defTabSz="1218652" rtl="0" eaLnBrk="1" fontAlgn="auto" latinLnBrk="0" hangingPunct="1">
              <a:lnSpc>
                <a:spcPct val="100000"/>
              </a:lnSpc>
              <a:spcBef>
                <a:spcPct val="0"/>
              </a:spcBef>
              <a:spcAft>
                <a:spcPts val="0"/>
              </a:spcAft>
              <a:buClrTx/>
              <a:buSzTx/>
              <a:buFontTx/>
              <a:buNone/>
              <a:tabLst/>
              <a:defRPr/>
            </a:pPr>
            <a:r>
              <a:rPr kumimoji="0" lang="en-US" altLang="zh-CN" sz="2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j-cs"/>
              </a:rPr>
              <a:t>LUX-Lung 3&amp;6: </a:t>
            </a:r>
            <a:r>
              <a:rPr kumimoji="0" lang="zh-CN" altLang="en-US" sz="2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j-cs"/>
              </a:rPr>
              <a:t>对比化疗</a:t>
            </a:r>
            <a:endParaRPr kumimoji="0" lang="en-US" altLang="zh-CN" sz="2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itchFamily="34" charset="0"/>
            </a:endParaRPr>
          </a:p>
          <a:p>
            <a:pPr marL="0" marR="0" lvl="0" indent="0" algn="l" defTabSz="1218652" rtl="0" eaLnBrk="1" fontAlgn="auto" latinLnBrk="0" hangingPunct="1">
              <a:lnSpc>
                <a:spcPct val="100000"/>
              </a:lnSpc>
              <a:spcBef>
                <a:spcPct val="0"/>
              </a:spcBef>
              <a:spcAft>
                <a:spcPts val="0"/>
              </a:spcAft>
              <a:buClrTx/>
              <a:buSzTx/>
              <a:buFontTx/>
              <a:buNone/>
              <a:tabLst/>
              <a:defRPr/>
            </a:pPr>
            <a:r>
              <a:rPr kumimoji="0" lang="zh-CN" altLang="en-US" sz="2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itchFamily="34" charset="0"/>
              </a:rPr>
              <a:t>吉泰瑞</a:t>
            </a:r>
            <a:r>
              <a:rPr kumimoji="0" lang="en-US" altLang="zh-CN" sz="2400" b="1" i="0" u="none" strike="noStrike" kern="1200" cap="none" spc="0" normalizeH="0" baseline="30000" noProof="0" dirty="0">
                <a:ln>
                  <a:noFill/>
                </a:ln>
                <a:solidFill>
                  <a:prstClr val="white"/>
                </a:solidFill>
                <a:effectLst/>
                <a:uLnTx/>
                <a:uFillTx/>
                <a:latin typeface="Arial"/>
                <a:ea typeface="宋体"/>
                <a:cs typeface="Arial" pitchFamily="34" charset="0"/>
              </a:rPr>
              <a:t>®</a:t>
            </a:r>
            <a:r>
              <a:rPr kumimoji="0" lang="zh-CN" altLang="en-US" sz="2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itchFamily="34" charset="0"/>
              </a:rPr>
              <a:t>能</a:t>
            </a:r>
            <a:r>
              <a:rPr kumimoji="0" lang="zh-CN" altLang="en-US" sz="2400" b="1" i="0" u="none" strike="noStrike" kern="1200" cap="none" spc="0" normalizeH="0" baseline="0" noProof="0" dirty="0">
                <a:ln>
                  <a:noFill/>
                </a:ln>
                <a:solidFill>
                  <a:srgbClr val="C3B600">
                    <a:lumMod val="60000"/>
                    <a:lumOff val="40000"/>
                  </a:srgbClr>
                </a:solidFill>
                <a:effectLst/>
                <a:uLnTx/>
                <a:uFillTx/>
                <a:latin typeface="微软雅黑" panose="020B0503020204020204" pitchFamily="34" charset="-122"/>
                <a:ea typeface="微软雅黑" panose="020B0503020204020204" pitchFamily="34" charset="-122"/>
                <a:cs typeface="Arial" pitchFamily="34" charset="0"/>
              </a:rPr>
              <a:t>显著</a:t>
            </a:r>
            <a:r>
              <a:rPr kumimoji="0" lang="zh-CN" altLang="en-US" sz="2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itchFamily="34" charset="0"/>
              </a:rPr>
              <a:t>延长</a:t>
            </a:r>
            <a:r>
              <a:rPr kumimoji="0" lang="en-US" altLang="zh-CN" sz="2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itchFamily="34" charset="0"/>
              </a:rPr>
              <a:t>EGFR</a:t>
            </a:r>
            <a:r>
              <a:rPr kumimoji="0" lang="zh-CN" altLang="en-US" sz="2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itchFamily="34" charset="0"/>
              </a:rPr>
              <a:t>常见突变患者的</a:t>
            </a:r>
            <a:r>
              <a:rPr kumimoji="0" lang="en-US" altLang="zh-CN" sz="2400" b="1" i="0" u="none" strike="noStrike" kern="1200" cap="none" spc="0" normalizeH="0" baseline="0" noProof="0" dirty="0">
                <a:ln>
                  <a:noFill/>
                </a:ln>
                <a:solidFill>
                  <a:srgbClr val="C3B600">
                    <a:lumMod val="60000"/>
                    <a:lumOff val="40000"/>
                  </a:srgbClr>
                </a:solidFill>
                <a:effectLst/>
                <a:uLnTx/>
                <a:uFillTx/>
                <a:latin typeface="微软雅黑" panose="020B0503020204020204" pitchFamily="34" charset="-122"/>
                <a:ea typeface="微软雅黑" panose="020B0503020204020204" pitchFamily="34" charset="-122"/>
                <a:cs typeface="Arial" pitchFamily="34" charset="0"/>
              </a:rPr>
              <a:t>PFS</a:t>
            </a:r>
          </a:p>
        </p:txBody>
      </p:sp>
      <p:cxnSp>
        <p:nvCxnSpPr>
          <p:cNvPr id="516" name="直接连接符 515"/>
          <p:cNvCxnSpPr/>
          <p:nvPr/>
        </p:nvCxnSpPr>
        <p:spPr>
          <a:xfrm>
            <a:off x="4452175" y="3699839"/>
            <a:ext cx="5023" cy="1535623"/>
          </a:xfrm>
          <a:prstGeom prst="line">
            <a:avLst/>
          </a:prstGeom>
          <a:noFill/>
          <a:ln w="19050" cap="rnd" cmpd="sng" algn="ctr">
            <a:solidFill>
              <a:srgbClr val="1CBECA"/>
            </a:solidFill>
            <a:prstDash val="dash"/>
          </a:ln>
          <a:effectLst/>
        </p:spPr>
      </p:cxnSp>
      <p:cxnSp>
        <p:nvCxnSpPr>
          <p:cNvPr id="517" name="直接连接符 516"/>
          <p:cNvCxnSpPr/>
          <p:nvPr/>
        </p:nvCxnSpPr>
        <p:spPr>
          <a:xfrm flipH="1">
            <a:off x="4013870" y="3676859"/>
            <a:ext cx="8384" cy="1584000"/>
          </a:xfrm>
          <a:prstGeom prst="line">
            <a:avLst/>
          </a:prstGeom>
          <a:noFill/>
          <a:ln w="19050" cap="rnd" cmpd="sng" algn="ctr">
            <a:solidFill>
              <a:srgbClr val="1CBECA"/>
            </a:solidFill>
            <a:prstDash val="dash"/>
          </a:ln>
          <a:effectLst/>
        </p:spPr>
      </p:cxnSp>
      <p:grpSp>
        <p:nvGrpSpPr>
          <p:cNvPr id="518" name="组合 517"/>
          <p:cNvGrpSpPr/>
          <p:nvPr/>
        </p:nvGrpSpPr>
        <p:grpSpPr>
          <a:xfrm rot="778896">
            <a:off x="4597967" y="3037597"/>
            <a:ext cx="768746" cy="705187"/>
            <a:chOff x="4987210" y="4293184"/>
            <a:chExt cx="792000" cy="792000"/>
          </a:xfrm>
        </p:grpSpPr>
        <p:sp>
          <p:nvSpPr>
            <p:cNvPr id="519" name="MH_Other_10"/>
            <p:cNvSpPr/>
            <p:nvPr>
              <p:custDataLst>
                <p:tags r:id="rId3"/>
              </p:custDataLst>
            </p:nvPr>
          </p:nvSpPr>
          <p:spPr>
            <a:xfrm flipH="1">
              <a:off x="4987210" y="4293184"/>
              <a:ext cx="792000" cy="792000"/>
            </a:xfrm>
            <a:prstGeom prst="wedgeEllipseCallout">
              <a:avLst>
                <a:gd name="adj1" fmla="val 59213"/>
                <a:gd name="adj2" fmla="val 60367"/>
              </a:avLst>
            </a:prstGeom>
            <a:solidFill>
              <a:srgbClr val="EEECE1"/>
            </a:solidFill>
            <a:ln w="3175" cap="flat" cmpd="sng" algn="ctr">
              <a:noFill/>
              <a:prstDash val="solid"/>
            </a:ln>
            <a:effectLst/>
            <a:scene3d>
              <a:camera prst="orthographicFront">
                <a:rot lat="0" lon="0" rev="0"/>
              </a:camera>
              <a:lightRig rig="contrasting" dir="t">
                <a:rot lat="0" lon="0" rev="7800000"/>
              </a:lightRig>
            </a:scene3d>
            <a:sp3d>
              <a:bevelT w="139700" h="139700"/>
            </a:sp3d>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Arial"/>
                <a:ea typeface="微软雅黑" panose="020B0503020204020204" pitchFamily="34" charset="-122"/>
                <a:cs typeface="+mn-cs"/>
              </a:endParaRPr>
            </a:p>
          </p:txBody>
        </p:sp>
        <p:sp>
          <p:nvSpPr>
            <p:cNvPr id="520" name="MH_Other_11"/>
            <p:cNvSpPr/>
            <p:nvPr>
              <p:custDataLst>
                <p:tags r:id="rId4"/>
              </p:custDataLst>
            </p:nvPr>
          </p:nvSpPr>
          <p:spPr>
            <a:xfrm>
              <a:off x="5060110" y="4363610"/>
              <a:ext cx="651149" cy="651149"/>
            </a:xfrm>
            <a:prstGeom prst="ellipse">
              <a:avLst/>
            </a:prstGeom>
            <a:solidFill>
              <a:srgbClr val="1FBECA"/>
            </a:solidFill>
            <a:ln w="25400" cap="flat" cmpd="sng" algn="ctr">
              <a:noFill/>
              <a:prstDash val="solid"/>
            </a:ln>
            <a:effectLst>
              <a:innerShdw dist="76200" dir="13500000">
                <a:prstClr val="black">
                  <a:alpha val="12000"/>
                </a:prstClr>
              </a:innerShdw>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a:ln>
                  <a:noFill/>
                </a:ln>
                <a:solidFill>
                  <a:prstClr val="white"/>
                </a:solidFill>
                <a:effectLst/>
                <a:uLnTx/>
                <a:uFillTx/>
                <a:latin typeface="Arial"/>
                <a:ea typeface="微软雅黑" panose="020B0503020204020204" pitchFamily="34" charset="-122"/>
                <a:cs typeface="+mn-cs"/>
              </a:endParaRPr>
            </a:p>
          </p:txBody>
        </p:sp>
        <p:sp>
          <p:nvSpPr>
            <p:cNvPr id="521" name="ZoneTexte 345"/>
            <p:cNvSpPr txBox="1"/>
            <p:nvPr/>
          </p:nvSpPr>
          <p:spPr>
            <a:xfrm rot="20821104">
              <a:off x="4990594" y="4531048"/>
              <a:ext cx="766623" cy="309371"/>
            </a:xfrm>
            <a:prstGeom prst="rect">
              <a:avLst/>
            </a:prstGeom>
            <a:noFill/>
          </p:spPr>
          <p:txBody>
            <a:bodyPr wrap="none" rtlCol="0" anchor="ctr">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1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pitchFamily="34" charset="-122"/>
                  <a:ea typeface="微软雅黑" panose="020B0503020204020204" pitchFamily="34" charset="-122"/>
                  <a:cs typeface="+mn-cs"/>
                </a:rPr>
                <a:t>13.6m</a:t>
              </a:r>
            </a:p>
          </p:txBody>
        </p:sp>
      </p:grpSp>
      <p:grpSp>
        <p:nvGrpSpPr>
          <p:cNvPr id="522" name="组合 521"/>
          <p:cNvGrpSpPr/>
          <p:nvPr/>
        </p:nvGrpSpPr>
        <p:grpSpPr>
          <a:xfrm>
            <a:off x="2968774" y="3013172"/>
            <a:ext cx="720000" cy="720000"/>
            <a:chOff x="3667746" y="4272033"/>
            <a:chExt cx="792000" cy="792000"/>
          </a:xfrm>
        </p:grpSpPr>
        <p:sp>
          <p:nvSpPr>
            <p:cNvPr id="523" name="MH_Other_10"/>
            <p:cNvSpPr/>
            <p:nvPr>
              <p:custDataLst>
                <p:tags r:id="rId1"/>
              </p:custDataLst>
            </p:nvPr>
          </p:nvSpPr>
          <p:spPr>
            <a:xfrm flipH="1">
              <a:off x="3667746" y="4272033"/>
              <a:ext cx="792000" cy="792000"/>
            </a:xfrm>
            <a:prstGeom prst="wedgeEllipseCallout">
              <a:avLst>
                <a:gd name="adj1" fmla="val -93342"/>
                <a:gd name="adj2" fmla="val 45488"/>
              </a:avLst>
            </a:prstGeom>
            <a:solidFill>
              <a:srgbClr val="EEECE1"/>
            </a:solidFill>
            <a:ln w="3175" cap="flat" cmpd="sng" algn="ctr">
              <a:noFill/>
              <a:prstDash val="solid"/>
            </a:ln>
            <a:effectLst/>
            <a:scene3d>
              <a:camera prst="orthographicFront">
                <a:rot lat="0" lon="0" rev="0"/>
              </a:camera>
              <a:lightRig rig="contrasting" dir="t">
                <a:rot lat="0" lon="0" rev="7800000"/>
              </a:lightRig>
            </a:scene3d>
            <a:sp3d>
              <a:bevelT w="139700" h="139700"/>
            </a:sp3d>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Arial"/>
                <a:ea typeface="微软雅黑" panose="020B0503020204020204" pitchFamily="34" charset="-122"/>
                <a:cs typeface="+mn-cs"/>
              </a:endParaRPr>
            </a:p>
          </p:txBody>
        </p:sp>
        <p:sp>
          <p:nvSpPr>
            <p:cNvPr id="524" name="MH_Other_11"/>
            <p:cNvSpPr/>
            <p:nvPr>
              <p:custDataLst>
                <p:tags r:id="rId2"/>
              </p:custDataLst>
            </p:nvPr>
          </p:nvSpPr>
          <p:spPr>
            <a:xfrm>
              <a:off x="3740646" y="4342459"/>
              <a:ext cx="651149" cy="651149"/>
            </a:xfrm>
            <a:prstGeom prst="ellipse">
              <a:avLst/>
            </a:prstGeom>
            <a:solidFill>
              <a:srgbClr val="1FBECA"/>
            </a:solidFill>
            <a:ln w="25400" cap="flat" cmpd="sng" algn="ctr">
              <a:noFill/>
              <a:prstDash val="solid"/>
            </a:ln>
            <a:effectLst>
              <a:innerShdw dist="76200" dir="13500000">
                <a:prstClr val="black">
                  <a:alpha val="12000"/>
                </a:prstClr>
              </a:innerShdw>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a:ln>
                  <a:noFill/>
                </a:ln>
                <a:solidFill>
                  <a:prstClr val="white"/>
                </a:solidFill>
                <a:effectLst/>
                <a:uLnTx/>
                <a:uFillTx/>
                <a:latin typeface="Arial"/>
                <a:ea typeface="微软雅黑" panose="020B0503020204020204" pitchFamily="34" charset="-122"/>
                <a:cs typeface="+mn-cs"/>
              </a:endParaRPr>
            </a:p>
          </p:txBody>
        </p:sp>
        <p:sp>
          <p:nvSpPr>
            <p:cNvPr id="525" name="ZoneTexte 345"/>
            <p:cNvSpPr txBox="1"/>
            <p:nvPr/>
          </p:nvSpPr>
          <p:spPr>
            <a:xfrm>
              <a:off x="3734228" y="4513079"/>
              <a:ext cx="640432" cy="303006"/>
            </a:xfrm>
            <a:prstGeom prst="rect">
              <a:avLst/>
            </a:prstGeom>
            <a:noFill/>
          </p:spPr>
          <p:txBody>
            <a:bodyPr wrap="none" rtlCol="0" anchor="ctr">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1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pitchFamily="34" charset="-122"/>
                  <a:ea typeface="微软雅黑" panose="020B0503020204020204" pitchFamily="34" charset="-122"/>
                  <a:cs typeface="+mn-cs"/>
                </a:rPr>
                <a:t>11m</a:t>
              </a:r>
            </a:p>
          </p:txBody>
        </p:sp>
      </p:grpSp>
      <p:cxnSp>
        <p:nvCxnSpPr>
          <p:cNvPr id="528" name="直接连接符 527"/>
          <p:cNvCxnSpPr/>
          <p:nvPr/>
        </p:nvCxnSpPr>
        <p:spPr>
          <a:xfrm>
            <a:off x="2047900" y="3686768"/>
            <a:ext cx="2376000" cy="0"/>
          </a:xfrm>
          <a:prstGeom prst="line">
            <a:avLst/>
          </a:prstGeom>
          <a:noFill/>
          <a:ln w="19050" cap="rnd" cmpd="sng" algn="ctr">
            <a:solidFill>
              <a:srgbClr val="1CBECA"/>
            </a:solidFill>
            <a:prstDash val="dash"/>
          </a:ln>
          <a:effectLst/>
        </p:spPr>
      </p:cxnSp>
      <p:sp>
        <p:nvSpPr>
          <p:cNvPr id="526" name="Rectangle 1"/>
          <p:cNvSpPr>
            <a:spLocks noChangeArrowheads="1"/>
          </p:cNvSpPr>
          <p:nvPr/>
        </p:nvSpPr>
        <p:spPr bwMode="auto">
          <a:xfrm>
            <a:off x="88624" y="6482295"/>
            <a:ext cx="6502581" cy="424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lstStyle>
            <a:lvl1pPr marL="66675" indent="-66675">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66675" marR="0" lvl="0" indent="-66675" algn="l" defTabSz="914400" rtl="0" eaLnBrk="1" fontAlgn="base" latinLnBrk="0" hangingPunct="1">
              <a:lnSpc>
                <a:spcPct val="90000"/>
              </a:lnSpc>
              <a:spcBef>
                <a:spcPts val="300"/>
              </a:spcBef>
              <a:spcAft>
                <a:spcPct val="0"/>
              </a:spcAft>
              <a:buClrTx/>
              <a:buSzTx/>
              <a:buFontTx/>
              <a:buNone/>
              <a:tabLst/>
              <a:defRPr/>
            </a:pPr>
            <a:r>
              <a:rPr kumimoji="0" lang="en-GB" altLang="en-US" sz="1000" b="0" i="0" u="none" strike="noStrike" kern="1200" cap="none" spc="0" normalizeH="0" baseline="0" noProof="0" dirty="0">
                <a:ln>
                  <a:noFill/>
                </a:ln>
                <a:solidFill>
                  <a:prstClr val="black"/>
                </a:solidFill>
                <a:effectLst/>
                <a:uLnTx/>
                <a:uFillTx/>
                <a:latin typeface="Arial" pitchFamily="34" charset="0"/>
                <a:ea typeface="微软雅黑" panose="020B0503020204020204" pitchFamily="34" charset="-122"/>
                <a:cs typeface="Arial" panose="020B0604020202020204" pitchFamily="34" charset="0"/>
              </a:rPr>
              <a:t>1. </a:t>
            </a:r>
            <a:r>
              <a:rPr kumimoji="0" lang="en-GB" altLang="en-US" sz="1000" b="0" i="0" u="none" strike="noStrike" kern="1200" cap="none" spc="0" normalizeH="0" baseline="0" noProof="0" dirty="0" err="1">
                <a:ln>
                  <a:noFill/>
                </a:ln>
                <a:solidFill>
                  <a:prstClr val="black"/>
                </a:solidFill>
                <a:effectLst/>
                <a:uLnTx/>
                <a:uFillTx/>
                <a:latin typeface="Arial" pitchFamily="34" charset="0"/>
                <a:ea typeface="微软雅黑" panose="020B0503020204020204" pitchFamily="34" charset="-122"/>
                <a:cs typeface="Arial" panose="020B0604020202020204" pitchFamily="34" charset="0"/>
              </a:rPr>
              <a:t>Sequist</a:t>
            </a:r>
            <a:r>
              <a:rPr kumimoji="0" lang="en-GB" altLang="en-US" sz="1000" b="0" i="0" u="none" strike="noStrike" kern="1200" cap="none" spc="0" normalizeH="0" baseline="0" noProof="0" dirty="0">
                <a:ln>
                  <a:noFill/>
                </a:ln>
                <a:solidFill>
                  <a:prstClr val="black"/>
                </a:solidFill>
                <a:effectLst/>
                <a:uLnTx/>
                <a:uFillTx/>
                <a:latin typeface="Arial" pitchFamily="34" charset="0"/>
                <a:ea typeface="微软雅黑" panose="020B0503020204020204" pitchFamily="34" charset="-122"/>
                <a:cs typeface="Arial" panose="020B0604020202020204" pitchFamily="34" charset="0"/>
              </a:rPr>
              <a:t> et al. J </a:t>
            </a:r>
            <a:r>
              <a:rPr kumimoji="0" lang="en-GB" altLang="en-US" sz="1000" b="0" i="0" u="none" strike="noStrike" kern="1200" cap="none" spc="0" normalizeH="0" baseline="0" noProof="0" dirty="0" err="1">
                <a:ln>
                  <a:noFill/>
                </a:ln>
                <a:solidFill>
                  <a:prstClr val="black"/>
                </a:solidFill>
                <a:effectLst/>
                <a:uLnTx/>
                <a:uFillTx/>
                <a:latin typeface="Arial" pitchFamily="34" charset="0"/>
                <a:ea typeface="微软雅黑" panose="020B0503020204020204" pitchFamily="34" charset="-122"/>
                <a:cs typeface="Arial" panose="020B0604020202020204" pitchFamily="34" charset="0"/>
              </a:rPr>
              <a:t>Clin</a:t>
            </a:r>
            <a:r>
              <a:rPr kumimoji="0" lang="en-GB" altLang="en-US" sz="1000" b="0" i="0" u="none" strike="noStrike" kern="1200" cap="none" spc="0" normalizeH="0" baseline="0" noProof="0" dirty="0">
                <a:ln>
                  <a:noFill/>
                </a:ln>
                <a:solidFill>
                  <a:prstClr val="black"/>
                </a:solidFill>
                <a:effectLst/>
                <a:uLnTx/>
                <a:uFillTx/>
                <a:latin typeface="Arial" pitchFamily="34" charset="0"/>
                <a:ea typeface="微软雅黑" panose="020B0503020204020204" pitchFamily="34" charset="-122"/>
                <a:cs typeface="Arial" panose="020B0604020202020204" pitchFamily="34" charset="0"/>
              </a:rPr>
              <a:t> </a:t>
            </a:r>
            <a:r>
              <a:rPr kumimoji="0" lang="en-GB" altLang="en-US" sz="1000" b="0" i="0" u="none" strike="noStrike" kern="1200" cap="none" spc="0" normalizeH="0" baseline="0" noProof="0" dirty="0" err="1">
                <a:ln>
                  <a:noFill/>
                </a:ln>
                <a:solidFill>
                  <a:prstClr val="black"/>
                </a:solidFill>
                <a:effectLst/>
                <a:uLnTx/>
                <a:uFillTx/>
                <a:latin typeface="Arial" pitchFamily="34" charset="0"/>
                <a:ea typeface="微软雅黑" panose="020B0503020204020204" pitchFamily="34" charset="-122"/>
                <a:cs typeface="Arial" panose="020B0604020202020204" pitchFamily="34" charset="0"/>
              </a:rPr>
              <a:t>Oncol</a:t>
            </a:r>
            <a:r>
              <a:rPr kumimoji="0" lang="en-GB" altLang="en-US" sz="1000" b="0" i="0" u="none" strike="noStrike" kern="1200" cap="none" spc="0" normalizeH="0" baseline="0" noProof="0" dirty="0">
                <a:ln>
                  <a:noFill/>
                </a:ln>
                <a:solidFill>
                  <a:prstClr val="black"/>
                </a:solidFill>
                <a:effectLst/>
                <a:uLnTx/>
                <a:uFillTx/>
                <a:latin typeface="Arial" pitchFamily="34" charset="0"/>
                <a:ea typeface="微软雅黑" panose="020B0503020204020204" pitchFamily="34" charset="-122"/>
                <a:cs typeface="Arial" panose="020B0604020202020204" pitchFamily="34" charset="0"/>
              </a:rPr>
              <a:t>. 2013;31:3327; </a:t>
            </a:r>
          </a:p>
          <a:p>
            <a:pPr lvl="0" defTabSz="914400" fontAlgn="base">
              <a:lnSpc>
                <a:spcPct val="90000"/>
              </a:lnSpc>
              <a:spcBef>
                <a:spcPts val="300"/>
              </a:spcBef>
              <a:spcAft>
                <a:spcPct val="0"/>
              </a:spcAft>
              <a:defRPr/>
            </a:pPr>
            <a:r>
              <a:rPr lang="en-GB" altLang="en-US" sz="1000" dirty="0">
                <a:solidFill>
                  <a:prstClr val="black"/>
                </a:solidFill>
                <a:ea typeface="微软雅黑" panose="020B0503020204020204" pitchFamily="34" charset="-122"/>
                <a:cs typeface="Arial" panose="020B0604020202020204" pitchFamily="34" charset="0"/>
              </a:rPr>
              <a:t>2. Wu et al. Lancet </a:t>
            </a:r>
            <a:r>
              <a:rPr lang="en-GB" altLang="en-US" sz="1000" dirty="0" err="1">
                <a:solidFill>
                  <a:prstClr val="black"/>
                </a:solidFill>
                <a:ea typeface="微软雅黑" panose="020B0503020204020204" pitchFamily="34" charset="-122"/>
                <a:cs typeface="Arial" panose="020B0604020202020204" pitchFamily="34" charset="0"/>
              </a:rPr>
              <a:t>Oncol</a:t>
            </a:r>
            <a:r>
              <a:rPr lang="en-GB" altLang="en-US" sz="1000" dirty="0">
                <a:solidFill>
                  <a:prstClr val="black"/>
                </a:solidFill>
                <a:ea typeface="微软雅黑" panose="020B0503020204020204" pitchFamily="34" charset="-122"/>
                <a:cs typeface="Arial" panose="020B0604020202020204" pitchFamily="34" charset="0"/>
              </a:rPr>
              <a:t>. 2014;15:213. </a:t>
            </a:r>
          </a:p>
        </p:txBody>
      </p:sp>
    </p:spTree>
    <p:extLst>
      <p:ext uri="{BB962C8B-B14F-4D97-AF65-F5344CB8AC3E}">
        <p14:creationId xmlns:p14="http://schemas.microsoft.com/office/powerpoint/2010/main" val="3047099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1" name="对象 510"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2" name="think-cell Slide" r:id="rId10" imgW="270" imgH="270" progId="TCLayout.ActiveDocument.1">
                  <p:embed/>
                </p:oleObj>
              </mc:Choice>
              <mc:Fallback>
                <p:oleObj name="think-cell Slide" r:id="rId10" imgW="270" imgH="270" progId="TCLayout.ActiveDocument.1">
                  <p:embed/>
                  <p:pic>
                    <p:nvPicPr>
                      <p:cNvPr id="511" name="对象 510"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10" name="矩形 509" hidden="1"/>
          <p:cNvSpPr/>
          <p:nvPr>
            <p:custDataLst>
              <p:tags r:id="rId3"/>
            </p:custDataLst>
          </p:nvPr>
        </p:nvSpPr>
        <p:spPr>
          <a:xfrm>
            <a:off x="33176" y="-105291"/>
            <a:ext cx="92398" cy="369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altLang="zh-CN" sz="2400" b="1" i="0" u="none" strike="noStrike" kern="1200" cap="none" spc="0" normalizeH="0" baseline="0" noProof="0" dirty="0" err="1">
              <a:ln>
                <a:noFill/>
              </a:ln>
              <a:solidFill>
                <a:prstClr val="white"/>
              </a:solidFill>
              <a:effectLst/>
              <a:uLnTx/>
              <a:uFillTx/>
              <a:latin typeface="微软雅黑"/>
              <a:ea typeface="微软雅黑"/>
              <a:cs typeface="Arial"/>
              <a:sym typeface="微软雅黑"/>
            </a:endParaRPr>
          </a:p>
        </p:txBody>
      </p:sp>
      <p:sp>
        <p:nvSpPr>
          <p:cNvPr id="5" name="Title 4"/>
          <p:cNvSpPr>
            <a:spLocks noGrp="1"/>
          </p:cNvSpPr>
          <p:nvPr>
            <p:ph type="title"/>
          </p:nvPr>
        </p:nvSpPr>
        <p:spPr>
          <a:xfrm>
            <a:off x="379813" y="258417"/>
            <a:ext cx="8425145" cy="720197"/>
          </a:xfrm>
        </p:spPr>
        <p:txBody>
          <a:bodyPr anchor="t"/>
          <a:lstStyle/>
          <a:p>
            <a:r>
              <a:rPr lang="en-US" altLang="zh-CN" sz="2400" b="1" dirty="0">
                <a:latin typeface="Microsoft YaHei" panose="020B0503020204020204" pitchFamily="34" charset="-122"/>
                <a:ea typeface="Microsoft YaHei" panose="020B0503020204020204" pitchFamily="34" charset="-122"/>
              </a:rPr>
              <a:t>LUX-Lung 3&amp;6 </a:t>
            </a:r>
            <a:r>
              <a:rPr lang="zh-CN" altLang="en-US" sz="2400" b="1" dirty="0">
                <a:latin typeface="Microsoft YaHei" panose="020B0503020204020204" pitchFamily="34" charset="-122"/>
                <a:ea typeface="Microsoft YaHei" panose="020B0503020204020204" pitchFamily="34" charset="-122"/>
              </a:rPr>
              <a:t>合并分析</a:t>
            </a:r>
            <a:r>
              <a:rPr lang="en-US" altLang="zh-CN" sz="2400" b="1" dirty="0">
                <a:latin typeface="Microsoft YaHei" panose="020B0503020204020204" pitchFamily="34" charset="-122"/>
                <a:ea typeface="Microsoft YaHei" panose="020B0503020204020204" pitchFamily="34" charset="-122"/>
              </a:rPr>
              <a:t>: </a:t>
            </a:r>
            <a:r>
              <a:rPr lang="zh-CN" altLang="en-US" sz="2400" b="1" dirty="0">
                <a:latin typeface="Microsoft YaHei" panose="020B0503020204020204" pitchFamily="34" charset="-122"/>
                <a:ea typeface="Microsoft YaHei" panose="020B0503020204020204" pitchFamily="34" charset="-122"/>
              </a:rPr>
              <a:t>对比化疗</a:t>
            </a:r>
            <a:br>
              <a:rPr lang="en-US" altLang="zh-CN" sz="2400" b="1" dirty="0">
                <a:latin typeface="Microsoft YaHei" panose="020B0503020204020204" pitchFamily="34" charset="-122"/>
                <a:ea typeface="Microsoft YaHei" panose="020B0503020204020204" pitchFamily="34" charset="-122"/>
              </a:rPr>
            </a:br>
            <a:r>
              <a:rPr lang="zh-CN" altLang="en-US" sz="2400" b="1" dirty="0">
                <a:latin typeface="Microsoft YaHei" panose="020B0503020204020204" pitchFamily="34" charset="-122"/>
                <a:ea typeface="Microsoft YaHei" panose="020B0503020204020204" pitchFamily="34" charset="-122"/>
              </a:rPr>
              <a:t>吉泰瑞</a:t>
            </a:r>
            <a:r>
              <a:rPr lang="en-US" altLang="zh-CN" sz="2400" b="1" baseline="30000" dirty="0">
                <a:latin typeface="Microsoft YaHei" panose="020B0503020204020204" pitchFamily="34" charset="-122"/>
                <a:ea typeface="Microsoft YaHei" panose="020B0503020204020204" pitchFamily="34" charset="-122"/>
              </a:rPr>
              <a:t>®</a:t>
            </a:r>
            <a:r>
              <a:rPr lang="zh-CN" altLang="en-US" sz="2400" b="1" dirty="0">
                <a:latin typeface="Microsoft YaHei" panose="020B0503020204020204" pitchFamily="34" charset="-122"/>
                <a:ea typeface="Microsoft YaHei" panose="020B0503020204020204" pitchFamily="34" charset="-122"/>
              </a:rPr>
              <a:t>能</a:t>
            </a:r>
            <a:r>
              <a:rPr lang="zh-CN" altLang="en-US" sz="2400" b="1" dirty="0">
                <a:solidFill>
                  <a:schemeClr val="accent2">
                    <a:lumMod val="60000"/>
                    <a:lumOff val="40000"/>
                  </a:schemeClr>
                </a:solidFill>
                <a:latin typeface="Microsoft YaHei" panose="020B0503020204020204" pitchFamily="34" charset="-122"/>
                <a:ea typeface="Microsoft YaHei" panose="020B0503020204020204" pitchFamily="34" charset="-122"/>
              </a:rPr>
              <a:t>显著</a:t>
            </a:r>
            <a:r>
              <a:rPr lang="zh-CN" altLang="en-US" sz="2400" b="1" dirty="0">
                <a:latin typeface="Microsoft YaHei" panose="020B0503020204020204" pitchFamily="34" charset="-122"/>
                <a:ea typeface="Microsoft YaHei" panose="020B0503020204020204" pitchFamily="34" charset="-122"/>
              </a:rPr>
              <a:t>延长</a:t>
            </a:r>
            <a:r>
              <a:rPr lang="en-US" altLang="zh-CN" sz="2400" b="1" dirty="0">
                <a:latin typeface="Microsoft YaHei" panose="020B0503020204020204" pitchFamily="34" charset="-122"/>
                <a:ea typeface="Microsoft YaHei" panose="020B0503020204020204" pitchFamily="34" charset="-122"/>
              </a:rPr>
              <a:t>EGFR</a:t>
            </a:r>
            <a:r>
              <a:rPr lang="zh-CN" altLang="en-US" sz="2400" b="1" dirty="0">
                <a:latin typeface="Microsoft YaHei" panose="020B0503020204020204" pitchFamily="34" charset="-122"/>
                <a:ea typeface="Microsoft YaHei" panose="020B0503020204020204" pitchFamily="34" charset="-122"/>
              </a:rPr>
              <a:t>常见突变患者的</a:t>
            </a:r>
            <a:r>
              <a:rPr lang="en-US" altLang="zh-CN" sz="2400" b="1" dirty="0">
                <a:solidFill>
                  <a:schemeClr val="accent2">
                    <a:lumMod val="60000"/>
                    <a:lumOff val="40000"/>
                  </a:schemeClr>
                </a:solidFill>
                <a:latin typeface="Microsoft YaHei" panose="020B0503020204020204" pitchFamily="34" charset="-122"/>
                <a:ea typeface="Microsoft YaHei" panose="020B0503020204020204" pitchFamily="34" charset="-122"/>
              </a:rPr>
              <a:t>OS </a:t>
            </a:r>
            <a:endParaRPr lang="en-US" sz="2400" b="1" dirty="0">
              <a:solidFill>
                <a:schemeClr val="accent2">
                  <a:lumMod val="60000"/>
                  <a:lumOff val="40000"/>
                </a:schemeClr>
              </a:solidFill>
              <a:latin typeface="Microsoft YaHei" panose="020B0503020204020204" pitchFamily="34" charset="-122"/>
              <a:ea typeface="Microsoft YaHei" panose="020B0503020204020204" pitchFamily="34" charset="-122"/>
            </a:endParaRPr>
          </a:p>
        </p:txBody>
      </p:sp>
      <p:sp>
        <p:nvSpPr>
          <p:cNvPr id="6" name="Round Same Side Corner Rectangle 18"/>
          <p:cNvSpPr/>
          <p:nvPr/>
        </p:nvSpPr>
        <p:spPr>
          <a:xfrm rot="10800000">
            <a:off x="1187625" y="2023194"/>
            <a:ext cx="7016824" cy="4084513"/>
          </a:xfrm>
          <a:prstGeom prst="round2SameRect">
            <a:avLst>
              <a:gd name="adj1" fmla="val 4503"/>
              <a:gd name="adj2" fmla="val 0"/>
            </a:avLst>
          </a:prstGeom>
          <a:solidFill>
            <a:sysClr val="window" lastClr="FFFFFF"/>
          </a:solidFill>
          <a:ln w="12700" cap="rnd" cmpd="sng" algn="ctr">
            <a:solidFill>
              <a:srgbClr val="C3B600"/>
            </a:solid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7" name="Round Same Side Corner Rectangle 21"/>
          <p:cNvSpPr/>
          <p:nvPr/>
        </p:nvSpPr>
        <p:spPr>
          <a:xfrm>
            <a:off x="1187627" y="1484784"/>
            <a:ext cx="7016824" cy="546100"/>
          </a:xfrm>
          <a:prstGeom prst="round2SameRect">
            <a:avLst>
              <a:gd name="adj1" fmla="val 50000"/>
              <a:gd name="adj2" fmla="val 0"/>
            </a:avLst>
          </a:prstGeom>
          <a:solidFill>
            <a:srgbClr val="1CBECA"/>
          </a:solidFill>
          <a:ln w="12700" cap="rnd" cmpd="sng" algn="ctr">
            <a:solidFill>
              <a:srgbClr val="C3B600"/>
            </a:solidFill>
            <a:prstDash val="solid"/>
          </a:ln>
          <a:effectLst/>
        </p:spPr>
        <p:txBody>
          <a:bodyPr tIns="91440" bIns="0" anchor="b" anchorCtr="1"/>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zh-CN" altLang="en-US" sz="1600" b="1" i="0" u="none" strike="noStrike" kern="0" cap="none" spc="0" normalizeH="0" baseline="0" noProof="0" dirty="0">
                <a:ln>
                  <a:noFill/>
                </a:ln>
                <a:solidFill>
                  <a:prstClr val="white"/>
                </a:solidFill>
                <a:effectLst/>
                <a:uLnTx/>
                <a:uFillTx/>
                <a:latin typeface="Arial"/>
                <a:ea typeface="微软雅黑" panose="020B0503020204020204" pitchFamily="34" charset="-122"/>
                <a:cs typeface="+mn-cs"/>
              </a:rPr>
              <a:t>常见突变 </a:t>
            </a:r>
            <a:r>
              <a:rPr kumimoji="0" lang="en-US" altLang="zh-CN" sz="1600" b="1" i="0" u="none" strike="noStrike" kern="0" cap="none" spc="0" normalizeH="0" baseline="0" noProof="0" dirty="0">
                <a:ln>
                  <a:noFill/>
                </a:ln>
                <a:solidFill>
                  <a:prstClr val="white"/>
                </a:solidFill>
                <a:effectLst/>
                <a:uLnTx/>
                <a:uFillTx/>
                <a:latin typeface="Arial"/>
                <a:ea typeface="微软雅黑" panose="020B0503020204020204" pitchFamily="34" charset="-122"/>
                <a:cs typeface="+mn-cs"/>
              </a:rPr>
              <a:t>(</a:t>
            </a:r>
            <a:r>
              <a:rPr kumimoji="0" lang="en-US" altLang="en-US" sz="1600" b="1" i="0" u="none" strike="noStrike" kern="0" cap="none" spc="0" normalizeH="0" baseline="0" noProof="0" dirty="0">
                <a:ln>
                  <a:noFill/>
                </a:ln>
                <a:solidFill>
                  <a:prstClr val="white"/>
                </a:solidFill>
                <a:effectLst/>
                <a:uLnTx/>
                <a:uFillTx/>
                <a:latin typeface="Arial"/>
                <a:ea typeface="微软雅黑" panose="020B0503020204020204" pitchFamily="34" charset="-122"/>
                <a:cs typeface="+mn-cs"/>
              </a:rPr>
              <a:t>Del19/L858R) </a:t>
            </a:r>
            <a:br>
              <a:rPr kumimoji="0" lang="en-US" altLang="en-US" sz="1600" b="1" i="0" u="none" strike="noStrike" kern="0" cap="none" spc="0" normalizeH="0" baseline="0" noProof="0" dirty="0">
                <a:ln>
                  <a:noFill/>
                </a:ln>
                <a:solidFill>
                  <a:prstClr val="white"/>
                </a:solidFill>
                <a:effectLst/>
                <a:uLnTx/>
                <a:uFillTx/>
                <a:latin typeface="Arial"/>
                <a:ea typeface="微软雅黑" panose="020B0503020204020204" pitchFamily="34" charset="-122"/>
                <a:cs typeface="+mn-cs"/>
              </a:rPr>
            </a:br>
            <a:r>
              <a:rPr kumimoji="0" lang="en-US" altLang="en-US" sz="1600" b="1" i="0" u="none" strike="noStrike" kern="0" cap="none" spc="0" normalizeH="0" baseline="0" noProof="0" dirty="0">
                <a:ln>
                  <a:noFill/>
                </a:ln>
                <a:solidFill>
                  <a:prstClr val="white"/>
                </a:solidFill>
                <a:effectLst/>
                <a:uLnTx/>
                <a:uFillTx/>
                <a:latin typeface="Arial"/>
                <a:ea typeface="微软雅黑" panose="020B0503020204020204" pitchFamily="34" charset="-122"/>
                <a:cs typeface="+mn-cs"/>
              </a:rPr>
              <a:t>(n=631)</a:t>
            </a:r>
          </a:p>
        </p:txBody>
      </p:sp>
      <p:cxnSp>
        <p:nvCxnSpPr>
          <p:cNvPr id="8" name="Straight Connector 35"/>
          <p:cNvCxnSpPr/>
          <p:nvPr/>
        </p:nvCxnSpPr>
        <p:spPr>
          <a:xfrm flipH="1">
            <a:off x="2227986" y="5261447"/>
            <a:ext cx="34925" cy="0"/>
          </a:xfrm>
          <a:prstGeom prst="line">
            <a:avLst/>
          </a:prstGeom>
          <a:noFill/>
          <a:ln w="12700" cap="rnd" cmpd="sng" algn="ctr">
            <a:solidFill>
              <a:sysClr val="windowText" lastClr="000000"/>
            </a:solidFill>
            <a:prstDash val="solid"/>
          </a:ln>
          <a:effectLst/>
        </p:spPr>
      </p:cxnSp>
      <p:sp>
        <p:nvSpPr>
          <p:cNvPr id="9" name="TextBox 36"/>
          <p:cNvSpPr txBox="1">
            <a:spLocks noChangeArrowheads="1"/>
          </p:cNvSpPr>
          <p:nvPr/>
        </p:nvSpPr>
        <p:spPr bwMode="auto">
          <a:xfrm>
            <a:off x="3074124" y="5594822"/>
            <a:ext cx="3535362"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900" b="0" i="0" u="none" strike="noStrike" kern="0" cap="none" spc="0" normalizeH="0" baseline="0" noProof="0" dirty="0">
                <a:ln>
                  <a:noFill/>
                </a:ln>
                <a:solidFill>
                  <a:srgbClr val="000000"/>
                </a:solidFill>
                <a:effectLst/>
                <a:uLnTx/>
                <a:uFillTx/>
                <a:latin typeface="Arial" pitchFamily="34" charset="0"/>
                <a:ea typeface="黑体" panose="02010609060101010101" pitchFamily="49" charset="-122"/>
                <a:cs typeface="+mn-cs"/>
              </a:rPr>
              <a:t>总体</a:t>
            </a:r>
            <a:r>
              <a:rPr kumimoji="0" lang="zh-CN" altLang="en-US" sz="9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生存期</a:t>
            </a:r>
            <a:r>
              <a:rPr kumimoji="0" lang="en-US" altLang="zh-CN" sz="900" b="0" i="0" u="none" strike="noStrike" kern="0" cap="none" spc="0" normalizeH="0" baseline="0" noProof="0" dirty="0">
                <a:ln>
                  <a:noFill/>
                </a:ln>
                <a:solidFill>
                  <a:srgbClr val="000000"/>
                </a:solidFill>
                <a:effectLst/>
                <a:uLnTx/>
                <a:uFillTx/>
                <a:latin typeface="Arial" pitchFamily="34" charset="0"/>
                <a:ea typeface="黑体" panose="02010609060101010101" pitchFamily="49" charset="-122"/>
                <a:cs typeface="+mn-cs"/>
              </a:rPr>
              <a:t>(</a:t>
            </a:r>
            <a:r>
              <a:rPr kumimoji="0" lang="zh-CN" altLang="en-US" sz="900" b="0" i="0" u="none" strike="noStrike" kern="0" cap="none" spc="0" normalizeH="0" baseline="0" noProof="0" dirty="0">
                <a:ln>
                  <a:noFill/>
                </a:ln>
                <a:solidFill>
                  <a:srgbClr val="000000"/>
                </a:solidFill>
                <a:effectLst/>
                <a:uLnTx/>
                <a:uFillTx/>
                <a:latin typeface="Arial" pitchFamily="34" charset="0"/>
                <a:ea typeface="黑体" panose="02010609060101010101" pitchFamily="49" charset="-122"/>
                <a:cs typeface="+mn-cs"/>
              </a:rPr>
              <a:t>月</a:t>
            </a:r>
            <a:r>
              <a:rPr kumimoji="0" lang="en-US" altLang="zh-CN" sz="900" b="0" i="0" u="none" strike="noStrike" kern="0" cap="none" spc="0" normalizeH="0" baseline="0" noProof="0" dirty="0">
                <a:ln>
                  <a:noFill/>
                </a:ln>
                <a:solidFill>
                  <a:srgbClr val="000000"/>
                </a:solidFill>
                <a:effectLst/>
                <a:uLnTx/>
                <a:uFillTx/>
                <a:latin typeface="Arial" pitchFamily="34" charset="0"/>
                <a:ea typeface="黑体" panose="02010609060101010101" pitchFamily="49" charset="-122"/>
                <a:cs typeface="+mn-cs"/>
              </a:rPr>
              <a:t>)</a:t>
            </a:r>
            <a:endParaRPr kumimoji="0" lang="en-US" altLang="zh-CN" sz="900" b="0" i="0" u="none" strike="noStrike" kern="0" cap="none" spc="0" normalizeH="0" baseline="0" noProof="0" dirty="0">
              <a:ln>
                <a:noFill/>
              </a:ln>
              <a:solidFill>
                <a:srgbClr val="000000"/>
              </a:solidFill>
              <a:effectLst/>
              <a:uLnTx/>
              <a:uFillTx/>
              <a:latin typeface="Arial" pitchFamily="34" charset="0"/>
              <a:ea typeface="宋体" pitchFamily="2" charset="-122"/>
              <a:cs typeface="+mn-cs"/>
            </a:endParaRPr>
          </a:p>
        </p:txBody>
      </p:sp>
      <p:sp>
        <p:nvSpPr>
          <p:cNvPr id="10" name="TextBox 37"/>
          <p:cNvSpPr txBox="1">
            <a:spLocks noChangeArrowheads="1"/>
          </p:cNvSpPr>
          <p:nvPr/>
        </p:nvSpPr>
        <p:spPr bwMode="auto">
          <a:xfrm rot="-5400000">
            <a:off x="828605" y="3820791"/>
            <a:ext cx="1785937"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zh-CN" altLang="en-US" sz="900" b="0" i="0" u="none" strike="noStrike" kern="0" cap="none" spc="0" normalizeH="0" baseline="0" noProof="0" dirty="0">
                <a:ln>
                  <a:noFill/>
                </a:ln>
                <a:solidFill>
                  <a:srgbClr val="000000"/>
                </a:solidFill>
                <a:effectLst/>
                <a:uLnTx/>
                <a:uFillTx/>
                <a:latin typeface="Arial" pitchFamily="34" charset="0"/>
                <a:ea typeface="黑体" panose="02010609060101010101" pitchFamily="49" charset="-122"/>
                <a:cs typeface="+mn-cs"/>
              </a:rPr>
              <a:t>估算的</a:t>
            </a:r>
            <a:r>
              <a:rPr kumimoji="0" lang="en-US" altLang="zh-CN" sz="9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OS</a:t>
            </a:r>
            <a:r>
              <a:rPr kumimoji="0" lang="zh-CN" altLang="en-US" sz="900" b="0" i="0" u="none" strike="noStrike" kern="0" cap="none" spc="0" normalizeH="0" baseline="0" noProof="0" dirty="0">
                <a:ln>
                  <a:noFill/>
                </a:ln>
                <a:solidFill>
                  <a:srgbClr val="000000"/>
                </a:solidFill>
                <a:effectLst/>
                <a:uLnTx/>
                <a:uFillTx/>
                <a:latin typeface="Arial" pitchFamily="34" charset="0"/>
                <a:ea typeface="黑体" panose="02010609060101010101" pitchFamily="49" charset="-122"/>
                <a:cs typeface="+mn-cs"/>
              </a:rPr>
              <a:t>概率</a:t>
            </a:r>
            <a:endParaRPr kumimoji="0" lang="en-US" altLang="zh-CN" sz="900" b="0" i="0" u="none" strike="noStrike" kern="0" cap="none" spc="0" normalizeH="0" baseline="0" noProof="0" dirty="0">
              <a:ln>
                <a:noFill/>
              </a:ln>
              <a:solidFill>
                <a:srgbClr val="000000"/>
              </a:solidFill>
              <a:effectLst/>
              <a:uLnTx/>
              <a:uFillTx/>
              <a:latin typeface="Arial" pitchFamily="34" charset="0"/>
              <a:ea typeface="黑体" panose="02010609060101010101" pitchFamily="49" charset="-122"/>
              <a:cs typeface="+mn-cs"/>
            </a:endParaRPr>
          </a:p>
        </p:txBody>
      </p:sp>
      <p:cxnSp>
        <p:nvCxnSpPr>
          <p:cNvPr id="11" name="Straight Connector 90"/>
          <p:cNvCxnSpPr/>
          <p:nvPr/>
        </p:nvCxnSpPr>
        <p:spPr>
          <a:xfrm flipH="1">
            <a:off x="2227986" y="4642322"/>
            <a:ext cx="34925" cy="0"/>
          </a:xfrm>
          <a:prstGeom prst="line">
            <a:avLst/>
          </a:prstGeom>
          <a:noFill/>
          <a:ln w="12700" cap="rnd" cmpd="sng" algn="ctr">
            <a:solidFill>
              <a:sysClr val="windowText" lastClr="000000"/>
            </a:solidFill>
            <a:prstDash val="solid"/>
          </a:ln>
          <a:effectLst/>
        </p:spPr>
      </p:cxnSp>
      <p:cxnSp>
        <p:nvCxnSpPr>
          <p:cNvPr id="12" name="Straight Connector 91"/>
          <p:cNvCxnSpPr/>
          <p:nvPr/>
        </p:nvCxnSpPr>
        <p:spPr>
          <a:xfrm flipH="1">
            <a:off x="2227986" y="4026372"/>
            <a:ext cx="34925" cy="0"/>
          </a:xfrm>
          <a:prstGeom prst="line">
            <a:avLst/>
          </a:prstGeom>
          <a:noFill/>
          <a:ln w="12700" cap="rnd" cmpd="sng" algn="ctr">
            <a:solidFill>
              <a:sysClr val="windowText" lastClr="000000"/>
            </a:solidFill>
            <a:prstDash val="solid"/>
          </a:ln>
          <a:effectLst/>
        </p:spPr>
      </p:cxnSp>
      <p:cxnSp>
        <p:nvCxnSpPr>
          <p:cNvPr id="13" name="Straight Connector 92"/>
          <p:cNvCxnSpPr/>
          <p:nvPr/>
        </p:nvCxnSpPr>
        <p:spPr>
          <a:xfrm flipH="1">
            <a:off x="2227986" y="3405659"/>
            <a:ext cx="34925" cy="0"/>
          </a:xfrm>
          <a:prstGeom prst="line">
            <a:avLst/>
          </a:prstGeom>
          <a:noFill/>
          <a:ln w="12700" cap="rnd" cmpd="sng" algn="ctr">
            <a:solidFill>
              <a:sysClr val="windowText" lastClr="000000"/>
            </a:solidFill>
            <a:prstDash val="solid"/>
          </a:ln>
          <a:effectLst/>
        </p:spPr>
      </p:cxnSp>
      <p:cxnSp>
        <p:nvCxnSpPr>
          <p:cNvPr id="14" name="Straight Connector 93"/>
          <p:cNvCxnSpPr/>
          <p:nvPr/>
        </p:nvCxnSpPr>
        <p:spPr>
          <a:xfrm flipH="1">
            <a:off x="2227986" y="2789709"/>
            <a:ext cx="34925" cy="0"/>
          </a:xfrm>
          <a:prstGeom prst="line">
            <a:avLst/>
          </a:prstGeom>
          <a:noFill/>
          <a:ln w="12700" cap="rnd" cmpd="sng" algn="ctr">
            <a:solidFill>
              <a:sysClr val="windowText" lastClr="000000"/>
            </a:solidFill>
            <a:prstDash val="solid"/>
          </a:ln>
          <a:effectLst/>
        </p:spPr>
      </p:cxnSp>
      <p:cxnSp>
        <p:nvCxnSpPr>
          <p:cNvPr id="15" name="Straight Connector 94"/>
          <p:cNvCxnSpPr/>
          <p:nvPr/>
        </p:nvCxnSpPr>
        <p:spPr>
          <a:xfrm flipH="1">
            <a:off x="2227986" y="2168997"/>
            <a:ext cx="34925" cy="0"/>
          </a:xfrm>
          <a:prstGeom prst="line">
            <a:avLst/>
          </a:prstGeom>
          <a:noFill/>
          <a:ln w="12700" cap="rnd" cmpd="sng" algn="ctr">
            <a:solidFill>
              <a:sysClr val="windowText" lastClr="000000"/>
            </a:solidFill>
            <a:prstDash val="solid"/>
          </a:ln>
          <a:effectLst/>
        </p:spPr>
      </p:cxnSp>
      <p:sp>
        <p:nvSpPr>
          <p:cNvPr id="16" name="TextBox 95"/>
          <p:cNvSpPr txBox="1">
            <a:spLocks noChangeArrowheads="1"/>
          </p:cNvSpPr>
          <p:nvPr/>
        </p:nvSpPr>
        <p:spPr bwMode="auto">
          <a:xfrm>
            <a:off x="1910486" y="5182072"/>
            <a:ext cx="26670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Arial" pitchFamily="34" charset="0"/>
                <a:ea typeface="宋体" pitchFamily="2" charset="-122"/>
                <a:cs typeface="+mn-cs"/>
              </a:rPr>
              <a:t>0.0</a:t>
            </a:r>
          </a:p>
        </p:txBody>
      </p:sp>
      <p:sp>
        <p:nvSpPr>
          <p:cNvPr id="17" name="TextBox 96"/>
          <p:cNvSpPr txBox="1">
            <a:spLocks noChangeArrowheads="1"/>
          </p:cNvSpPr>
          <p:nvPr/>
        </p:nvSpPr>
        <p:spPr bwMode="auto">
          <a:xfrm>
            <a:off x="1910486" y="4572472"/>
            <a:ext cx="26670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Arial" pitchFamily="34" charset="0"/>
                <a:ea typeface="宋体" pitchFamily="2" charset="-122"/>
                <a:cs typeface="+mn-cs"/>
              </a:rPr>
              <a:t>0.2</a:t>
            </a:r>
          </a:p>
        </p:txBody>
      </p:sp>
      <p:sp>
        <p:nvSpPr>
          <p:cNvPr id="18" name="TextBox 97"/>
          <p:cNvSpPr txBox="1">
            <a:spLocks noChangeArrowheads="1"/>
          </p:cNvSpPr>
          <p:nvPr/>
        </p:nvSpPr>
        <p:spPr bwMode="auto">
          <a:xfrm>
            <a:off x="1910486" y="3943822"/>
            <a:ext cx="26670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Arial" pitchFamily="34" charset="0"/>
                <a:ea typeface="宋体" pitchFamily="2" charset="-122"/>
                <a:cs typeface="+mn-cs"/>
              </a:rPr>
              <a:t>0.4</a:t>
            </a:r>
          </a:p>
        </p:txBody>
      </p:sp>
      <p:sp>
        <p:nvSpPr>
          <p:cNvPr id="19" name="TextBox 98"/>
          <p:cNvSpPr txBox="1">
            <a:spLocks noChangeArrowheads="1"/>
          </p:cNvSpPr>
          <p:nvPr/>
        </p:nvSpPr>
        <p:spPr bwMode="auto">
          <a:xfrm>
            <a:off x="1910486" y="3331047"/>
            <a:ext cx="26670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Arial" pitchFamily="34" charset="0"/>
                <a:ea typeface="宋体" pitchFamily="2" charset="-122"/>
                <a:cs typeface="+mn-cs"/>
              </a:rPr>
              <a:t>0.6</a:t>
            </a:r>
          </a:p>
        </p:txBody>
      </p:sp>
      <p:sp>
        <p:nvSpPr>
          <p:cNvPr id="20" name="TextBox 99"/>
          <p:cNvSpPr txBox="1">
            <a:spLocks noChangeArrowheads="1"/>
          </p:cNvSpPr>
          <p:nvPr/>
        </p:nvSpPr>
        <p:spPr bwMode="auto">
          <a:xfrm>
            <a:off x="1910486" y="2713509"/>
            <a:ext cx="26670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Arial" pitchFamily="34" charset="0"/>
                <a:ea typeface="宋体" pitchFamily="2" charset="-122"/>
                <a:cs typeface="+mn-cs"/>
              </a:rPr>
              <a:t>0.8</a:t>
            </a:r>
          </a:p>
        </p:txBody>
      </p:sp>
      <p:sp>
        <p:nvSpPr>
          <p:cNvPr id="21" name="TextBox 100"/>
          <p:cNvSpPr txBox="1">
            <a:spLocks noChangeArrowheads="1"/>
          </p:cNvSpPr>
          <p:nvPr/>
        </p:nvSpPr>
        <p:spPr bwMode="auto">
          <a:xfrm>
            <a:off x="1910486" y="2100734"/>
            <a:ext cx="266700" cy="15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Arial" pitchFamily="34" charset="0"/>
                <a:ea typeface="宋体" pitchFamily="2" charset="-122"/>
                <a:cs typeface="+mn-cs"/>
              </a:rPr>
              <a:t>1.0</a:t>
            </a:r>
          </a:p>
        </p:txBody>
      </p:sp>
      <p:sp>
        <p:nvSpPr>
          <p:cNvPr id="22" name="Freeform 101"/>
          <p:cNvSpPr/>
          <p:nvPr/>
        </p:nvSpPr>
        <p:spPr>
          <a:xfrm>
            <a:off x="2275611" y="2119784"/>
            <a:ext cx="5132388" cy="3175000"/>
          </a:xfrm>
          <a:custGeom>
            <a:avLst/>
            <a:gdLst>
              <a:gd name="connsiteX0" fmla="*/ 0 w 3384550"/>
              <a:gd name="connsiteY0" fmla="*/ 0 h 2590800"/>
              <a:gd name="connsiteX1" fmla="*/ 0 w 3384550"/>
              <a:gd name="connsiteY1" fmla="*/ 2590800 h 2590800"/>
              <a:gd name="connsiteX2" fmla="*/ 3384550 w 3384550"/>
              <a:gd name="connsiteY2" fmla="*/ 2590800 h 2590800"/>
            </a:gdLst>
            <a:ahLst/>
            <a:cxnLst>
              <a:cxn ang="0">
                <a:pos x="connsiteX0" y="connsiteY0"/>
              </a:cxn>
              <a:cxn ang="0">
                <a:pos x="connsiteX1" y="connsiteY1"/>
              </a:cxn>
              <a:cxn ang="0">
                <a:pos x="connsiteX2" y="connsiteY2"/>
              </a:cxn>
            </a:cxnLst>
            <a:rect l="l" t="t" r="r" b="b"/>
            <a:pathLst>
              <a:path w="3384550" h="2590800">
                <a:moveTo>
                  <a:pt x="0" y="0"/>
                </a:moveTo>
                <a:lnTo>
                  <a:pt x="0" y="2590800"/>
                </a:lnTo>
                <a:lnTo>
                  <a:pt x="3384550" y="2590800"/>
                </a:lnTo>
              </a:path>
            </a:pathLst>
          </a:custGeom>
          <a:noFill/>
          <a:ln w="12700" cap="rnd" cmpd="sng" algn="ctr">
            <a:solidFill>
              <a:sysClr val="windowText" lastClr="000000"/>
            </a:solid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cxnSp>
        <p:nvCxnSpPr>
          <p:cNvPr id="23" name="Straight Connector 102"/>
          <p:cNvCxnSpPr/>
          <p:nvPr/>
        </p:nvCxnSpPr>
        <p:spPr>
          <a:xfrm>
            <a:off x="2324824" y="5296372"/>
            <a:ext cx="0" cy="50800"/>
          </a:xfrm>
          <a:prstGeom prst="line">
            <a:avLst/>
          </a:prstGeom>
          <a:noFill/>
          <a:ln w="12700" cap="rnd" cmpd="sng" algn="ctr">
            <a:solidFill>
              <a:sysClr val="windowText" lastClr="000000"/>
            </a:solidFill>
            <a:prstDash val="solid"/>
          </a:ln>
          <a:effectLst/>
        </p:spPr>
      </p:cxnSp>
      <p:cxnSp>
        <p:nvCxnSpPr>
          <p:cNvPr id="24" name="Straight Connector 103"/>
          <p:cNvCxnSpPr/>
          <p:nvPr/>
        </p:nvCxnSpPr>
        <p:spPr>
          <a:xfrm>
            <a:off x="2610574" y="5296372"/>
            <a:ext cx="0" cy="50800"/>
          </a:xfrm>
          <a:prstGeom prst="line">
            <a:avLst/>
          </a:prstGeom>
          <a:noFill/>
          <a:ln w="12700" cap="rnd" cmpd="sng" algn="ctr">
            <a:solidFill>
              <a:sysClr val="windowText" lastClr="000000"/>
            </a:solidFill>
            <a:prstDash val="solid"/>
          </a:ln>
          <a:effectLst/>
        </p:spPr>
      </p:cxnSp>
      <p:cxnSp>
        <p:nvCxnSpPr>
          <p:cNvPr id="25" name="Straight Connector 104"/>
          <p:cNvCxnSpPr/>
          <p:nvPr/>
        </p:nvCxnSpPr>
        <p:spPr>
          <a:xfrm>
            <a:off x="2912199" y="5296372"/>
            <a:ext cx="0" cy="50800"/>
          </a:xfrm>
          <a:prstGeom prst="line">
            <a:avLst/>
          </a:prstGeom>
          <a:noFill/>
          <a:ln w="12700" cap="rnd" cmpd="sng" algn="ctr">
            <a:solidFill>
              <a:sysClr val="windowText" lastClr="000000"/>
            </a:solidFill>
            <a:prstDash val="solid"/>
          </a:ln>
          <a:effectLst/>
        </p:spPr>
      </p:cxnSp>
      <p:cxnSp>
        <p:nvCxnSpPr>
          <p:cNvPr id="26" name="Straight Connector 105"/>
          <p:cNvCxnSpPr/>
          <p:nvPr/>
        </p:nvCxnSpPr>
        <p:spPr>
          <a:xfrm>
            <a:off x="3204299" y="5296372"/>
            <a:ext cx="0" cy="50800"/>
          </a:xfrm>
          <a:prstGeom prst="line">
            <a:avLst/>
          </a:prstGeom>
          <a:noFill/>
          <a:ln w="12700" cap="rnd" cmpd="sng" algn="ctr">
            <a:solidFill>
              <a:sysClr val="windowText" lastClr="000000"/>
            </a:solidFill>
            <a:prstDash val="solid"/>
          </a:ln>
          <a:effectLst/>
        </p:spPr>
      </p:cxnSp>
      <p:cxnSp>
        <p:nvCxnSpPr>
          <p:cNvPr id="27" name="Straight Connector 106"/>
          <p:cNvCxnSpPr/>
          <p:nvPr/>
        </p:nvCxnSpPr>
        <p:spPr>
          <a:xfrm>
            <a:off x="3504336" y="5296372"/>
            <a:ext cx="0" cy="50800"/>
          </a:xfrm>
          <a:prstGeom prst="line">
            <a:avLst/>
          </a:prstGeom>
          <a:noFill/>
          <a:ln w="12700" cap="rnd" cmpd="sng" algn="ctr">
            <a:solidFill>
              <a:sysClr val="windowText" lastClr="000000"/>
            </a:solidFill>
            <a:prstDash val="solid"/>
          </a:ln>
          <a:effectLst/>
        </p:spPr>
      </p:cxnSp>
      <p:cxnSp>
        <p:nvCxnSpPr>
          <p:cNvPr id="28" name="Straight Connector 107"/>
          <p:cNvCxnSpPr/>
          <p:nvPr/>
        </p:nvCxnSpPr>
        <p:spPr>
          <a:xfrm>
            <a:off x="3810724" y="5296372"/>
            <a:ext cx="0" cy="50800"/>
          </a:xfrm>
          <a:prstGeom prst="line">
            <a:avLst/>
          </a:prstGeom>
          <a:noFill/>
          <a:ln w="12700" cap="rnd" cmpd="sng" algn="ctr">
            <a:solidFill>
              <a:sysClr val="windowText" lastClr="000000"/>
            </a:solidFill>
            <a:prstDash val="solid"/>
          </a:ln>
          <a:effectLst/>
        </p:spPr>
      </p:cxnSp>
      <p:cxnSp>
        <p:nvCxnSpPr>
          <p:cNvPr id="29" name="Straight Connector 108"/>
          <p:cNvCxnSpPr/>
          <p:nvPr/>
        </p:nvCxnSpPr>
        <p:spPr>
          <a:xfrm>
            <a:off x="4098061" y="5296372"/>
            <a:ext cx="0" cy="50800"/>
          </a:xfrm>
          <a:prstGeom prst="line">
            <a:avLst/>
          </a:prstGeom>
          <a:noFill/>
          <a:ln w="12700" cap="rnd" cmpd="sng" algn="ctr">
            <a:solidFill>
              <a:sysClr val="windowText" lastClr="000000"/>
            </a:solidFill>
            <a:prstDash val="solid"/>
          </a:ln>
          <a:effectLst/>
        </p:spPr>
      </p:cxnSp>
      <p:cxnSp>
        <p:nvCxnSpPr>
          <p:cNvPr id="30" name="Straight Connector 109"/>
          <p:cNvCxnSpPr/>
          <p:nvPr/>
        </p:nvCxnSpPr>
        <p:spPr>
          <a:xfrm>
            <a:off x="4398099" y="5296372"/>
            <a:ext cx="0" cy="50800"/>
          </a:xfrm>
          <a:prstGeom prst="line">
            <a:avLst/>
          </a:prstGeom>
          <a:noFill/>
          <a:ln w="12700" cap="rnd" cmpd="sng" algn="ctr">
            <a:solidFill>
              <a:sysClr val="windowText" lastClr="000000"/>
            </a:solidFill>
            <a:prstDash val="solid"/>
          </a:ln>
          <a:effectLst/>
        </p:spPr>
      </p:cxnSp>
      <p:cxnSp>
        <p:nvCxnSpPr>
          <p:cNvPr id="31" name="Straight Connector 110"/>
          <p:cNvCxnSpPr/>
          <p:nvPr/>
        </p:nvCxnSpPr>
        <p:spPr>
          <a:xfrm>
            <a:off x="4699724" y="5296372"/>
            <a:ext cx="0" cy="50800"/>
          </a:xfrm>
          <a:prstGeom prst="line">
            <a:avLst/>
          </a:prstGeom>
          <a:noFill/>
          <a:ln w="12700" cap="rnd" cmpd="sng" algn="ctr">
            <a:solidFill>
              <a:sysClr val="windowText" lastClr="000000"/>
            </a:solidFill>
            <a:prstDash val="solid"/>
          </a:ln>
          <a:effectLst/>
        </p:spPr>
      </p:cxnSp>
      <p:cxnSp>
        <p:nvCxnSpPr>
          <p:cNvPr id="32" name="Straight Connector 111"/>
          <p:cNvCxnSpPr/>
          <p:nvPr/>
        </p:nvCxnSpPr>
        <p:spPr>
          <a:xfrm>
            <a:off x="4991824" y="5296372"/>
            <a:ext cx="0" cy="50800"/>
          </a:xfrm>
          <a:prstGeom prst="line">
            <a:avLst/>
          </a:prstGeom>
          <a:noFill/>
          <a:ln w="12700" cap="rnd" cmpd="sng" algn="ctr">
            <a:solidFill>
              <a:sysClr val="windowText" lastClr="000000"/>
            </a:solidFill>
            <a:prstDash val="solid"/>
          </a:ln>
          <a:effectLst/>
        </p:spPr>
      </p:cxnSp>
      <p:sp>
        <p:nvSpPr>
          <p:cNvPr id="33" name="TextBox 112"/>
          <p:cNvSpPr txBox="1">
            <a:spLocks noChangeArrowheads="1"/>
          </p:cNvSpPr>
          <p:nvPr/>
        </p:nvSpPr>
        <p:spPr bwMode="auto">
          <a:xfrm>
            <a:off x="2254974" y="5385272"/>
            <a:ext cx="141287"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Arial" pitchFamily="34" charset="0"/>
                <a:ea typeface="宋体" pitchFamily="2" charset="-122"/>
                <a:cs typeface="+mn-cs"/>
              </a:rPr>
              <a:t>0</a:t>
            </a:r>
          </a:p>
        </p:txBody>
      </p:sp>
      <p:sp>
        <p:nvSpPr>
          <p:cNvPr id="34" name="TextBox 113"/>
          <p:cNvSpPr txBox="1">
            <a:spLocks noChangeArrowheads="1"/>
          </p:cNvSpPr>
          <p:nvPr/>
        </p:nvSpPr>
        <p:spPr bwMode="auto">
          <a:xfrm>
            <a:off x="2542311" y="5385272"/>
            <a:ext cx="141288"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Arial" pitchFamily="34" charset="0"/>
                <a:ea typeface="宋体" pitchFamily="2" charset="-122"/>
                <a:cs typeface="+mn-cs"/>
              </a:rPr>
              <a:t>3</a:t>
            </a:r>
          </a:p>
        </p:txBody>
      </p:sp>
      <p:sp>
        <p:nvSpPr>
          <p:cNvPr id="35" name="TextBox 114"/>
          <p:cNvSpPr txBox="1">
            <a:spLocks noChangeArrowheads="1"/>
          </p:cNvSpPr>
          <p:nvPr/>
        </p:nvSpPr>
        <p:spPr bwMode="auto">
          <a:xfrm>
            <a:off x="2839174" y="5385272"/>
            <a:ext cx="141287"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Arial" pitchFamily="34" charset="0"/>
                <a:ea typeface="宋体" pitchFamily="2" charset="-122"/>
                <a:cs typeface="+mn-cs"/>
              </a:rPr>
              <a:t>6</a:t>
            </a:r>
          </a:p>
        </p:txBody>
      </p:sp>
      <p:sp>
        <p:nvSpPr>
          <p:cNvPr id="36" name="TextBox 115"/>
          <p:cNvSpPr txBox="1">
            <a:spLocks noChangeArrowheads="1"/>
          </p:cNvSpPr>
          <p:nvPr/>
        </p:nvSpPr>
        <p:spPr bwMode="auto">
          <a:xfrm>
            <a:off x="3131274" y="5385272"/>
            <a:ext cx="141287"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Arial" pitchFamily="34" charset="0"/>
                <a:ea typeface="宋体" pitchFamily="2" charset="-122"/>
                <a:cs typeface="+mn-cs"/>
              </a:rPr>
              <a:t>9</a:t>
            </a:r>
          </a:p>
        </p:txBody>
      </p:sp>
      <p:sp>
        <p:nvSpPr>
          <p:cNvPr id="37" name="TextBox 116"/>
          <p:cNvSpPr txBox="1">
            <a:spLocks noChangeArrowheads="1"/>
          </p:cNvSpPr>
          <p:nvPr/>
        </p:nvSpPr>
        <p:spPr bwMode="auto">
          <a:xfrm>
            <a:off x="3388449" y="5385272"/>
            <a:ext cx="24130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Arial" pitchFamily="34" charset="0"/>
                <a:ea typeface="宋体" pitchFamily="2" charset="-122"/>
                <a:cs typeface="+mn-cs"/>
              </a:rPr>
              <a:t>12</a:t>
            </a:r>
          </a:p>
        </p:txBody>
      </p:sp>
      <p:sp>
        <p:nvSpPr>
          <p:cNvPr id="38" name="TextBox 117"/>
          <p:cNvSpPr txBox="1">
            <a:spLocks noChangeArrowheads="1"/>
          </p:cNvSpPr>
          <p:nvPr/>
        </p:nvSpPr>
        <p:spPr bwMode="auto">
          <a:xfrm>
            <a:off x="3690074" y="5385272"/>
            <a:ext cx="24130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Arial" pitchFamily="34" charset="0"/>
                <a:ea typeface="宋体" pitchFamily="2" charset="-122"/>
                <a:cs typeface="+mn-cs"/>
              </a:rPr>
              <a:t>15</a:t>
            </a:r>
          </a:p>
        </p:txBody>
      </p:sp>
      <p:sp>
        <p:nvSpPr>
          <p:cNvPr id="39" name="TextBox 118"/>
          <p:cNvSpPr txBox="1">
            <a:spLocks noChangeArrowheads="1"/>
          </p:cNvSpPr>
          <p:nvPr/>
        </p:nvSpPr>
        <p:spPr bwMode="auto">
          <a:xfrm>
            <a:off x="3977411" y="5385272"/>
            <a:ext cx="24130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Arial" pitchFamily="34" charset="0"/>
                <a:ea typeface="宋体" pitchFamily="2" charset="-122"/>
                <a:cs typeface="+mn-cs"/>
              </a:rPr>
              <a:t>18</a:t>
            </a:r>
          </a:p>
        </p:txBody>
      </p:sp>
      <p:sp>
        <p:nvSpPr>
          <p:cNvPr id="40" name="TextBox 119"/>
          <p:cNvSpPr txBox="1">
            <a:spLocks noChangeArrowheads="1"/>
          </p:cNvSpPr>
          <p:nvPr/>
        </p:nvSpPr>
        <p:spPr bwMode="auto">
          <a:xfrm>
            <a:off x="4279036" y="5385272"/>
            <a:ext cx="24130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Arial" pitchFamily="34" charset="0"/>
                <a:ea typeface="宋体" pitchFamily="2" charset="-122"/>
                <a:cs typeface="+mn-cs"/>
              </a:rPr>
              <a:t>21</a:t>
            </a:r>
          </a:p>
        </p:txBody>
      </p:sp>
      <p:sp>
        <p:nvSpPr>
          <p:cNvPr id="41" name="TextBox 120"/>
          <p:cNvSpPr txBox="1">
            <a:spLocks noChangeArrowheads="1"/>
          </p:cNvSpPr>
          <p:nvPr/>
        </p:nvSpPr>
        <p:spPr bwMode="auto">
          <a:xfrm>
            <a:off x="4583836" y="5385272"/>
            <a:ext cx="24130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Arial" pitchFamily="34" charset="0"/>
                <a:ea typeface="宋体" pitchFamily="2" charset="-122"/>
                <a:cs typeface="+mn-cs"/>
              </a:rPr>
              <a:t>24</a:t>
            </a:r>
          </a:p>
        </p:txBody>
      </p:sp>
      <p:sp>
        <p:nvSpPr>
          <p:cNvPr id="42" name="TextBox 121"/>
          <p:cNvSpPr txBox="1">
            <a:spLocks noChangeArrowheads="1"/>
          </p:cNvSpPr>
          <p:nvPr/>
        </p:nvSpPr>
        <p:spPr bwMode="auto">
          <a:xfrm>
            <a:off x="4866411" y="5385272"/>
            <a:ext cx="239713"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Arial" pitchFamily="34" charset="0"/>
                <a:ea typeface="宋体" pitchFamily="2" charset="-122"/>
                <a:cs typeface="+mn-cs"/>
              </a:rPr>
              <a:t>27</a:t>
            </a:r>
          </a:p>
        </p:txBody>
      </p:sp>
      <p:cxnSp>
        <p:nvCxnSpPr>
          <p:cNvPr id="43" name="Straight Connector 122"/>
          <p:cNvCxnSpPr/>
          <p:nvPr/>
        </p:nvCxnSpPr>
        <p:spPr>
          <a:xfrm>
            <a:off x="5290274" y="5296372"/>
            <a:ext cx="0" cy="50800"/>
          </a:xfrm>
          <a:prstGeom prst="line">
            <a:avLst/>
          </a:prstGeom>
          <a:noFill/>
          <a:ln w="12700" cap="rnd" cmpd="sng" algn="ctr">
            <a:solidFill>
              <a:sysClr val="windowText" lastClr="000000"/>
            </a:solidFill>
            <a:prstDash val="solid"/>
          </a:ln>
          <a:effectLst/>
        </p:spPr>
      </p:cxnSp>
      <p:cxnSp>
        <p:nvCxnSpPr>
          <p:cNvPr id="44" name="Straight Connector 123"/>
          <p:cNvCxnSpPr/>
          <p:nvPr/>
        </p:nvCxnSpPr>
        <p:spPr>
          <a:xfrm>
            <a:off x="5596661" y="5296372"/>
            <a:ext cx="0" cy="50800"/>
          </a:xfrm>
          <a:prstGeom prst="line">
            <a:avLst/>
          </a:prstGeom>
          <a:noFill/>
          <a:ln w="12700" cap="rnd" cmpd="sng" algn="ctr">
            <a:solidFill>
              <a:sysClr val="windowText" lastClr="000000"/>
            </a:solidFill>
            <a:prstDash val="solid"/>
          </a:ln>
          <a:effectLst/>
        </p:spPr>
      </p:cxnSp>
      <p:cxnSp>
        <p:nvCxnSpPr>
          <p:cNvPr id="45" name="Straight Connector 124"/>
          <p:cNvCxnSpPr/>
          <p:nvPr/>
        </p:nvCxnSpPr>
        <p:spPr>
          <a:xfrm>
            <a:off x="5883999" y="5296372"/>
            <a:ext cx="0" cy="50800"/>
          </a:xfrm>
          <a:prstGeom prst="line">
            <a:avLst/>
          </a:prstGeom>
          <a:noFill/>
          <a:ln w="12700" cap="rnd" cmpd="sng" algn="ctr">
            <a:solidFill>
              <a:sysClr val="windowText" lastClr="000000"/>
            </a:solidFill>
            <a:prstDash val="solid"/>
          </a:ln>
          <a:effectLst/>
        </p:spPr>
      </p:cxnSp>
      <p:cxnSp>
        <p:nvCxnSpPr>
          <p:cNvPr id="46" name="Straight Connector 125"/>
          <p:cNvCxnSpPr/>
          <p:nvPr/>
        </p:nvCxnSpPr>
        <p:spPr>
          <a:xfrm>
            <a:off x="6184036" y="5296372"/>
            <a:ext cx="0" cy="50800"/>
          </a:xfrm>
          <a:prstGeom prst="line">
            <a:avLst/>
          </a:prstGeom>
          <a:noFill/>
          <a:ln w="12700" cap="rnd" cmpd="sng" algn="ctr">
            <a:solidFill>
              <a:sysClr val="windowText" lastClr="000000"/>
            </a:solidFill>
            <a:prstDash val="solid"/>
          </a:ln>
          <a:effectLst/>
        </p:spPr>
      </p:cxnSp>
      <p:cxnSp>
        <p:nvCxnSpPr>
          <p:cNvPr id="47" name="Straight Connector 126"/>
          <p:cNvCxnSpPr/>
          <p:nvPr/>
        </p:nvCxnSpPr>
        <p:spPr>
          <a:xfrm>
            <a:off x="6485661" y="5296372"/>
            <a:ext cx="0" cy="50800"/>
          </a:xfrm>
          <a:prstGeom prst="line">
            <a:avLst/>
          </a:prstGeom>
          <a:noFill/>
          <a:ln w="12700" cap="rnd" cmpd="sng" algn="ctr">
            <a:solidFill>
              <a:sysClr val="windowText" lastClr="000000"/>
            </a:solidFill>
            <a:prstDash val="solid"/>
          </a:ln>
          <a:effectLst/>
        </p:spPr>
      </p:cxnSp>
      <p:cxnSp>
        <p:nvCxnSpPr>
          <p:cNvPr id="48" name="Straight Connector 127"/>
          <p:cNvCxnSpPr/>
          <p:nvPr/>
        </p:nvCxnSpPr>
        <p:spPr>
          <a:xfrm>
            <a:off x="6777761" y="5296372"/>
            <a:ext cx="0" cy="50800"/>
          </a:xfrm>
          <a:prstGeom prst="line">
            <a:avLst/>
          </a:prstGeom>
          <a:noFill/>
          <a:ln w="12700" cap="rnd" cmpd="sng" algn="ctr">
            <a:solidFill>
              <a:sysClr val="windowText" lastClr="000000"/>
            </a:solidFill>
            <a:prstDash val="solid"/>
          </a:ln>
          <a:effectLst/>
        </p:spPr>
      </p:cxnSp>
      <p:sp>
        <p:nvSpPr>
          <p:cNvPr id="49" name="TextBox 128"/>
          <p:cNvSpPr txBox="1">
            <a:spLocks noChangeArrowheads="1"/>
          </p:cNvSpPr>
          <p:nvPr/>
        </p:nvSpPr>
        <p:spPr bwMode="auto">
          <a:xfrm>
            <a:off x="5174386" y="5385272"/>
            <a:ext cx="24130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Arial" pitchFamily="34" charset="0"/>
                <a:ea typeface="宋体" pitchFamily="2" charset="-122"/>
                <a:cs typeface="+mn-cs"/>
              </a:rPr>
              <a:t>30</a:t>
            </a:r>
          </a:p>
        </p:txBody>
      </p:sp>
      <p:sp>
        <p:nvSpPr>
          <p:cNvPr id="50" name="TextBox 129"/>
          <p:cNvSpPr txBox="1">
            <a:spLocks noChangeArrowheads="1"/>
          </p:cNvSpPr>
          <p:nvPr/>
        </p:nvSpPr>
        <p:spPr bwMode="auto">
          <a:xfrm>
            <a:off x="5476011" y="5385272"/>
            <a:ext cx="24130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Arial" pitchFamily="34" charset="0"/>
                <a:ea typeface="宋体" pitchFamily="2" charset="-122"/>
                <a:cs typeface="+mn-cs"/>
              </a:rPr>
              <a:t>33</a:t>
            </a:r>
          </a:p>
        </p:txBody>
      </p:sp>
      <p:sp>
        <p:nvSpPr>
          <p:cNvPr id="51" name="TextBox 130"/>
          <p:cNvSpPr txBox="1">
            <a:spLocks noChangeArrowheads="1"/>
          </p:cNvSpPr>
          <p:nvPr/>
        </p:nvSpPr>
        <p:spPr bwMode="auto">
          <a:xfrm>
            <a:off x="5763349" y="5385272"/>
            <a:ext cx="24130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Arial" pitchFamily="34" charset="0"/>
                <a:ea typeface="宋体" pitchFamily="2" charset="-122"/>
                <a:cs typeface="+mn-cs"/>
              </a:rPr>
              <a:t>36</a:t>
            </a:r>
          </a:p>
        </p:txBody>
      </p:sp>
      <p:sp>
        <p:nvSpPr>
          <p:cNvPr id="52" name="TextBox 131"/>
          <p:cNvSpPr txBox="1">
            <a:spLocks noChangeArrowheads="1"/>
          </p:cNvSpPr>
          <p:nvPr/>
        </p:nvSpPr>
        <p:spPr bwMode="auto">
          <a:xfrm>
            <a:off x="6064974" y="5385272"/>
            <a:ext cx="24130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Arial" pitchFamily="34" charset="0"/>
                <a:ea typeface="宋体" pitchFamily="2" charset="-122"/>
                <a:cs typeface="+mn-cs"/>
              </a:rPr>
              <a:t>39</a:t>
            </a:r>
          </a:p>
        </p:txBody>
      </p:sp>
      <p:sp>
        <p:nvSpPr>
          <p:cNvPr id="53" name="TextBox 132"/>
          <p:cNvSpPr txBox="1">
            <a:spLocks noChangeArrowheads="1"/>
          </p:cNvSpPr>
          <p:nvPr/>
        </p:nvSpPr>
        <p:spPr bwMode="auto">
          <a:xfrm>
            <a:off x="6369774" y="5385272"/>
            <a:ext cx="24130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Arial" pitchFamily="34" charset="0"/>
                <a:ea typeface="宋体" pitchFamily="2" charset="-122"/>
                <a:cs typeface="+mn-cs"/>
              </a:rPr>
              <a:t>42</a:t>
            </a:r>
          </a:p>
        </p:txBody>
      </p:sp>
      <p:sp>
        <p:nvSpPr>
          <p:cNvPr id="54" name="TextBox 133"/>
          <p:cNvSpPr txBox="1">
            <a:spLocks noChangeArrowheads="1"/>
          </p:cNvSpPr>
          <p:nvPr/>
        </p:nvSpPr>
        <p:spPr bwMode="auto">
          <a:xfrm>
            <a:off x="6650761" y="5385272"/>
            <a:ext cx="24130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Arial" pitchFamily="34" charset="0"/>
                <a:ea typeface="宋体" pitchFamily="2" charset="-122"/>
                <a:cs typeface="+mn-cs"/>
              </a:rPr>
              <a:t>45</a:t>
            </a:r>
          </a:p>
        </p:txBody>
      </p:sp>
      <p:cxnSp>
        <p:nvCxnSpPr>
          <p:cNvPr id="55" name="Straight Connector 134"/>
          <p:cNvCxnSpPr/>
          <p:nvPr/>
        </p:nvCxnSpPr>
        <p:spPr>
          <a:xfrm>
            <a:off x="7087324" y="5296372"/>
            <a:ext cx="0" cy="50800"/>
          </a:xfrm>
          <a:prstGeom prst="line">
            <a:avLst/>
          </a:prstGeom>
          <a:noFill/>
          <a:ln w="12700" cap="rnd" cmpd="sng" algn="ctr">
            <a:solidFill>
              <a:sysClr val="windowText" lastClr="000000"/>
            </a:solidFill>
            <a:prstDash val="solid"/>
          </a:ln>
          <a:effectLst/>
        </p:spPr>
      </p:cxnSp>
      <p:cxnSp>
        <p:nvCxnSpPr>
          <p:cNvPr id="56" name="Straight Connector 135"/>
          <p:cNvCxnSpPr/>
          <p:nvPr/>
        </p:nvCxnSpPr>
        <p:spPr>
          <a:xfrm>
            <a:off x="7379424" y="5296372"/>
            <a:ext cx="0" cy="50800"/>
          </a:xfrm>
          <a:prstGeom prst="line">
            <a:avLst/>
          </a:prstGeom>
          <a:noFill/>
          <a:ln w="12700" cap="rnd" cmpd="sng" algn="ctr">
            <a:solidFill>
              <a:sysClr val="windowText" lastClr="000000"/>
            </a:solidFill>
            <a:prstDash val="solid"/>
          </a:ln>
          <a:effectLst/>
        </p:spPr>
      </p:cxnSp>
      <p:sp>
        <p:nvSpPr>
          <p:cNvPr id="57" name="TextBox 136"/>
          <p:cNvSpPr txBox="1">
            <a:spLocks noChangeArrowheads="1"/>
          </p:cNvSpPr>
          <p:nvPr/>
        </p:nvSpPr>
        <p:spPr bwMode="auto">
          <a:xfrm>
            <a:off x="6971436" y="5385272"/>
            <a:ext cx="241300"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Arial" pitchFamily="34" charset="0"/>
                <a:ea typeface="宋体" pitchFamily="2" charset="-122"/>
                <a:cs typeface="+mn-cs"/>
              </a:rPr>
              <a:t>48</a:t>
            </a:r>
          </a:p>
        </p:txBody>
      </p:sp>
      <p:sp>
        <p:nvSpPr>
          <p:cNvPr id="58" name="TextBox 137"/>
          <p:cNvSpPr txBox="1">
            <a:spLocks noChangeArrowheads="1"/>
          </p:cNvSpPr>
          <p:nvPr/>
        </p:nvSpPr>
        <p:spPr bwMode="auto">
          <a:xfrm>
            <a:off x="7254011" y="5385272"/>
            <a:ext cx="239713" cy="15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zh-CN" sz="800" b="0" i="0" u="none" strike="noStrike" kern="1200" cap="none" spc="0" normalizeH="0" baseline="0" noProof="0">
                <a:ln>
                  <a:noFill/>
                </a:ln>
                <a:solidFill>
                  <a:srgbClr val="000000"/>
                </a:solidFill>
                <a:effectLst/>
                <a:uLnTx/>
                <a:uFillTx/>
                <a:latin typeface="Arial" pitchFamily="34" charset="0"/>
                <a:ea typeface="宋体" pitchFamily="2" charset="-122"/>
                <a:cs typeface="+mn-cs"/>
              </a:rPr>
              <a:t>51</a:t>
            </a:r>
          </a:p>
        </p:txBody>
      </p:sp>
      <p:grpSp>
        <p:nvGrpSpPr>
          <p:cNvPr id="59" name="Group 1538"/>
          <p:cNvGrpSpPr>
            <a:grpSpLocks/>
          </p:cNvGrpSpPr>
          <p:nvPr/>
        </p:nvGrpSpPr>
        <p:grpSpPr bwMode="auto">
          <a:xfrm>
            <a:off x="2281961" y="2151534"/>
            <a:ext cx="4911725" cy="2519363"/>
            <a:chOff x="5564904" y="1835254"/>
            <a:chExt cx="3238259" cy="2055419"/>
          </a:xfrm>
        </p:grpSpPr>
        <p:sp>
          <p:nvSpPr>
            <p:cNvPr id="60" name="Freeform 1105"/>
            <p:cNvSpPr>
              <a:spLocks/>
            </p:cNvSpPr>
            <p:nvPr/>
          </p:nvSpPr>
          <p:spPr bwMode="auto">
            <a:xfrm>
              <a:off x="5595938" y="1862138"/>
              <a:ext cx="3171825" cy="1933575"/>
            </a:xfrm>
            <a:custGeom>
              <a:avLst/>
              <a:gdLst/>
              <a:ahLst/>
              <a:cxnLst/>
              <a:rect l="0" t="0" r="r" b="b"/>
              <a:pathLst>
                <a:path w="3171825" h="1933575">
                  <a:moveTo>
                    <a:pt x="0" y="0"/>
                  </a:moveTo>
                  <a:lnTo>
                    <a:pt x="50006" y="0"/>
                  </a:lnTo>
                  <a:lnTo>
                    <a:pt x="54768" y="11906"/>
                  </a:lnTo>
                  <a:lnTo>
                    <a:pt x="92868" y="21431"/>
                  </a:lnTo>
                  <a:lnTo>
                    <a:pt x="202406" y="21431"/>
                  </a:lnTo>
                  <a:lnTo>
                    <a:pt x="216693" y="35718"/>
                  </a:lnTo>
                  <a:lnTo>
                    <a:pt x="242887" y="40481"/>
                  </a:lnTo>
                  <a:lnTo>
                    <a:pt x="250031" y="76200"/>
                  </a:lnTo>
                  <a:lnTo>
                    <a:pt x="273843" y="78581"/>
                  </a:lnTo>
                  <a:lnTo>
                    <a:pt x="295275" y="104775"/>
                  </a:lnTo>
                  <a:lnTo>
                    <a:pt x="326231" y="104775"/>
                  </a:lnTo>
                  <a:lnTo>
                    <a:pt x="335756" y="119062"/>
                  </a:lnTo>
                  <a:lnTo>
                    <a:pt x="428625" y="164306"/>
                  </a:lnTo>
                  <a:lnTo>
                    <a:pt x="473868" y="166687"/>
                  </a:lnTo>
                  <a:lnTo>
                    <a:pt x="502443" y="219075"/>
                  </a:lnTo>
                  <a:lnTo>
                    <a:pt x="540543" y="247650"/>
                  </a:lnTo>
                  <a:lnTo>
                    <a:pt x="571500" y="250031"/>
                  </a:lnTo>
                  <a:lnTo>
                    <a:pt x="583406" y="276225"/>
                  </a:lnTo>
                  <a:lnTo>
                    <a:pt x="600075" y="283368"/>
                  </a:lnTo>
                  <a:lnTo>
                    <a:pt x="600075" y="311943"/>
                  </a:lnTo>
                  <a:lnTo>
                    <a:pt x="640556" y="316706"/>
                  </a:lnTo>
                  <a:lnTo>
                    <a:pt x="673893" y="359568"/>
                  </a:lnTo>
                  <a:lnTo>
                    <a:pt x="697706" y="381000"/>
                  </a:lnTo>
                  <a:lnTo>
                    <a:pt x="740568" y="381000"/>
                  </a:lnTo>
                  <a:lnTo>
                    <a:pt x="783431" y="438150"/>
                  </a:lnTo>
                  <a:lnTo>
                    <a:pt x="838200" y="450056"/>
                  </a:lnTo>
                  <a:lnTo>
                    <a:pt x="838200" y="473868"/>
                  </a:lnTo>
                  <a:lnTo>
                    <a:pt x="873918" y="483393"/>
                  </a:lnTo>
                  <a:lnTo>
                    <a:pt x="912018" y="519112"/>
                  </a:lnTo>
                  <a:lnTo>
                    <a:pt x="926306" y="519112"/>
                  </a:lnTo>
                  <a:lnTo>
                    <a:pt x="976312" y="585787"/>
                  </a:lnTo>
                  <a:lnTo>
                    <a:pt x="1004887" y="585787"/>
                  </a:lnTo>
                  <a:lnTo>
                    <a:pt x="1004887" y="607218"/>
                  </a:lnTo>
                  <a:lnTo>
                    <a:pt x="1035843" y="607218"/>
                  </a:lnTo>
                  <a:lnTo>
                    <a:pt x="1073943" y="688181"/>
                  </a:lnTo>
                  <a:lnTo>
                    <a:pt x="1100137" y="688181"/>
                  </a:lnTo>
                  <a:lnTo>
                    <a:pt x="1100137" y="702468"/>
                  </a:lnTo>
                  <a:lnTo>
                    <a:pt x="1131093" y="702468"/>
                  </a:lnTo>
                  <a:lnTo>
                    <a:pt x="1126331" y="721518"/>
                  </a:lnTo>
                  <a:lnTo>
                    <a:pt x="1154906" y="740568"/>
                  </a:lnTo>
                  <a:lnTo>
                    <a:pt x="1154906" y="764381"/>
                  </a:lnTo>
                  <a:lnTo>
                    <a:pt x="1207293" y="764381"/>
                  </a:lnTo>
                  <a:lnTo>
                    <a:pt x="1207293" y="797718"/>
                  </a:lnTo>
                  <a:lnTo>
                    <a:pt x="1250156" y="797718"/>
                  </a:lnTo>
                  <a:lnTo>
                    <a:pt x="1309687" y="926306"/>
                  </a:lnTo>
                  <a:lnTo>
                    <a:pt x="1359693" y="969168"/>
                  </a:lnTo>
                  <a:lnTo>
                    <a:pt x="1388268" y="985837"/>
                  </a:lnTo>
                  <a:lnTo>
                    <a:pt x="1419225" y="988218"/>
                  </a:lnTo>
                  <a:lnTo>
                    <a:pt x="1440656" y="1031081"/>
                  </a:lnTo>
                  <a:lnTo>
                    <a:pt x="1478756" y="1071562"/>
                  </a:lnTo>
                  <a:lnTo>
                    <a:pt x="1509712" y="1088231"/>
                  </a:lnTo>
                  <a:lnTo>
                    <a:pt x="1543050" y="1112043"/>
                  </a:lnTo>
                  <a:lnTo>
                    <a:pt x="1581150" y="1140618"/>
                  </a:lnTo>
                  <a:lnTo>
                    <a:pt x="1624012" y="1159668"/>
                  </a:lnTo>
                  <a:lnTo>
                    <a:pt x="1678781" y="1178718"/>
                  </a:lnTo>
                  <a:lnTo>
                    <a:pt x="1704975" y="1207293"/>
                  </a:lnTo>
                  <a:lnTo>
                    <a:pt x="1735931" y="1223962"/>
                  </a:lnTo>
                  <a:lnTo>
                    <a:pt x="1776412" y="1250156"/>
                  </a:lnTo>
                  <a:lnTo>
                    <a:pt x="1809750" y="1278731"/>
                  </a:lnTo>
                  <a:lnTo>
                    <a:pt x="1833562" y="1288256"/>
                  </a:lnTo>
                  <a:lnTo>
                    <a:pt x="1857375" y="1300162"/>
                  </a:lnTo>
                  <a:lnTo>
                    <a:pt x="1885950" y="1302543"/>
                  </a:lnTo>
                  <a:lnTo>
                    <a:pt x="1924050" y="1302543"/>
                  </a:lnTo>
                  <a:lnTo>
                    <a:pt x="1947862" y="1331118"/>
                  </a:lnTo>
                  <a:lnTo>
                    <a:pt x="1985962" y="1354931"/>
                  </a:lnTo>
                  <a:lnTo>
                    <a:pt x="2031206" y="1376362"/>
                  </a:lnTo>
                  <a:lnTo>
                    <a:pt x="2035968" y="1404937"/>
                  </a:lnTo>
                  <a:lnTo>
                    <a:pt x="2057400" y="1419225"/>
                  </a:lnTo>
                  <a:lnTo>
                    <a:pt x="2078831" y="1433512"/>
                  </a:lnTo>
                  <a:lnTo>
                    <a:pt x="2102643" y="1447800"/>
                  </a:lnTo>
                  <a:lnTo>
                    <a:pt x="2119312" y="1454943"/>
                  </a:lnTo>
                  <a:lnTo>
                    <a:pt x="2143125" y="1464468"/>
                  </a:lnTo>
                  <a:lnTo>
                    <a:pt x="2185987" y="1500187"/>
                  </a:lnTo>
                  <a:lnTo>
                    <a:pt x="2212181" y="1516856"/>
                  </a:lnTo>
                  <a:lnTo>
                    <a:pt x="2247900" y="1538287"/>
                  </a:lnTo>
                  <a:lnTo>
                    <a:pt x="2276475" y="1547812"/>
                  </a:lnTo>
                  <a:lnTo>
                    <a:pt x="2297906" y="1576387"/>
                  </a:lnTo>
                  <a:lnTo>
                    <a:pt x="2447925" y="1576387"/>
                  </a:lnTo>
                  <a:lnTo>
                    <a:pt x="2447925" y="1602581"/>
                  </a:lnTo>
                  <a:lnTo>
                    <a:pt x="2538412" y="1602581"/>
                  </a:lnTo>
                  <a:lnTo>
                    <a:pt x="2538412" y="1621631"/>
                  </a:lnTo>
                  <a:lnTo>
                    <a:pt x="2581275" y="1621631"/>
                  </a:lnTo>
                  <a:lnTo>
                    <a:pt x="2581275" y="1638300"/>
                  </a:lnTo>
                  <a:lnTo>
                    <a:pt x="2688431" y="1638300"/>
                  </a:lnTo>
                  <a:lnTo>
                    <a:pt x="2688431" y="1695450"/>
                  </a:lnTo>
                  <a:lnTo>
                    <a:pt x="2688431" y="1714500"/>
                  </a:lnTo>
                  <a:lnTo>
                    <a:pt x="2740818" y="1714500"/>
                  </a:lnTo>
                  <a:lnTo>
                    <a:pt x="2740818" y="1738312"/>
                  </a:lnTo>
                  <a:lnTo>
                    <a:pt x="2757487" y="1738312"/>
                  </a:lnTo>
                  <a:lnTo>
                    <a:pt x="2757487" y="1764506"/>
                  </a:lnTo>
                  <a:lnTo>
                    <a:pt x="2895600" y="1764506"/>
                  </a:lnTo>
                  <a:lnTo>
                    <a:pt x="2895600" y="1824037"/>
                  </a:lnTo>
                  <a:lnTo>
                    <a:pt x="3043237" y="1824037"/>
                  </a:lnTo>
                  <a:lnTo>
                    <a:pt x="3043237" y="1933575"/>
                  </a:lnTo>
                  <a:lnTo>
                    <a:pt x="3171825" y="1933575"/>
                  </a:lnTo>
                </a:path>
              </a:pathLst>
            </a:custGeom>
            <a:noFill/>
            <a:ln w="28575" cmpd="sng">
              <a:solidFill>
                <a:srgbClr val="1CBECA"/>
              </a:solidFill>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Arial"/>
                <a:ea typeface="黑体" panose="02010609060101010101" pitchFamily="49" charset="-122"/>
                <a:cs typeface="+mn-cs"/>
              </a:endParaRPr>
            </a:p>
          </p:txBody>
        </p:sp>
        <p:sp>
          <p:nvSpPr>
            <p:cNvPr id="61" name="Freeform 11"/>
            <p:cNvSpPr>
              <a:spLocks/>
            </p:cNvSpPr>
            <p:nvPr/>
          </p:nvSpPr>
          <p:spPr bwMode="auto">
            <a:xfrm>
              <a:off x="5586413" y="1854993"/>
              <a:ext cx="3198018" cy="2016947"/>
            </a:xfrm>
            <a:custGeom>
              <a:avLst/>
              <a:gdLst/>
              <a:ahLst/>
              <a:cxnLst/>
              <a:rect l="0" t="0" r="r" b="b"/>
              <a:pathLst>
                <a:path w="3198018" h="2012156">
                  <a:moveTo>
                    <a:pt x="3198018" y="2012156"/>
                  </a:moveTo>
                  <a:lnTo>
                    <a:pt x="2817018" y="2012156"/>
                  </a:lnTo>
                  <a:lnTo>
                    <a:pt x="2817018" y="1943100"/>
                  </a:lnTo>
                  <a:lnTo>
                    <a:pt x="2745581" y="1943100"/>
                  </a:lnTo>
                  <a:lnTo>
                    <a:pt x="2745581" y="1883569"/>
                  </a:lnTo>
                  <a:lnTo>
                    <a:pt x="2624137" y="1883569"/>
                  </a:lnTo>
                  <a:lnTo>
                    <a:pt x="2624137" y="1843087"/>
                  </a:lnTo>
                  <a:lnTo>
                    <a:pt x="2495550" y="1843087"/>
                  </a:lnTo>
                  <a:lnTo>
                    <a:pt x="2488406" y="1843087"/>
                  </a:lnTo>
                  <a:lnTo>
                    <a:pt x="2488406" y="1819275"/>
                  </a:lnTo>
                  <a:lnTo>
                    <a:pt x="2397918" y="1819275"/>
                  </a:lnTo>
                  <a:lnTo>
                    <a:pt x="2397918" y="1774031"/>
                  </a:lnTo>
                  <a:lnTo>
                    <a:pt x="2302668" y="1774031"/>
                  </a:lnTo>
                  <a:lnTo>
                    <a:pt x="2302668" y="1731169"/>
                  </a:lnTo>
                  <a:lnTo>
                    <a:pt x="2271712" y="1731169"/>
                  </a:lnTo>
                  <a:lnTo>
                    <a:pt x="2271712" y="1695450"/>
                  </a:lnTo>
                  <a:lnTo>
                    <a:pt x="2185987" y="1695450"/>
                  </a:lnTo>
                  <a:lnTo>
                    <a:pt x="2185987" y="1666875"/>
                  </a:lnTo>
                  <a:lnTo>
                    <a:pt x="2162175" y="1666875"/>
                  </a:lnTo>
                  <a:lnTo>
                    <a:pt x="2162175" y="1638300"/>
                  </a:lnTo>
                  <a:lnTo>
                    <a:pt x="2097881" y="1638300"/>
                  </a:lnTo>
                  <a:lnTo>
                    <a:pt x="2097881" y="1616869"/>
                  </a:lnTo>
                  <a:lnTo>
                    <a:pt x="2059781" y="1616869"/>
                  </a:lnTo>
                  <a:lnTo>
                    <a:pt x="2059781" y="1585912"/>
                  </a:lnTo>
                  <a:lnTo>
                    <a:pt x="2005012" y="1585912"/>
                  </a:lnTo>
                  <a:lnTo>
                    <a:pt x="2005012" y="1538287"/>
                  </a:lnTo>
                  <a:lnTo>
                    <a:pt x="1926431" y="1538287"/>
                  </a:lnTo>
                  <a:lnTo>
                    <a:pt x="1926431" y="1524000"/>
                  </a:lnTo>
                  <a:lnTo>
                    <a:pt x="1897856" y="1524000"/>
                  </a:lnTo>
                  <a:lnTo>
                    <a:pt x="1888331" y="1514475"/>
                  </a:lnTo>
                  <a:lnTo>
                    <a:pt x="1888331" y="1502569"/>
                  </a:lnTo>
                  <a:lnTo>
                    <a:pt x="1864518" y="1502569"/>
                  </a:lnTo>
                  <a:lnTo>
                    <a:pt x="1864518" y="1488281"/>
                  </a:lnTo>
                  <a:lnTo>
                    <a:pt x="1838325" y="1488281"/>
                  </a:lnTo>
                  <a:lnTo>
                    <a:pt x="1838325" y="1440656"/>
                  </a:lnTo>
                  <a:lnTo>
                    <a:pt x="1795462" y="1440656"/>
                  </a:lnTo>
                  <a:lnTo>
                    <a:pt x="1795462" y="1421606"/>
                  </a:lnTo>
                  <a:lnTo>
                    <a:pt x="1757362" y="1421606"/>
                  </a:lnTo>
                  <a:lnTo>
                    <a:pt x="1757362" y="1378744"/>
                  </a:lnTo>
                  <a:lnTo>
                    <a:pt x="1709737" y="1378744"/>
                  </a:lnTo>
                  <a:lnTo>
                    <a:pt x="1709737" y="1364456"/>
                  </a:lnTo>
                  <a:lnTo>
                    <a:pt x="1662112" y="1364456"/>
                  </a:lnTo>
                  <a:lnTo>
                    <a:pt x="1662112" y="1331119"/>
                  </a:lnTo>
                  <a:cubicBezTo>
                    <a:pt x="1657350" y="1325563"/>
                    <a:pt x="1651754" y="1320624"/>
                    <a:pt x="1647825" y="1314450"/>
                  </a:cubicBezTo>
                  <a:cubicBezTo>
                    <a:pt x="1646068" y="1311689"/>
                    <a:pt x="1647488" y="1307481"/>
                    <a:pt x="1645443" y="1304925"/>
                  </a:cubicBezTo>
                  <a:cubicBezTo>
                    <a:pt x="1643875" y="1302965"/>
                    <a:pt x="1640735" y="1303153"/>
                    <a:pt x="1638300" y="1302544"/>
                  </a:cubicBezTo>
                  <a:cubicBezTo>
                    <a:pt x="1634373" y="1301562"/>
                    <a:pt x="1630362" y="1300956"/>
                    <a:pt x="1626393" y="1300162"/>
                  </a:cubicBezTo>
                  <a:cubicBezTo>
                    <a:pt x="1627982" y="1295398"/>
                    <a:pt x="1631157" y="1290639"/>
                    <a:pt x="1626393" y="1285875"/>
                  </a:cubicBezTo>
                  <a:cubicBezTo>
                    <a:pt x="1624618" y="1284100"/>
                    <a:pt x="1621631" y="1284288"/>
                    <a:pt x="1619250" y="1283494"/>
                  </a:cubicBezTo>
                  <a:cubicBezTo>
                    <a:pt x="1618456" y="1281113"/>
                    <a:pt x="1618436" y="1278310"/>
                    <a:pt x="1616868" y="1276350"/>
                  </a:cubicBezTo>
                  <a:cubicBezTo>
                    <a:pt x="1615080" y="1274115"/>
                    <a:pt x="1611923" y="1273419"/>
                    <a:pt x="1609725" y="1271587"/>
                  </a:cubicBezTo>
                  <a:cubicBezTo>
                    <a:pt x="1607138" y="1269431"/>
                    <a:pt x="1604962" y="1266825"/>
                    <a:pt x="1602581" y="1264444"/>
                  </a:cubicBezTo>
                  <a:cubicBezTo>
                    <a:pt x="1596913" y="1247441"/>
                    <a:pt x="1601995" y="1252941"/>
                    <a:pt x="1590675" y="1245394"/>
                  </a:cubicBezTo>
                  <a:cubicBezTo>
                    <a:pt x="1589881" y="1243013"/>
                    <a:pt x="1588902" y="1240685"/>
                    <a:pt x="1588293" y="1238250"/>
                  </a:cubicBezTo>
                  <a:cubicBezTo>
                    <a:pt x="1587311" y="1234324"/>
                    <a:pt x="1589150" y="1228772"/>
                    <a:pt x="1585912" y="1226344"/>
                  </a:cubicBezTo>
                  <a:cubicBezTo>
                    <a:pt x="1583623" y="1224627"/>
                    <a:pt x="1581149" y="1229519"/>
                    <a:pt x="1578768" y="1231106"/>
                  </a:cubicBezTo>
                  <a:cubicBezTo>
                    <a:pt x="1576387" y="1230312"/>
                    <a:pt x="1573017" y="1230813"/>
                    <a:pt x="1571625" y="1228725"/>
                  </a:cubicBezTo>
                  <a:cubicBezTo>
                    <a:pt x="1569380" y="1225357"/>
                    <a:pt x="1570664" y="1220609"/>
                    <a:pt x="1569243" y="1216819"/>
                  </a:cubicBezTo>
                  <a:cubicBezTo>
                    <a:pt x="1568238" y="1214139"/>
                    <a:pt x="1566068" y="1212056"/>
                    <a:pt x="1564481" y="1209675"/>
                  </a:cubicBezTo>
                  <a:cubicBezTo>
                    <a:pt x="1563687" y="1204912"/>
                    <a:pt x="1563627" y="1199968"/>
                    <a:pt x="1562100" y="1195387"/>
                  </a:cubicBezTo>
                  <a:cubicBezTo>
                    <a:pt x="1561195" y="1192672"/>
                    <a:pt x="1559572" y="1190032"/>
                    <a:pt x="1557337" y="1188244"/>
                  </a:cubicBezTo>
                  <a:cubicBezTo>
                    <a:pt x="1554894" y="1186290"/>
                    <a:pt x="1538884" y="1183600"/>
                    <a:pt x="1538287" y="1183481"/>
                  </a:cubicBezTo>
                  <a:cubicBezTo>
                    <a:pt x="1535906" y="1181894"/>
                    <a:pt x="1533703" y="1179999"/>
                    <a:pt x="1531143" y="1178719"/>
                  </a:cubicBezTo>
                  <a:cubicBezTo>
                    <a:pt x="1528898" y="1177596"/>
                    <a:pt x="1526179" y="1177582"/>
                    <a:pt x="1524000" y="1176337"/>
                  </a:cubicBezTo>
                  <a:cubicBezTo>
                    <a:pt x="1520554" y="1174368"/>
                    <a:pt x="1517650" y="1171575"/>
                    <a:pt x="1514475" y="1169194"/>
                  </a:cubicBezTo>
                  <a:cubicBezTo>
                    <a:pt x="1509176" y="1153302"/>
                    <a:pt x="1517132" y="1169228"/>
                    <a:pt x="1497806" y="1166812"/>
                  </a:cubicBezTo>
                  <a:cubicBezTo>
                    <a:pt x="1494966" y="1166457"/>
                    <a:pt x="1494631" y="1162050"/>
                    <a:pt x="1493043" y="1159669"/>
                  </a:cubicBezTo>
                  <a:cubicBezTo>
                    <a:pt x="1493837" y="1155700"/>
                    <a:pt x="1494443" y="1151689"/>
                    <a:pt x="1495425" y="1147762"/>
                  </a:cubicBezTo>
                  <a:cubicBezTo>
                    <a:pt x="1496034" y="1145327"/>
                    <a:pt x="1499097" y="1142771"/>
                    <a:pt x="1497806" y="1140619"/>
                  </a:cubicBezTo>
                  <a:cubicBezTo>
                    <a:pt x="1495980" y="1137575"/>
                    <a:pt x="1491819" y="1136151"/>
                    <a:pt x="1488281" y="1135856"/>
                  </a:cubicBezTo>
                  <a:cubicBezTo>
                    <a:pt x="1458520" y="1133376"/>
                    <a:pt x="1431295" y="1133475"/>
                    <a:pt x="1402556" y="1133475"/>
                  </a:cubicBezTo>
                  <a:lnTo>
                    <a:pt x="1409700" y="1126331"/>
                  </a:lnTo>
                  <a:lnTo>
                    <a:pt x="1371600" y="1126331"/>
                  </a:lnTo>
                  <a:lnTo>
                    <a:pt x="1371600" y="1100137"/>
                  </a:lnTo>
                  <a:lnTo>
                    <a:pt x="1350168" y="1100137"/>
                  </a:lnTo>
                  <a:lnTo>
                    <a:pt x="1350168" y="1081087"/>
                  </a:lnTo>
                  <a:lnTo>
                    <a:pt x="1345406" y="1076325"/>
                  </a:lnTo>
                  <a:cubicBezTo>
                    <a:pt x="1317041" y="1056470"/>
                    <a:pt x="1331282" y="1059656"/>
                    <a:pt x="1304925" y="1059656"/>
                  </a:cubicBezTo>
                  <a:lnTo>
                    <a:pt x="1304925" y="1050131"/>
                  </a:lnTo>
                  <a:lnTo>
                    <a:pt x="1276350" y="1050131"/>
                  </a:lnTo>
                  <a:lnTo>
                    <a:pt x="1271587" y="1050131"/>
                  </a:lnTo>
                  <a:cubicBezTo>
                    <a:pt x="1270000" y="1042987"/>
                    <a:pt x="1270098" y="1035245"/>
                    <a:pt x="1266825" y="1028700"/>
                  </a:cubicBezTo>
                  <a:cubicBezTo>
                    <a:pt x="1265702" y="1026455"/>
                    <a:pt x="1261926" y="1027442"/>
                    <a:pt x="1259681" y="1026319"/>
                  </a:cubicBezTo>
                  <a:cubicBezTo>
                    <a:pt x="1257121" y="1025039"/>
                    <a:pt x="1254918" y="1023144"/>
                    <a:pt x="1252537" y="1021556"/>
                  </a:cubicBezTo>
                  <a:cubicBezTo>
                    <a:pt x="1246981" y="1004888"/>
                    <a:pt x="1252537" y="1008857"/>
                    <a:pt x="1240631" y="1004887"/>
                  </a:cubicBezTo>
                  <a:cubicBezTo>
                    <a:pt x="1234646" y="986931"/>
                    <a:pt x="1242721" y="1009067"/>
                    <a:pt x="1233487" y="990600"/>
                  </a:cubicBezTo>
                  <a:cubicBezTo>
                    <a:pt x="1232364" y="988355"/>
                    <a:pt x="1232881" y="985231"/>
                    <a:pt x="1231106" y="983456"/>
                  </a:cubicBezTo>
                  <a:cubicBezTo>
                    <a:pt x="1229331" y="981681"/>
                    <a:pt x="1226343" y="981869"/>
                    <a:pt x="1223962" y="981075"/>
                  </a:cubicBezTo>
                  <a:cubicBezTo>
                    <a:pt x="1218760" y="973271"/>
                    <a:pt x="1219200" y="976793"/>
                    <a:pt x="1219200" y="971550"/>
                  </a:cubicBezTo>
                  <a:lnTo>
                    <a:pt x="1190625" y="971550"/>
                  </a:lnTo>
                  <a:lnTo>
                    <a:pt x="1190625" y="947737"/>
                  </a:lnTo>
                  <a:cubicBezTo>
                    <a:pt x="1185069" y="942975"/>
                    <a:pt x="1178260" y="939368"/>
                    <a:pt x="1173956" y="933450"/>
                  </a:cubicBezTo>
                  <a:cubicBezTo>
                    <a:pt x="1167581" y="924684"/>
                    <a:pt x="1177882" y="912532"/>
                    <a:pt x="1162050" y="907256"/>
                  </a:cubicBezTo>
                  <a:cubicBezTo>
                    <a:pt x="1159669" y="906462"/>
                    <a:pt x="1157356" y="905419"/>
                    <a:pt x="1154906" y="904875"/>
                  </a:cubicBezTo>
                  <a:cubicBezTo>
                    <a:pt x="1150193" y="903828"/>
                    <a:pt x="1145353" y="903441"/>
                    <a:pt x="1140618" y="902494"/>
                  </a:cubicBezTo>
                  <a:cubicBezTo>
                    <a:pt x="1137409" y="901852"/>
                    <a:pt x="1134268" y="900906"/>
                    <a:pt x="1131093" y="900112"/>
                  </a:cubicBezTo>
                  <a:cubicBezTo>
                    <a:pt x="1128511" y="892366"/>
                    <a:pt x="1129997" y="891952"/>
                    <a:pt x="1121568" y="888206"/>
                  </a:cubicBezTo>
                  <a:cubicBezTo>
                    <a:pt x="1116981" y="886167"/>
                    <a:pt x="1107281" y="883444"/>
                    <a:pt x="1107281" y="883444"/>
                  </a:cubicBezTo>
                  <a:lnTo>
                    <a:pt x="1092993" y="873919"/>
                  </a:lnTo>
                  <a:cubicBezTo>
                    <a:pt x="1090612" y="872332"/>
                    <a:pt x="1090658" y="868292"/>
                    <a:pt x="1088231" y="866775"/>
                  </a:cubicBezTo>
                  <a:cubicBezTo>
                    <a:pt x="1083974" y="864114"/>
                    <a:pt x="1078120" y="864797"/>
                    <a:pt x="1073943" y="862012"/>
                  </a:cubicBezTo>
                  <a:cubicBezTo>
                    <a:pt x="1071562" y="860425"/>
                    <a:pt x="1069552" y="858036"/>
                    <a:pt x="1066800" y="857250"/>
                  </a:cubicBezTo>
                  <a:cubicBezTo>
                    <a:pt x="1063747" y="856378"/>
                    <a:pt x="1060450" y="857250"/>
                    <a:pt x="1057275" y="857250"/>
                  </a:cubicBezTo>
                  <a:lnTo>
                    <a:pt x="1057275" y="821531"/>
                  </a:lnTo>
                  <a:lnTo>
                    <a:pt x="1045368" y="816769"/>
                  </a:lnTo>
                  <a:cubicBezTo>
                    <a:pt x="1044353" y="815348"/>
                    <a:pt x="1031081" y="800222"/>
                    <a:pt x="1031081" y="792956"/>
                  </a:cubicBezTo>
                  <a:cubicBezTo>
                    <a:pt x="1031081" y="790446"/>
                    <a:pt x="1032668" y="788193"/>
                    <a:pt x="1033462" y="785812"/>
                  </a:cubicBezTo>
                  <a:cubicBezTo>
                    <a:pt x="1032668" y="783431"/>
                    <a:pt x="1032856" y="780444"/>
                    <a:pt x="1031081" y="778669"/>
                  </a:cubicBezTo>
                  <a:cubicBezTo>
                    <a:pt x="1021678" y="769266"/>
                    <a:pt x="1023937" y="784742"/>
                    <a:pt x="1023937" y="769144"/>
                  </a:cubicBezTo>
                  <a:lnTo>
                    <a:pt x="995362" y="769144"/>
                  </a:lnTo>
                  <a:lnTo>
                    <a:pt x="995362" y="735806"/>
                  </a:lnTo>
                  <a:lnTo>
                    <a:pt x="957262" y="735806"/>
                  </a:lnTo>
                  <a:lnTo>
                    <a:pt x="957262" y="709612"/>
                  </a:lnTo>
                  <a:lnTo>
                    <a:pt x="950118" y="702468"/>
                  </a:lnTo>
                  <a:lnTo>
                    <a:pt x="952500" y="702469"/>
                  </a:lnTo>
                  <a:cubicBezTo>
                    <a:pt x="943599" y="678734"/>
                    <a:pt x="947496" y="689841"/>
                    <a:pt x="940593" y="669131"/>
                  </a:cubicBezTo>
                  <a:lnTo>
                    <a:pt x="938212" y="661987"/>
                  </a:lnTo>
                  <a:cubicBezTo>
                    <a:pt x="939800" y="659606"/>
                    <a:pt x="942505" y="657667"/>
                    <a:pt x="942975" y="654844"/>
                  </a:cubicBezTo>
                  <a:cubicBezTo>
                    <a:pt x="943388" y="652368"/>
                    <a:pt x="941716" y="649945"/>
                    <a:pt x="940593" y="647700"/>
                  </a:cubicBezTo>
                  <a:cubicBezTo>
                    <a:pt x="939313" y="645140"/>
                    <a:pt x="937855" y="642580"/>
                    <a:pt x="935831" y="640556"/>
                  </a:cubicBezTo>
                  <a:cubicBezTo>
                    <a:pt x="931217" y="635942"/>
                    <a:pt x="927351" y="635349"/>
                    <a:pt x="921543" y="633412"/>
                  </a:cubicBezTo>
                  <a:cubicBezTo>
                    <a:pt x="911720" y="618678"/>
                    <a:pt x="919162" y="633159"/>
                    <a:pt x="919162" y="604837"/>
                  </a:cubicBezTo>
                  <a:cubicBezTo>
                    <a:pt x="919162" y="599225"/>
                    <a:pt x="919060" y="593298"/>
                    <a:pt x="916781" y="588169"/>
                  </a:cubicBezTo>
                  <a:cubicBezTo>
                    <a:pt x="915619" y="585554"/>
                    <a:pt x="910764" y="586037"/>
                    <a:pt x="909637" y="583406"/>
                  </a:cubicBezTo>
                  <a:cubicBezTo>
                    <a:pt x="908074" y="579758"/>
                    <a:pt x="909637" y="575469"/>
                    <a:pt x="909637" y="571500"/>
                  </a:cubicBezTo>
                  <a:lnTo>
                    <a:pt x="890587" y="571500"/>
                  </a:lnTo>
                  <a:lnTo>
                    <a:pt x="890587" y="552450"/>
                  </a:lnTo>
                  <a:lnTo>
                    <a:pt x="854868" y="552450"/>
                  </a:lnTo>
                  <a:lnTo>
                    <a:pt x="854868" y="516731"/>
                  </a:lnTo>
                  <a:cubicBezTo>
                    <a:pt x="847724" y="513556"/>
                    <a:pt x="839942" y="511542"/>
                    <a:pt x="833437" y="507206"/>
                  </a:cubicBezTo>
                  <a:cubicBezTo>
                    <a:pt x="824799" y="501447"/>
                    <a:pt x="827540" y="497794"/>
                    <a:pt x="823912" y="490537"/>
                  </a:cubicBezTo>
                  <a:cubicBezTo>
                    <a:pt x="822632" y="487977"/>
                    <a:pt x="820430" y="485953"/>
                    <a:pt x="819150" y="483394"/>
                  </a:cubicBezTo>
                  <a:cubicBezTo>
                    <a:pt x="818027" y="481149"/>
                    <a:pt x="818543" y="478025"/>
                    <a:pt x="816768" y="476250"/>
                  </a:cubicBezTo>
                  <a:cubicBezTo>
                    <a:pt x="814993" y="474475"/>
                    <a:pt x="812006" y="474663"/>
                    <a:pt x="809625" y="473869"/>
                  </a:cubicBezTo>
                  <a:cubicBezTo>
                    <a:pt x="807244" y="472281"/>
                    <a:pt x="805041" y="470386"/>
                    <a:pt x="802481" y="469106"/>
                  </a:cubicBezTo>
                  <a:cubicBezTo>
                    <a:pt x="792203" y="463967"/>
                    <a:pt x="770282" y="464798"/>
                    <a:pt x="764381" y="464344"/>
                  </a:cubicBezTo>
                  <a:cubicBezTo>
                    <a:pt x="762000" y="462756"/>
                    <a:pt x="759261" y="461605"/>
                    <a:pt x="757237" y="459581"/>
                  </a:cubicBezTo>
                  <a:cubicBezTo>
                    <a:pt x="755213" y="457557"/>
                    <a:pt x="754856" y="454025"/>
                    <a:pt x="752475" y="452437"/>
                  </a:cubicBezTo>
                  <a:cubicBezTo>
                    <a:pt x="749752" y="450622"/>
                    <a:pt x="746125" y="450850"/>
                    <a:pt x="742950" y="450056"/>
                  </a:cubicBezTo>
                  <a:cubicBezTo>
                    <a:pt x="741362" y="447675"/>
                    <a:pt x="740422" y="444700"/>
                    <a:pt x="738187" y="442912"/>
                  </a:cubicBezTo>
                  <a:cubicBezTo>
                    <a:pt x="736227" y="441344"/>
                    <a:pt x="733504" y="441023"/>
                    <a:pt x="731043" y="440531"/>
                  </a:cubicBezTo>
                  <a:cubicBezTo>
                    <a:pt x="725540" y="439430"/>
                    <a:pt x="719931" y="438944"/>
                    <a:pt x="714375" y="438150"/>
                  </a:cubicBezTo>
                  <a:cubicBezTo>
                    <a:pt x="712787" y="435769"/>
                    <a:pt x="712172" y="432286"/>
                    <a:pt x="709612" y="431006"/>
                  </a:cubicBezTo>
                  <a:cubicBezTo>
                    <a:pt x="703758" y="428079"/>
                    <a:pt x="690562" y="426244"/>
                    <a:pt x="690562" y="426244"/>
                  </a:cubicBezTo>
                  <a:lnTo>
                    <a:pt x="676275" y="416719"/>
                  </a:lnTo>
                  <a:cubicBezTo>
                    <a:pt x="673894" y="415131"/>
                    <a:pt x="671512" y="409575"/>
                    <a:pt x="671512" y="409575"/>
                  </a:cubicBezTo>
                  <a:lnTo>
                    <a:pt x="633412" y="409575"/>
                  </a:lnTo>
                  <a:lnTo>
                    <a:pt x="638175" y="395287"/>
                  </a:lnTo>
                  <a:cubicBezTo>
                    <a:pt x="634206" y="389731"/>
                    <a:pt x="629781" y="384474"/>
                    <a:pt x="626268" y="378619"/>
                  </a:cubicBezTo>
                  <a:cubicBezTo>
                    <a:pt x="618598" y="365837"/>
                    <a:pt x="630974" y="376200"/>
                    <a:pt x="616743" y="366712"/>
                  </a:cubicBezTo>
                  <a:cubicBezTo>
                    <a:pt x="610634" y="342272"/>
                    <a:pt x="618936" y="372556"/>
                    <a:pt x="609600" y="347662"/>
                  </a:cubicBezTo>
                  <a:cubicBezTo>
                    <a:pt x="608451" y="344598"/>
                    <a:pt x="608507" y="341145"/>
                    <a:pt x="607218" y="338137"/>
                  </a:cubicBezTo>
                  <a:cubicBezTo>
                    <a:pt x="605200" y="333428"/>
                    <a:pt x="603158" y="331697"/>
                    <a:pt x="600075" y="328612"/>
                  </a:cubicBezTo>
                  <a:lnTo>
                    <a:pt x="573881" y="328612"/>
                  </a:lnTo>
                  <a:lnTo>
                    <a:pt x="573881" y="316706"/>
                  </a:lnTo>
                  <a:lnTo>
                    <a:pt x="540543" y="316706"/>
                  </a:lnTo>
                  <a:lnTo>
                    <a:pt x="540543" y="290512"/>
                  </a:lnTo>
                  <a:lnTo>
                    <a:pt x="528637" y="278606"/>
                  </a:lnTo>
                  <a:lnTo>
                    <a:pt x="431006" y="278606"/>
                  </a:lnTo>
                  <a:lnTo>
                    <a:pt x="431006" y="245269"/>
                  </a:lnTo>
                  <a:lnTo>
                    <a:pt x="404812" y="245269"/>
                  </a:lnTo>
                  <a:lnTo>
                    <a:pt x="400050" y="242887"/>
                  </a:lnTo>
                  <a:cubicBezTo>
                    <a:pt x="396081" y="237331"/>
                    <a:pt x="392971" y="231047"/>
                    <a:pt x="388143" y="226219"/>
                  </a:cubicBezTo>
                  <a:cubicBezTo>
                    <a:pt x="386368" y="224444"/>
                    <a:pt x="383404" y="224558"/>
                    <a:pt x="381000" y="223837"/>
                  </a:cubicBezTo>
                  <a:cubicBezTo>
                    <a:pt x="375465" y="222176"/>
                    <a:pt x="369887" y="220662"/>
                    <a:pt x="364331" y="219075"/>
                  </a:cubicBezTo>
                  <a:cubicBezTo>
                    <a:pt x="363537" y="213519"/>
                    <a:pt x="366517" y="205668"/>
                    <a:pt x="361950" y="202406"/>
                  </a:cubicBezTo>
                  <a:cubicBezTo>
                    <a:pt x="357865" y="199488"/>
                    <a:pt x="347662" y="207169"/>
                    <a:pt x="347662" y="207169"/>
                  </a:cubicBezTo>
                  <a:cubicBezTo>
                    <a:pt x="332589" y="202143"/>
                    <a:pt x="347604" y="209447"/>
                    <a:pt x="338137" y="192881"/>
                  </a:cubicBezTo>
                  <a:cubicBezTo>
                    <a:pt x="336717" y="190396"/>
                    <a:pt x="333374" y="189706"/>
                    <a:pt x="330993" y="188119"/>
                  </a:cubicBezTo>
                  <a:cubicBezTo>
                    <a:pt x="330199" y="185738"/>
                    <a:pt x="329734" y="183220"/>
                    <a:pt x="328612" y="180975"/>
                  </a:cubicBezTo>
                  <a:cubicBezTo>
                    <a:pt x="325297" y="174343"/>
                    <a:pt x="321973" y="171954"/>
                    <a:pt x="316706" y="166687"/>
                  </a:cubicBezTo>
                  <a:cubicBezTo>
                    <a:pt x="315912" y="164306"/>
                    <a:pt x="314817" y="162005"/>
                    <a:pt x="314325" y="159544"/>
                  </a:cubicBezTo>
                  <a:cubicBezTo>
                    <a:pt x="313224" y="154040"/>
                    <a:pt x="316326" y="146381"/>
                    <a:pt x="311943" y="142875"/>
                  </a:cubicBezTo>
                  <a:cubicBezTo>
                    <a:pt x="306330" y="138385"/>
                    <a:pt x="297656" y="141288"/>
                    <a:pt x="290512" y="140494"/>
                  </a:cubicBezTo>
                  <a:cubicBezTo>
                    <a:pt x="288131" y="139700"/>
                    <a:pt x="285803" y="138721"/>
                    <a:pt x="283368" y="138112"/>
                  </a:cubicBezTo>
                  <a:cubicBezTo>
                    <a:pt x="279442" y="137130"/>
                    <a:pt x="274829" y="137976"/>
                    <a:pt x="271462" y="135731"/>
                  </a:cubicBezTo>
                  <a:cubicBezTo>
                    <a:pt x="269373" y="134339"/>
                    <a:pt x="270856" y="130362"/>
                    <a:pt x="269081" y="128587"/>
                  </a:cubicBezTo>
                  <a:cubicBezTo>
                    <a:pt x="267943" y="127449"/>
                    <a:pt x="252494" y="123846"/>
                    <a:pt x="252412" y="123825"/>
                  </a:cubicBezTo>
                  <a:cubicBezTo>
                    <a:pt x="251114" y="119932"/>
                    <a:pt x="249156" y="111967"/>
                    <a:pt x="245268" y="109537"/>
                  </a:cubicBezTo>
                  <a:cubicBezTo>
                    <a:pt x="241011" y="106876"/>
                    <a:pt x="230981" y="104775"/>
                    <a:pt x="230981" y="104775"/>
                  </a:cubicBezTo>
                  <a:cubicBezTo>
                    <a:pt x="228600" y="101600"/>
                    <a:pt x="227139" y="97452"/>
                    <a:pt x="223837" y="95250"/>
                  </a:cubicBezTo>
                  <a:cubicBezTo>
                    <a:pt x="219660" y="92465"/>
                    <a:pt x="209550" y="90487"/>
                    <a:pt x="209550" y="90487"/>
                  </a:cubicBezTo>
                  <a:cubicBezTo>
                    <a:pt x="208253" y="86596"/>
                    <a:pt x="206291" y="78628"/>
                    <a:pt x="202406" y="76200"/>
                  </a:cubicBezTo>
                  <a:cubicBezTo>
                    <a:pt x="198149" y="73539"/>
                    <a:pt x="188118" y="71437"/>
                    <a:pt x="188118" y="71437"/>
                  </a:cubicBezTo>
                  <a:cubicBezTo>
                    <a:pt x="187324" y="69056"/>
                    <a:pt x="187512" y="66069"/>
                    <a:pt x="185737" y="64294"/>
                  </a:cubicBezTo>
                  <a:cubicBezTo>
                    <a:pt x="179821" y="58378"/>
                    <a:pt x="176187" y="63517"/>
                    <a:pt x="171450" y="66675"/>
                  </a:cubicBezTo>
                  <a:cubicBezTo>
                    <a:pt x="169995" y="62310"/>
                    <a:pt x="167070" y="49360"/>
                    <a:pt x="161925" y="45244"/>
                  </a:cubicBezTo>
                  <a:cubicBezTo>
                    <a:pt x="159965" y="43676"/>
                    <a:pt x="157162" y="43656"/>
                    <a:pt x="154781" y="42862"/>
                  </a:cubicBezTo>
                  <a:cubicBezTo>
                    <a:pt x="152149" y="34966"/>
                    <a:pt x="152400" y="38229"/>
                    <a:pt x="152400" y="33337"/>
                  </a:cubicBezTo>
                  <a:lnTo>
                    <a:pt x="97631" y="33337"/>
                  </a:lnTo>
                  <a:lnTo>
                    <a:pt x="97631" y="11906"/>
                  </a:lnTo>
                  <a:lnTo>
                    <a:pt x="54768" y="11906"/>
                  </a:lnTo>
                  <a:lnTo>
                    <a:pt x="54768" y="0"/>
                  </a:lnTo>
                  <a:lnTo>
                    <a:pt x="0" y="0"/>
                  </a:lnTo>
                </a:path>
              </a:pathLst>
            </a:custGeom>
            <a:noFill/>
            <a:ln w="28575" cmpd="sng">
              <a:solidFill>
                <a:srgbClr val="717073"/>
              </a:solidFill>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Arial"/>
                <a:ea typeface="黑体" panose="02010609060101010101" pitchFamily="49" charset="-122"/>
                <a:cs typeface="+mn-cs"/>
              </a:endParaRPr>
            </a:p>
          </p:txBody>
        </p:sp>
        <p:grpSp>
          <p:nvGrpSpPr>
            <p:cNvPr id="62" name="Group 430"/>
            <p:cNvGrpSpPr>
              <a:grpSpLocks/>
            </p:cNvGrpSpPr>
            <p:nvPr/>
          </p:nvGrpSpPr>
          <p:grpSpPr bwMode="auto">
            <a:xfrm>
              <a:off x="5564904" y="1837789"/>
              <a:ext cx="37465" cy="37465"/>
              <a:chOff x="8437682" y="4125433"/>
              <a:chExt cx="37465" cy="37465"/>
            </a:xfrm>
          </p:grpSpPr>
          <p:cxnSp>
            <p:nvCxnSpPr>
              <p:cNvPr id="495" name="Straight Connector 683"/>
              <p:cNvCxnSpPr/>
              <p:nvPr/>
            </p:nvCxnSpPr>
            <p:spPr>
              <a:xfrm>
                <a:off x="8456521" y="4125488"/>
                <a:ext cx="0" cy="37560"/>
              </a:xfrm>
              <a:prstGeom prst="line">
                <a:avLst/>
              </a:prstGeom>
              <a:noFill/>
              <a:ln w="9525" cap="rnd" cmpd="sng" algn="ctr">
                <a:solidFill>
                  <a:sysClr val="windowText" lastClr="000000"/>
                </a:solidFill>
                <a:prstDash val="solid"/>
              </a:ln>
              <a:effectLst/>
            </p:spPr>
          </p:cxnSp>
          <p:cxnSp>
            <p:nvCxnSpPr>
              <p:cNvPr id="496" name="Straight Connector 684"/>
              <p:cNvCxnSpPr/>
              <p:nvPr/>
            </p:nvCxnSpPr>
            <p:spPr>
              <a:xfrm rot="16200000">
                <a:off x="8456521" y="4126077"/>
                <a:ext cx="0" cy="37679"/>
              </a:xfrm>
              <a:prstGeom prst="line">
                <a:avLst/>
              </a:prstGeom>
              <a:noFill/>
              <a:ln w="9525" cap="rnd" cmpd="sng" algn="ctr">
                <a:solidFill>
                  <a:sysClr val="windowText" lastClr="000000"/>
                </a:solidFill>
                <a:prstDash val="solid"/>
              </a:ln>
              <a:effectLst/>
            </p:spPr>
          </p:cxnSp>
        </p:grpSp>
        <p:grpSp>
          <p:nvGrpSpPr>
            <p:cNvPr id="63" name="Group 1106"/>
            <p:cNvGrpSpPr>
              <a:grpSpLocks/>
            </p:cNvGrpSpPr>
            <p:nvPr/>
          </p:nvGrpSpPr>
          <p:grpSpPr bwMode="auto">
            <a:xfrm>
              <a:off x="5608337" y="1835254"/>
              <a:ext cx="37465" cy="37465"/>
              <a:chOff x="8437682" y="4125433"/>
              <a:chExt cx="37465" cy="37465"/>
            </a:xfrm>
          </p:grpSpPr>
          <p:cxnSp>
            <p:nvCxnSpPr>
              <p:cNvPr id="493" name="Straight Connector 1107"/>
              <p:cNvCxnSpPr/>
              <p:nvPr/>
            </p:nvCxnSpPr>
            <p:spPr>
              <a:xfrm>
                <a:off x="8456000" y="4125433"/>
                <a:ext cx="0" cy="37560"/>
              </a:xfrm>
              <a:prstGeom prst="line">
                <a:avLst/>
              </a:prstGeom>
              <a:noFill/>
              <a:ln w="9525" cap="rnd" cmpd="sng" algn="ctr">
                <a:solidFill>
                  <a:sysClr val="windowText" lastClr="000000"/>
                </a:solidFill>
                <a:prstDash val="solid"/>
              </a:ln>
              <a:effectLst/>
            </p:spPr>
          </p:cxnSp>
          <p:cxnSp>
            <p:nvCxnSpPr>
              <p:cNvPr id="494" name="Straight Connector 1108"/>
              <p:cNvCxnSpPr/>
              <p:nvPr/>
            </p:nvCxnSpPr>
            <p:spPr>
              <a:xfrm rot="16200000">
                <a:off x="8456000" y="4126021"/>
                <a:ext cx="0" cy="37679"/>
              </a:xfrm>
              <a:prstGeom prst="line">
                <a:avLst/>
              </a:prstGeom>
              <a:noFill/>
              <a:ln w="9525" cap="rnd" cmpd="sng" algn="ctr">
                <a:solidFill>
                  <a:sysClr val="windowText" lastClr="000000"/>
                </a:solidFill>
                <a:prstDash val="solid"/>
              </a:ln>
              <a:effectLst/>
            </p:spPr>
          </p:cxnSp>
        </p:grpSp>
        <p:grpSp>
          <p:nvGrpSpPr>
            <p:cNvPr id="64" name="Group 1109"/>
            <p:cNvGrpSpPr>
              <a:grpSpLocks/>
            </p:cNvGrpSpPr>
            <p:nvPr/>
          </p:nvGrpSpPr>
          <p:grpSpPr bwMode="auto">
            <a:xfrm>
              <a:off x="5646367" y="1854297"/>
              <a:ext cx="37465" cy="37465"/>
              <a:chOff x="8437682" y="4125433"/>
              <a:chExt cx="37465" cy="37465"/>
            </a:xfrm>
          </p:grpSpPr>
          <p:cxnSp>
            <p:nvCxnSpPr>
              <p:cNvPr id="491" name="Straight Connector 1110"/>
              <p:cNvCxnSpPr/>
              <p:nvPr/>
            </p:nvCxnSpPr>
            <p:spPr>
              <a:xfrm>
                <a:off x="8456695" y="4125818"/>
                <a:ext cx="0" cy="37559"/>
              </a:xfrm>
              <a:prstGeom prst="line">
                <a:avLst/>
              </a:prstGeom>
              <a:noFill/>
              <a:ln w="9525" cap="rnd" cmpd="sng" algn="ctr">
                <a:solidFill>
                  <a:sysClr val="windowText" lastClr="000000"/>
                </a:solidFill>
                <a:prstDash val="solid"/>
              </a:ln>
              <a:effectLst/>
            </p:spPr>
          </p:cxnSp>
          <p:cxnSp>
            <p:nvCxnSpPr>
              <p:cNvPr id="492" name="Straight Connector 1111"/>
              <p:cNvCxnSpPr/>
              <p:nvPr/>
            </p:nvCxnSpPr>
            <p:spPr>
              <a:xfrm rot="16200000">
                <a:off x="8456695" y="4126406"/>
                <a:ext cx="0" cy="37679"/>
              </a:xfrm>
              <a:prstGeom prst="line">
                <a:avLst/>
              </a:prstGeom>
              <a:noFill/>
              <a:ln w="9525" cap="rnd" cmpd="sng" algn="ctr">
                <a:solidFill>
                  <a:sysClr val="windowText" lastClr="000000"/>
                </a:solidFill>
                <a:prstDash val="solid"/>
              </a:ln>
              <a:effectLst/>
            </p:spPr>
          </p:cxnSp>
        </p:grpSp>
        <p:grpSp>
          <p:nvGrpSpPr>
            <p:cNvPr id="65" name="Group 1112"/>
            <p:cNvGrpSpPr>
              <a:grpSpLocks/>
            </p:cNvGrpSpPr>
            <p:nvPr/>
          </p:nvGrpSpPr>
          <p:grpSpPr bwMode="auto">
            <a:xfrm>
              <a:off x="5708067" y="1859188"/>
              <a:ext cx="37465" cy="37465"/>
              <a:chOff x="8437682" y="4125433"/>
              <a:chExt cx="37465" cy="37465"/>
            </a:xfrm>
          </p:grpSpPr>
          <p:cxnSp>
            <p:nvCxnSpPr>
              <p:cNvPr id="489" name="Straight Connector 1113"/>
              <p:cNvCxnSpPr/>
              <p:nvPr/>
            </p:nvCxnSpPr>
            <p:spPr>
              <a:xfrm>
                <a:off x="8456746" y="4124812"/>
                <a:ext cx="0" cy="37560"/>
              </a:xfrm>
              <a:prstGeom prst="line">
                <a:avLst/>
              </a:prstGeom>
              <a:noFill/>
              <a:ln w="9525" cap="rnd" cmpd="sng" algn="ctr">
                <a:solidFill>
                  <a:sysClr val="windowText" lastClr="000000"/>
                </a:solidFill>
                <a:prstDash val="solid"/>
              </a:ln>
              <a:effectLst/>
            </p:spPr>
          </p:cxnSp>
          <p:cxnSp>
            <p:nvCxnSpPr>
              <p:cNvPr id="490" name="Straight Connector 1114"/>
              <p:cNvCxnSpPr/>
              <p:nvPr/>
            </p:nvCxnSpPr>
            <p:spPr>
              <a:xfrm rot="16200000">
                <a:off x="8456746" y="4125400"/>
                <a:ext cx="0" cy="37679"/>
              </a:xfrm>
              <a:prstGeom prst="line">
                <a:avLst/>
              </a:prstGeom>
              <a:noFill/>
              <a:ln w="9525" cap="rnd" cmpd="sng" algn="ctr">
                <a:solidFill>
                  <a:sysClr val="windowText" lastClr="000000"/>
                </a:solidFill>
                <a:prstDash val="solid"/>
              </a:ln>
              <a:effectLst/>
            </p:spPr>
          </p:cxnSp>
        </p:grpSp>
        <p:grpSp>
          <p:nvGrpSpPr>
            <p:cNvPr id="66" name="Group 1115"/>
            <p:cNvGrpSpPr>
              <a:grpSpLocks/>
            </p:cNvGrpSpPr>
            <p:nvPr/>
          </p:nvGrpSpPr>
          <p:grpSpPr bwMode="auto">
            <a:xfrm>
              <a:off x="5745533" y="1859188"/>
              <a:ext cx="37465" cy="37465"/>
              <a:chOff x="8437682" y="4125433"/>
              <a:chExt cx="37465" cy="37465"/>
            </a:xfrm>
          </p:grpSpPr>
          <p:cxnSp>
            <p:nvCxnSpPr>
              <p:cNvPr id="487" name="Straight Connector 1116"/>
              <p:cNvCxnSpPr/>
              <p:nvPr/>
            </p:nvCxnSpPr>
            <p:spPr>
              <a:xfrm>
                <a:off x="8456959" y="4124812"/>
                <a:ext cx="0" cy="37560"/>
              </a:xfrm>
              <a:prstGeom prst="line">
                <a:avLst/>
              </a:prstGeom>
              <a:noFill/>
              <a:ln w="9525" cap="rnd" cmpd="sng" algn="ctr">
                <a:solidFill>
                  <a:sysClr val="windowText" lastClr="000000"/>
                </a:solidFill>
                <a:prstDash val="solid"/>
              </a:ln>
              <a:effectLst/>
            </p:spPr>
          </p:cxnSp>
          <p:cxnSp>
            <p:nvCxnSpPr>
              <p:cNvPr id="488" name="Straight Connector 1117"/>
              <p:cNvCxnSpPr/>
              <p:nvPr/>
            </p:nvCxnSpPr>
            <p:spPr>
              <a:xfrm rot="16200000">
                <a:off x="8456436" y="4125924"/>
                <a:ext cx="0" cy="36632"/>
              </a:xfrm>
              <a:prstGeom prst="line">
                <a:avLst/>
              </a:prstGeom>
              <a:noFill/>
              <a:ln w="9525" cap="rnd" cmpd="sng" algn="ctr">
                <a:solidFill>
                  <a:sysClr val="windowText" lastClr="000000"/>
                </a:solidFill>
                <a:prstDash val="solid"/>
              </a:ln>
              <a:effectLst/>
            </p:spPr>
          </p:cxnSp>
        </p:grpSp>
        <p:grpSp>
          <p:nvGrpSpPr>
            <p:cNvPr id="67" name="Group 1118"/>
            <p:cNvGrpSpPr>
              <a:grpSpLocks/>
            </p:cNvGrpSpPr>
            <p:nvPr/>
          </p:nvGrpSpPr>
          <p:grpSpPr bwMode="auto">
            <a:xfrm>
              <a:off x="5811975" y="1885454"/>
              <a:ext cx="37465" cy="37465"/>
              <a:chOff x="8437682" y="4125433"/>
              <a:chExt cx="37465" cy="37465"/>
            </a:xfrm>
          </p:grpSpPr>
          <p:cxnSp>
            <p:nvCxnSpPr>
              <p:cNvPr id="485" name="Straight Connector 1119"/>
              <p:cNvCxnSpPr/>
              <p:nvPr/>
            </p:nvCxnSpPr>
            <p:spPr>
              <a:xfrm>
                <a:off x="8456454" y="4125745"/>
                <a:ext cx="0" cy="37559"/>
              </a:xfrm>
              <a:prstGeom prst="line">
                <a:avLst/>
              </a:prstGeom>
              <a:noFill/>
              <a:ln w="9525" cap="rnd" cmpd="sng" algn="ctr">
                <a:solidFill>
                  <a:sysClr val="windowText" lastClr="000000"/>
                </a:solidFill>
                <a:prstDash val="solid"/>
              </a:ln>
              <a:effectLst/>
            </p:spPr>
          </p:cxnSp>
          <p:cxnSp>
            <p:nvCxnSpPr>
              <p:cNvPr id="486" name="Straight Connector 1120"/>
              <p:cNvCxnSpPr/>
              <p:nvPr/>
            </p:nvCxnSpPr>
            <p:spPr>
              <a:xfrm rot="16200000">
                <a:off x="8456454" y="4126332"/>
                <a:ext cx="0" cy="37679"/>
              </a:xfrm>
              <a:prstGeom prst="line">
                <a:avLst/>
              </a:prstGeom>
              <a:noFill/>
              <a:ln w="9525" cap="rnd" cmpd="sng" algn="ctr">
                <a:solidFill>
                  <a:sysClr val="windowText" lastClr="000000"/>
                </a:solidFill>
                <a:prstDash val="solid"/>
              </a:ln>
              <a:effectLst/>
            </p:spPr>
          </p:cxnSp>
        </p:grpSp>
        <p:grpSp>
          <p:nvGrpSpPr>
            <p:cNvPr id="68" name="Group 1121"/>
            <p:cNvGrpSpPr>
              <a:grpSpLocks/>
            </p:cNvGrpSpPr>
            <p:nvPr/>
          </p:nvGrpSpPr>
          <p:grpSpPr bwMode="auto">
            <a:xfrm>
              <a:off x="5849441" y="1922919"/>
              <a:ext cx="37465" cy="37465"/>
              <a:chOff x="8437682" y="4125433"/>
              <a:chExt cx="37465" cy="37465"/>
            </a:xfrm>
          </p:grpSpPr>
          <p:cxnSp>
            <p:nvCxnSpPr>
              <p:cNvPr id="483" name="Straight Connector 1122"/>
              <p:cNvCxnSpPr/>
              <p:nvPr/>
            </p:nvCxnSpPr>
            <p:spPr>
              <a:xfrm>
                <a:off x="8456666" y="4125838"/>
                <a:ext cx="0" cy="37560"/>
              </a:xfrm>
              <a:prstGeom prst="line">
                <a:avLst/>
              </a:prstGeom>
              <a:noFill/>
              <a:ln w="9525" cap="rnd" cmpd="sng" algn="ctr">
                <a:solidFill>
                  <a:sysClr val="windowText" lastClr="000000"/>
                </a:solidFill>
                <a:prstDash val="solid"/>
              </a:ln>
              <a:effectLst/>
            </p:spPr>
          </p:cxnSp>
          <p:cxnSp>
            <p:nvCxnSpPr>
              <p:cNvPr id="484" name="Straight Connector 1123"/>
              <p:cNvCxnSpPr/>
              <p:nvPr/>
            </p:nvCxnSpPr>
            <p:spPr>
              <a:xfrm rot="16200000">
                <a:off x="8456666" y="4126427"/>
                <a:ext cx="0" cy="37679"/>
              </a:xfrm>
              <a:prstGeom prst="line">
                <a:avLst/>
              </a:prstGeom>
              <a:noFill/>
              <a:ln w="9525" cap="rnd" cmpd="sng" algn="ctr">
                <a:solidFill>
                  <a:sysClr val="windowText" lastClr="000000"/>
                </a:solidFill>
                <a:prstDash val="solid"/>
              </a:ln>
              <a:effectLst/>
            </p:spPr>
          </p:cxnSp>
        </p:grpSp>
        <p:grpSp>
          <p:nvGrpSpPr>
            <p:cNvPr id="69" name="Group 1124"/>
            <p:cNvGrpSpPr>
              <a:grpSpLocks/>
            </p:cNvGrpSpPr>
            <p:nvPr/>
          </p:nvGrpSpPr>
          <p:grpSpPr bwMode="auto">
            <a:xfrm>
              <a:off x="5668115" y="1873030"/>
              <a:ext cx="37465" cy="37465"/>
              <a:chOff x="8437682" y="4125433"/>
              <a:chExt cx="37465" cy="37465"/>
            </a:xfrm>
          </p:grpSpPr>
          <p:cxnSp>
            <p:nvCxnSpPr>
              <p:cNvPr id="481" name="Straight Connector 1125"/>
              <p:cNvCxnSpPr/>
              <p:nvPr/>
            </p:nvCxnSpPr>
            <p:spPr>
              <a:xfrm>
                <a:off x="8456927" y="4125217"/>
                <a:ext cx="0" cy="37559"/>
              </a:xfrm>
              <a:prstGeom prst="line">
                <a:avLst/>
              </a:prstGeom>
              <a:noFill/>
              <a:ln w="9525" cap="rnd" cmpd="sng" algn="ctr">
                <a:solidFill>
                  <a:sysClr val="windowText" lastClr="000000"/>
                </a:solidFill>
                <a:prstDash val="solid"/>
              </a:ln>
              <a:effectLst/>
            </p:spPr>
          </p:cxnSp>
          <p:cxnSp>
            <p:nvCxnSpPr>
              <p:cNvPr id="482" name="Straight Connector 1126"/>
              <p:cNvCxnSpPr/>
              <p:nvPr/>
            </p:nvCxnSpPr>
            <p:spPr>
              <a:xfrm rot="16200000">
                <a:off x="8456403" y="4126328"/>
                <a:ext cx="0" cy="36632"/>
              </a:xfrm>
              <a:prstGeom prst="line">
                <a:avLst/>
              </a:prstGeom>
              <a:noFill/>
              <a:ln w="9525" cap="rnd" cmpd="sng" algn="ctr">
                <a:solidFill>
                  <a:sysClr val="windowText" lastClr="000000"/>
                </a:solidFill>
                <a:prstDash val="solid"/>
              </a:ln>
              <a:effectLst/>
            </p:spPr>
          </p:cxnSp>
        </p:grpSp>
        <p:grpSp>
          <p:nvGrpSpPr>
            <p:cNvPr id="70" name="Group 1127"/>
            <p:cNvGrpSpPr>
              <a:grpSpLocks/>
            </p:cNvGrpSpPr>
            <p:nvPr/>
          </p:nvGrpSpPr>
          <p:grpSpPr bwMode="auto">
            <a:xfrm>
              <a:off x="5708068" y="1872719"/>
              <a:ext cx="37465" cy="37465"/>
              <a:chOff x="8437682" y="4125433"/>
              <a:chExt cx="37465" cy="37465"/>
            </a:xfrm>
          </p:grpSpPr>
          <p:cxnSp>
            <p:nvCxnSpPr>
              <p:cNvPr id="479" name="Straight Connector 1128"/>
              <p:cNvCxnSpPr/>
              <p:nvPr/>
            </p:nvCxnSpPr>
            <p:spPr>
              <a:xfrm>
                <a:off x="8456745" y="4125528"/>
                <a:ext cx="0" cy="37559"/>
              </a:xfrm>
              <a:prstGeom prst="line">
                <a:avLst/>
              </a:prstGeom>
              <a:noFill/>
              <a:ln w="9525" cap="rnd" cmpd="sng" algn="ctr">
                <a:solidFill>
                  <a:sysClr val="windowText" lastClr="000000"/>
                </a:solidFill>
                <a:prstDash val="solid"/>
              </a:ln>
              <a:effectLst/>
            </p:spPr>
          </p:cxnSp>
          <p:cxnSp>
            <p:nvCxnSpPr>
              <p:cNvPr id="480" name="Straight Connector 1129"/>
              <p:cNvCxnSpPr/>
              <p:nvPr/>
            </p:nvCxnSpPr>
            <p:spPr>
              <a:xfrm rot="16200000">
                <a:off x="8456745" y="4126115"/>
                <a:ext cx="0" cy="37679"/>
              </a:xfrm>
              <a:prstGeom prst="line">
                <a:avLst/>
              </a:prstGeom>
              <a:noFill/>
              <a:ln w="9525" cap="rnd" cmpd="sng" algn="ctr">
                <a:solidFill>
                  <a:sysClr val="windowText" lastClr="000000"/>
                </a:solidFill>
                <a:prstDash val="solid"/>
              </a:ln>
              <a:effectLst/>
            </p:spPr>
          </p:cxnSp>
        </p:grpSp>
        <p:grpSp>
          <p:nvGrpSpPr>
            <p:cNvPr id="71" name="Group 1130"/>
            <p:cNvGrpSpPr>
              <a:grpSpLocks/>
            </p:cNvGrpSpPr>
            <p:nvPr/>
          </p:nvGrpSpPr>
          <p:grpSpPr bwMode="auto">
            <a:xfrm>
              <a:off x="5945912" y="2057265"/>
              <a:ext cx="37465" cy="37465"/>
              <a:chOff x="8437682" y="4125433"/>
              <a:chExt cx="37465" cy="37465"/>
            </a:xfrm>
          </p:grpSpPr>
          <p:cxnSp>
            <p:nvCxnSpPr>
              <p:cNvPr id="477" name="Straight Connector 1131"/>
              <p:cNvCxnSpPr/>
              <p:nvPr/>
            </p:nvCxnSpPr>
            <p:spPr>
              <a:xfrm>
                <a:off x="8456485" y="4124895"/>
                <a:ext cx="0" cy="37559"/>
              </a:xfrm>
              <a:prstGeom prst="line">
                <a:avLst/>
              </a:prstGeom>
              <a:noFill/>
              <a:ln w="9525" cap="rnd" cmpd="sng" algn="ctr">
                <a:solidFill>
                  <a:sysClr val="windowText" lastClr="000000"/>
                </a:solidFill>
                <a:prstDash val="solid"/>
              </a:ln>
              <a:effectLst/>
            </p:spPr>
          </p:cxnSp>
          <p:cxnSp>
            <p:nvCxnSpPr>
              <p:cNvPr id="478" name="Straight Connector 1132"/>
              <p:cNvCxnSpPr/>
              <p:nvPr/>
            </p:nvCxnSpPr>
            <p:spPr>
              <a:xfrm rot="16200000">
                <a:off x="8456485" y="4125482"/>
                <a:ext cx="0" cy="37679"/>
              </a:xfrm>
              <a:prstGeom prst="line">
                <a:avLst/>
              </a:prstGeom>
              <a:noFill/>
              <a:ln w="9525" cap="rnd" cmpd="sng" algn="ctr">
                <a:solidFill>
                  <a:sysClr val="windowText" lastClr="000000"/>
                </a:solidFill>
                <a:prstDash val="solid"/>
              </a:ln>
              <a:effectLst/>
            </p:spPr>
          </p:cxnSp>
        </p:grpSp>
        <p:grpSp>
          <p:nvGrpSpPr>
            <p:cNvPr id="72" name="Group 1133"/>
            <p:cNvGrpSpPr>
              <a:grpSpLocks/>
            </p:cNvGrpSpPr>
            <p:nvPr/>
          </p:nvGrpSpPr>
          <p:grpSpPr bwMode="auto">
            <a:xfrm>
              <a:off x="6001249" y="2096179"/>
              <a:ext cx="37465" cy="37465"/>
              <a:chOff x="8437682" y="4125433"/>
              <a:chExt cx="37465" cy="37465"/>
            </a:xfrm>
          </p:grpSpPr>
          <p:cxnSp>
            <p:nvCxnSpPr>
              <p:cNvPr id="475" name="Straight Connector 1134"/>
              <p:cNvCxnSpPr/>
              <p:nvPr/>
            </p:nvCxnSpPr>
            <p:spPr>
              <a:xfrm>
                <a:off x="8456620" y="4124836"/>
                <a:ext cx="0" cy="37559"/>
              </a:xfrm>
              <a:prstGeom prst="line">
                <a:avLst/>
              </a:prstGeom>
              <a:noFill/>
              <a:ln w="9525" cap="rnd" cmpd="sng" algn="ctr">
                <a:solidFill>
                  <a:sysClr val="windowText" lastClr="000000"/>
                </a:solidFill>
                <a:prstDash val="solid"/>
              </a:ln>
              <a:effectLst/>
            </p:spPr>
          </p:cxnSp>
          <p:cxnSp>
            <p:nvCxnSpPr>
              <p:cNvPr id="476" name="Straight Connector 1135"/>
              <p:cNvCxnSpPr/>
              <p:nvPr/>
            </p:nvCxnSpPr>
            <p:spPr>
              <a:xfrm rot="16200000">
                <a:off x="8456620" y="4125423"/>
                <a:ext cx="0" cy="37679"/>
              </a:xfrm>
              <a:prstGeom prst="line">
                <a:avLst/>
              </a:prstGeom>
              <a:noFill/>
              <a:ln w="9525" cap="rnd" cmpd="sng" algn="ctr">
                <a:solidFill>
                  <a:sysClr val="windowText" lastClr="000000"/>
                </a:solidFill>
                <a:prstDash val="solid"/>
              </a:ln>
              <a:effectLst/>
            </p:spPr>
          </p:cxnSp>
        </p:grpSp>
        <p:grpSp>
          <p:nvGrpSpPr>
            <p:cNvPr id="73" name="Group 1136"/>
            <p:cNvGrpSpPr>
              <a:grpSpLocks/>
            </p:cNvGrpSpPr>
            <p:nvPr/>
          </p:nvGrpSpPr>
          <p:grpSpPr bwMode="auto">
            <a:xfrm>
              <a:off x="6029688" y="2108220"/>
              <a:ext cx="37465" cy="37465"/>
              <a:chOff x="8437682" y="4125433"/>
              <a:chExt cx="37465" cy="37465"/>
            </a:xfrm>
          </p:grpSpPr>
          <p:cxnSp>
            <p:nvCxnSpPr>
              <p:cNvPr id="473" name="Straight Connector 1137"/>
              <p:cNvCxnSpPr/>
              <p:nvPr/>
            </p:nvCxnSpPr>
            <p:spPr>
              <a:xfrm>
                <a:off x="8456439" y="4125746"/>
                <a:ext cx="0" cy="37559"/>
              </a:xfrm>
              <a:prstGeom prst="line">
                <a:avLst/>
              </a:prstGeom>
              <a:noFill/>
              <a:ln w="9525" cap="rnd" cmpd="sng" algn="ctr">
                <a:solidFill>
                  <a:sysClr val="windowText" lastClr="000000"/>
                </a:solidFill>
                <a:prstDash val="solid"/>
              </a:ln>
              <a:effectLst/>
            </p:spPr>
          </p:cxnSp>
          <p:cxnSp>
            <p:nvCxnSpPr>
              <p:cNvPr id="474" name="Straight Connector 1138"/>
              <p:cNvCxnSpPr/>
              <p:nvPr/>
            </p:nvCxnSpPr>
            <p:spPr>
              <a:xfrm rot="16200000">
                <a:off x="8456439" y="4126334"/>
                <a:ext cx="0" cy="37679"/>
              </a:xfrm>
              <a:prstGeom prst="line">
                <a:avLst/>
              </a:prstGeom>
              <a:noFill/>
              <a:ln w="9525" cap="rnd" cmpd="sng" algn="ctr">
                <a:solidFill>
                  <a:sysClr val="windowText" lastClr="000000"/>
                </a:solidFill>
                <a:prstDash val="solid"/>
              </a:ln>
              <a:effectLst/>
            </p:spPr>
          </p:cxnSp>
        </p:grpSp>
        <p:grpSp>
          <p:nvGrpSpPr>
            <p:cNvPr id="74" name="Group 1139"/>
            <p:cNvGrpSpPr>
              <a:grpSpLocks/>
            </p:cNvGrpSpPr>
            <p:nvPr/>
          </p:nvGrpSpPr>
          <p:grpSpPr bwMode="auto">
            <a:xfrm>
              <a:off x="6294110" y="2224771"/>
              <a:ext cx="37465" cy="37465"/>
              <a:chOff x="8437682" y="4125433"/>
              <a:chExt cx="37465" cy="37465"/>
            </a:xfrm>
          </p:grpSpPr>
          <p:cxnSp>
            <p:nvCxnSpPr>
              <p:cNvPr id="471" name="Straight Connector 1140"/>
              <p:cNvCxnSpPr/>
              <p:nvPr/>
            </p:nvCxnSpPr>
            <p:spPr>
              <a:xfrm>
                <a:off x="8456813" y="4125759"/>
                <a:ext cx="0" cy="37559"/>
              </a:xfrm>
              <a:prstGeom prst="line">
                <a:avLst/>
              </a:prstGeom>
              <a:noFill/>
              <a:ln w="9525" cap="rnd" cmpd="sng" algn="ctr">
                <a:solidFill>
                  <a:sysClr val="windowText" lastClr="000000"/>
                </a:solidFill>
                <a:prstDash val="solid"/>
              </a:ln>
              <a:effectLst/>
            </p:spPr>
          </p:cxnSp>
          <p:cxnSp>
            <p:nvCxnSpPr>
              <p:cNvPr id="472" name="Straight Connector 1141"/>
              <p:cNvCxnSpPr/>
              <p:nvPr/>
            </p:nvCxnSpPr>
            <p:spPr>
              <a:xfrm rot="16200000">
                <a:off x="8456813" y="4126347"/>
                <a:ext cx="0" cy="37679"/>
              </a:xfrm>
              <a:prstGeom prst="line">
                <a:avLst/>
              </a:prstGeom>
              <a:noFill/>
              <a:ln w="9525" cap="rnd" cmpd="sng" algn="ctr">
                <a:solidFill>
                  <a:sysClr val="windowText" lastClr="000000"/>
                </a:solidFill>
                <a:prstDash val="solid"/>
              </a:ln>
              <a:effectLst/>
            </p:spPr>
          </p:cxnSp>
        </p:grpSp>
        <p:grpSp>
          <p:nvGrpSpPr>
            <p:cNvPr id="75" name="Group 1142"/>
            <p:cNvGrpSpPr>
              <a:grpSpLocks/>
            </p:cNvGrpSpPr>
            <p:nvPr/>
          </p:nvGrpSpPr>
          <p:grpSpPr bwMode="auto">
            <a:xfrm>
              <a:off x="6729236" y="2758996"/>
              <a:ext cx="37465" cy="37465"/>
              <a:chOff x="8437682" y="4125433"/>
              <a:chExt cx="37465" cy="37465"/>
            </a:xfrm>
          </p:grpSpPr>
          <p:cxnSp>
            <p:nvCxnSpPr>
              <p:cNvPr id="469" name="Straight Connector 1143"/>
              <p:cNvCxnSpPr/>
              <p:nvPr/>
            </p:nvCxnSpPr>
            <p:spPr>
              <a:xfrm>
                <a:off x="8456037" y="4125140"/>
                <a:ext cx="0" cy="37559"/>
              </a:xfrm>
              <a:prstGeom prst="line">
                <a:avLst/>
              </a:prstGeom>
              <a:noFill/>
              <a:ln w="9525" cap="rnd" cmpd="sng" algn="ctr">
                <a:solidFill>
                  <a:sysClr val="windowText" lastClr="000000"/>
                </a:solidFill>
                <a:prstDash val="solid"/>
              </a:ln>
              <a:effectLst/>
            </p:spPr>
          </p:cxnSp>
          <p:cxnSp>
            <p:nvCxnSpPr>
              <p:cNvPr id="470" name="Straight Connector 1144"/>
              <p:cNvCxnSpPr/>
              <p:nvPr/>
            </p:nvCxnSpPr>
            <p:spPr>
              <a:xfrm rot="16200000">
                <a:off x="8456037" y="4125728"/>
                <a:ext cx="0" cy="37679"/>
              </a:xfrm>
              <a:prstGeom prst="line">
                <a:avLst/>
              </a:prstGeom>
              <a:noFill/>
              <a:ln w="9525" cap="rnd" cmpd="sng" algn="ctr">
                <a:solidFill>
                  <a:sysClr val="windowText" lastClr="000000"/>
                </a:solidFill>
                <a:prstDash val="solid"/>
              </a:ln>
              <a:effectLst/>
            </p:spPr>
          </p:cxnSp>
        </p:grpSp>
        <p:grpSp>
          <p:nvGrpSpPr>
            <p:cNvPr id="76" name="Group 1145"/>
            <p:cNvGrpSpPr>
              <a:grpSpLocks/>
            </p:cNvGrpSpPr>
            <p:nvPr/>
          </p:nvGrpSpPr>
          <p:grpSpPr bwMode="auto">
            <a:xfrm>
              <a:off x="6757000" y="2799848"/>
              <a:ext cx="37465" cy="37465"/>
              <a:chOff x="8437682" y="4125433"/>
              <a:chExt cx="37465" cy="37465"/>
            </a:xfrm>
          </p:grpSpPr>
          <p:cxnSp>
            <p:nvCxnSpPr>
              <p:cNvPr id="467" name="Straight Connector 1146"/>
              <p:cNvCxnSpPr/>
              <p:nvPr/>
            </p:nvCxnSpPr>
            <p:spPr>
              <a:xfrm>
                <a:off x="8456532" y="4125733"/>
                <a:ext cx="0" cy="37559"/>
              </a:xfrm>
              <a:prstGeom prst="line">
                <a:avLst/>
              </a:prstGeom>
              <a:noFill/>
              <a:ln w="9525" cap="rnd" cmpd="sng" algn="ctr">
                <a:solidFill>
                  <a:sysClr val="windowText" lastClr="000000"/>
                </a:solidFill>
                <a:prstDash val="solid"/>
              </a:ln>
              <a:effectLst/>
            </p:spPr>
          </p:cxnSp>
          <p:cxnSp>
            <p:nvCxnSpPr>
              <p:cNvPr id="468" name="Straight Connector 1147"/>
              <p:cNvCxnSpPr/>
              <p:nvPr/>
            </p:nvCxnSpPr>
            <p:spPr>
              <a:xfrm rot="16200000">
                <a:off x="8456532" y="4126321"/>
                <a:ext cx="0" cy="37679"/>
              </a:xfrm>
              <a:prstGeom prst="line">
                <a:avLst/>
              </a:prstGeom>
              <a:noFill/>
              <a:ln w="9525" cap="rnd" cmpd="sng" algn="ctr">
                <a:solidFill>
                  <a:sysClr val="windowText" lastClr="000000"/>
                </a:solidFill>
                <a:prstDash val="solid"/>
              </a:ln>
              <a:effectLst/>
            </p:spPr>
          </p:cxnSp>
        </p:grpSp>
        <p:grpSp>
          <p:nvGrpSpPr>
            <p:cNvPr id="77" name="Group 1148"/>
            <p:cNvGrpSpPr>
              <a:grpSpLocks/>
            </p:cNvGrpSpPr>
            <p:nvPr/>
          </p:nvGrpSpPr>
          <p:grpSpPr bwMode="auto">
            <a:xfrm>
              <a:off x="7133048" y="3051731"/>
              <a:ext cx="37465" cy="37465"/>
              <a:chOff x="8437682" y="4125433"/>
              <a:chExt cx="37465" cy="37465"/>
            </a:xfrm>
          </p:grpSpPr>
          <p:cxnSp>
            <p:nvCxnSpPr>
              <p:cNvPr id="465" name="Straight Connector 1149"/>
              <p:cNvCxnSpPr/>
              <p:nvPr/>
            </p:nvCxnSpPr>
            <p:spPr>
              <a:xfrm>
                <a:off x="8456222" y="4125112"/>
                <a:ext cx="0" cy="37559"/>
              </a:xfrm>
              <a:prstGeom prst="line">
                <a:avLst/>
              </a:prstGeom>
              <a:noFill/>
              <a:ln w="9525" cap="rnd" cmpd="sng" algn="ctr">
                <a:solidFill>
                  <a:sysClr val="windowText" lastClr="000000"/>
                </a:solidFill>
                <a:prstDash val="solid"/>
              </a:ln>
              <a:effectLst/>
            </p:spPr>
          </p:cxnSp>
          <p:cxnSp>
            <p:nvCxnSpPr>
              <p:cNvPr id="466" name="Straight Connector 1150"/>
              <p:cNvCxnSpPr/>
              <p:nvPr/>
            </p:nvCxnSpPr>
            <p:spPr>
              <a:xfrm rot="16200000">
                <a:off x="8456222" y="4125699"/>
                <a:ext cx="0" cy="37679"/>
              </a:xfrm>
              <a:prstGeom prst="line">
                <a:avLst/>
              </a:prstGeom>
              <a:noFill/>
              <a:ln w="9525" cap="rnd" cmpd="sng" algn="ctr">
                <a:solidFill>
                  <a:sysClr val="windowText" lastClr="000000"/>
                </a:solidFill>
                <a:prstDash val="solid"/>
              </a:ln>
              <a:effectLst/>
            </p:spPr>
          </p:cxnSp>
        </p:grpSp>
        <p:grpSp>
          <p:nvGrpSpPr>
            <p:cNvPr id="78" name="Group 1151"/>
            <p:cNvGrpSpPr>
              <a:grpSpLocks/>
            </p:cNvGrpSpPr>
            <p:nvPr/>
          </p:nvGrpSpPr>
          <p:grpSpPr bwMode="auto">
            <a:xfrm>
              <a:off x="6556230" y="2416123"/>
              <a:ext cx="37465" cy="37465"/>
              <a:chOff x="8437682" y="4125433"/>
              <a:chExt cx="37465" cy="37465"/>
            </a:xfrm>
          </p:grpSpPr>
          <p:cxnSp>
            <p:nvCxnSpPr>
              <p:cNvPr id="463" name="Straight Connector 1152"/>
              <p:cNvCxnSpPr/>
              <p:nvPr/>
            </p:nvCxnSpPr>
            <p:spPr>
              <a:xfrm>
                <a:off x="8456350" y="4124796"/>
                <a:ext cx="0" cy="37560"/>
              </a:xfrm>
              <a:prstGeom prst="line">
                <a:avLst/>
              </a:prstGeom>
              <a:noFill/>
              <a:ln w="9525" cap="rnd" cmpd="sng" algn="ctr">
                <a:solidFill>
                  <a:sysClr val="windowText" lastClr="000000"/>
                </a:solidFill>
                <a:prstDash val="solid"/>
              </a:ln>
              <a:effectLst/>
            </p:spPr>
          </p:cxnSp>
          <p:cxnSp>
            <p:nvCxnSpPr>
              <p:cNvPr id="464" name="Straight Connector 1153"/>
              <p:cNvCxnSpPr/>
              <p:nvPr/>
            </p:nvCxnSpPr>
            <p:spPr>
              <a:xfrm rot="16200000">
                <a:off x="8456350" y="4125384"/>
                <a:ext cx="0" cy="37679"/>
              </a:xfrm>
              <a:prstGeom prst="line">
                <a:avLst/>
              </a:prstGeom>
              <a:noFill/>
              <a:ln w="9525" cap="rnd" cmpd="sng" algn="ctr">
                <a:solidFill>
                  <a:sysClr val="windowText" lastClr="000000"/>
                </a:solidFill>
                <a:prstDash val="solid"/>
              </a:ln>
              <a:effectLst/>
            </p:spPr>
          </p:cxnSp>
        </p:grpSp>
        <p:grpSp>
          <p:nvGrpSpPr>
            <p:cNvPr id="79" name="Group 1154"/>
            <p:cNvGrpSpPr>
              <a:grpSpLocks/>
            </p:cNvGrpSpPr>
            <p:nvPr/>
          </p:nvGrpSpPr>
          <p:grpSpPr bwMode="auto">
            <a:xfrm>
              <a:off x="6675134" y="2546875"/>
              <a:ext cx="37465" cy="37465"/>
              <a:chOff x="8437682" y="4125433"/>
              <a:chExt cx="37465" cy="37465"/>
            </a:xfrm>
          </p:grpSpPr>
          <p:cxnSp>
            <p:nvCxnSpPr>
              <p:cNvPr id="461" name="Straight Connector 1155"/>
              <p:cNvCxnSpPr/>
              <p:nvPr/>
            </p:nvCxnSpPr>
            <p:spPr>
              <a:xfrm>
                <a:off x="8456761" y="4124855"/>
                <a:ext cx="0" cy="37559"/>
              </a:xfrm>
              <a:prstGeom prst="line">
                <a:avLst/>
              </a:prstGeom>
              <a:noFill/>
              <a:ln w="9525" cap="rnd" cmpd="sng" algn="ctr">
                <a:solidFill>
                  <a:sysClr val="windowText" lastClr="000000"/>
                </a:solidFill>
                <a:prstDash val="solid"/>
              </a:ln>
              <a:effectLst/>
            </p:spPr>
          </p:cxnSp>
          <p:cxnSp>
            <p:nvCxnSpPr>
              <p:cNvPr id="462" name="Straight Connector 1156"/>
              <p:cNvCxnSpPr/>
              <p:nvPr/>
            </p:nvCxnSpPr>
            <p:spPr>
              <a:xfrm rot="16200000">
                <a:off x="8456761" y="4125443"/>
                <a:ext cx="0" cy="37679"/>
              </a:xfrm>
              <a:prstGeom prst="line">
                <a:avLst/>
              </a:prstGeom>
              <a:noFill/>
              <a:ln w="9525" cap="rnd" cmpd="sng" algn="ctr">
                <a:solidFill>
                  <a:sysClr val="windowText" lastClr="000000"/>
                </a:solidFill>
                <a:prstDash val="solid"/>
              </a:ln>
              <a:effectLst/>
            </p:spPr>
          </p:cxnSp>
        </p:grpSp>
        <p:grpSp>
          <p:nvGrpSpPr>
            <p:cNvPr id="80" name="Group 1157"/>
            <p:cNvGrpSpPr>
              <a:grpSpLocks/>
            </p:cNvGrpSpPr>
            <p:nvPr/>
          </p:nvGrpSpPr>
          <p:grpSpPr bwMode="auto">
            <a:xfrm>
              <a:off x="7021717" y="2876415"/>
              <a:ext cx="37465" cy="37465"/>
              <a:chOff x="8437682" y="4125433"/>
              <a:chExt cx="37465" cy="37465"/>
            </a:xfrm>
          </p:grpSpPr>
          <p:cxnSp>
            <p:nvCxnSpPr>
              <p:cNvPr id="459" name="Straight Connector 1158"/>
              <p:cNvCxnSpPr/>
              <p:nvPr/>
            </p:nvCxnSpPr>
            <p:spPr>
              <a:xfrm>
                <a:off x="8456611" y="4125581"/>
                <a:ext cx="0" cy="37560"/>
              </a:xfrm>
              <a:prstGeom prst="line">
                <a:avLst/>
              </a:prstGeom>
              <a:noFill/>
              <a:ln w="9525" cap="rnd" cmpd="sng" algn="ctr">
                <a:solidFill>
                  <a:sysClr val="windowText" lastClr="000000"/>
                </a:solidFill>
                <a:prstDash val="solid"/>
              </a:ln>
              <a:effectLst/>
            </p:spPr>
          </p:cxnSp>
          <p:cxnSp>
            <p:nvCxnSpPr>
              <p:cNvPr id="460" name="Straight Connector 1159"/>
              <p:cNvCxnSpPr/>
              <p:nvPr/>
            </p:nvCxnSpPr>
            <p:spPr>
              <a:xfrm rot="16200000">
                <a:off x="8456611" y="4126169"/>
                <a:ext cx="0" cy="37679"/>
              </a:xfrm>
              <a:prstGeom prst="line">
                <a:avLst/>
              </a:prstGeom>
              <a:noFill/>
              <a:ln w="9525" cap="rnd" cmpd="sng" algn="ctr">
                <a:solidFill>
                  <a:sysClr val="windowText" lastClr="000000"/>
                </a:solidFill>
                <a:prstDash val="solid"/>
              </a:ln>
              <a:effectLst/>
            </p:spPr>
          </p:cxnSp>
        </p:grpSp>
        <p:grpSp>
          <p:nvGrpSpPr>
            <p:cNvPr id="81" name="Group 1160"/>
            <p:cNvGrpSpPr>
              <a:grpSpLocks/>
            </p:cNvGrpSpPr>
            <p:nvPr/>
          </p:nvGrpSpPr>
          <p:grpSpPr bwMode="auto">
            <a:xfrm>
              <a:off x="7046579" y="2900972"/>
              <a:ext cx="37465" cy="37465"/>
              <a:chOff x="8437682" y="4125433"/>
              <a:chExt cx="37465" cy="37465"/>
            </a:xfrm>
          </p:grpSpPr>
          <p:cxnSp>
            <p:nvCxnSpPr>
              <p:cNvPr id="457" name="Straight Connector 1161"/>
              <p:cNvCxnSpPr/>
              <p:nvPr/>
            </p:nvCxnSpPr>
            <p:spPr>
              <a:xfrm>
                <a:off x="8456868" y="4125632"/>
                <a:ext cx="0" cy="37559"/>
              </a:xfrm>
              <a:prstGeom prst="line">
                <a:avLst/>
              </a:prstGeom>
              <a:noFill/>
              <a:ln w="9525" cap="rnd" cmpd="sng" algn="ctr">
                <a:solidFill>
                  <a:sysClr val="windowText" lastClr="000000"/>
                </a:solidFill>
                <a:prstDash val="solid"/>
              </a:ln>
              <a:effectLst/>
            </p:spPr>
          </p:cxnSp>
          <p:cxnSp>
            <p:nvCxnSpPr>
              <p:cNvPr id="458" name="Straight Connector 1162"/>
              <p:cNvCxnSpPr/>
              <p:nvPr/>
            </p:nvCxnSpPr>
            <p:spPr>
              <a:xfrm rot="16200000">
                <a:off x="8456345" y="4126742"/>
                <a:ext cx="0" cy="36632"/>
              </a:xfrm>
              <a:prstGeom prst="line">
                <a:avLst/>
              </a:prstGeom>
              <a:noFill/>
              <a:ln w="9525" cap="rnd" cmpd="sng" algn="ctr">
                <a:solidFill>
                  <a:sysClr val="windowText" lastClr="000000"/>
                </a:solidFill>
                <a:prstDash val="solid"/>
              </a:ln>
              <a:effectLst/>
            </p:spPr>
          </p:cxnSp>
        </p:grpSp>
        <p:grpSp>
          <p:nvGrpSpPr>
            <p:cNvPr id="82" name="Group 1163"/>
            <p:cNvGrpSpPr>
              <a:grpSpLocks/>
            </p:cNvGrpSpPr>
            <p:nvPr/>
          </p:nvGrpSpPr>
          <p:grpSpPr bwMode="auto">
            <a:xfrm>
              <a:off x="7174850" y="2990771"/>
              <a:ext cx="37465" cy="37465"/>
              <a:chOff x="8437682" y="4125433"/>
              <a:chExt cx="37465" cy="37465"/>
            </a:xfrm>
          </p:grpSpPr>
          <p:cxnSp>
            <p:nvCxnSpPr>
              <p:cNvPr id="455" name="Straight Connector 1164"/>
              <p:cNvCxnSpPr/>
              <p:nvPr/>
            </p:nvCxnSpPr>
            <p:spPr>
              <a:xfrm>
                <a:off x="8456285" y="4125199"/>
                <a:ext cx="0" cy="37560"/>
              </a:xfrm>
              <a:prstGeom prst="line">
                <a:avLst/>
              </a:prstGeom>
              <a:noFill/>
              <a:ln w="9525" cap="rnd" cmpd="sng" algn="ctr">
                <a:solidFill>
                  <a:sysClr val="windowText" lastClr="000000"/>
                </a:solidFill>
                <a:prstDash val="solid"/>
              </a:ln>
              <a:effectLst/>
            </p:spPr>
          </p:cxnSp>
          <p:cxnSp>
            <p:nvCxnSpPr>
              <p:cNvPr id="456" name="Straight Connector 1165"/>
              <p:cNvCxnSpPr/>
              <p:nvPr/>
            </p:nvCxnSpPr>
            <p:spPr>
              <a:xfrm rot="16200000">
                <a:off x="8456285" y="4125787"/>
                <a:ext cx="0" cy="37679"/>
              </a:xfrm>
              <a:prstGeom prst="line">
                <a:avLst/>
              </a:prstGeom>
              <a:noFill/>
              <a:ln w="9525" cap="rnd" cmpd="sng" algn="ctr">
                <a:solidFill>
                  <a:sysClr val="windowText" lastClr="000000"/>
                </a:solidFill>
                <a:prstDash val="solid"/>
              </a:ln>
              <a:effectLst/>
            </p:spPr>
          </p:cxnSp>
        </p:grpSp>
        <p:grpSp>
          <p:nvGrpSpPr>
            <p:cNvPr id="83" name="Group 1166"/>
            <p:cNvGrpSpPr>
              <a:grpSpLocks/>
            </p:cNvGrpSpPr>
            <p:nvPr/>
          </p:nvGrpSpPr>
          <p:grpSpPr bwMode="auto">
            <a:xfrm>
              <a:off x="7237687" y="3010112"/>
              <a:ext cx="37465" cy="37465"/>
              <a:chOff x="8437682" y="4125433"/>
              <a:chExt cx="37465" cy="37465"/>
            </a:xfrm>
          </p:grpSpPr>
          <p:cxnSp>
            <p:nvCxnSpPr>
              <p:cNvPr id="453" name="Straight Connector 1167"/>
              <p:cNvCxnSpPr/>
              <p:nvPr/>
            </p:nvCxnSpPr>
            <p:spPr>
              <a:xfrm>
                <a:off x="8456246" y="4125285"/>
                <a:ext cx="0" cy="37559"/>
              </a:xfrm>
              <a:prstGeom prst="line">
                <a:avLst/>
              </a:prstGeom>
              <a:noFill/>
              <a:ln w="9525" cap="rnd" cmpd="sng" algn="ctr">
                <a:solidFill>
                  <a:sysClr val="windowText" lastClr="000000"/>
                </a:solidFill>
                <a:prstDash val="solid"/>
              </a:ln>
              <a:effectLst/>
            </p:spPr>
          </p:cxnSp>
          <p:cxnSp>
            <p:nvCxnSpPr>
              <p:cNvPr id="454" name="Straight Connector 1168"/>
              <p:cNvCxnSpPr/>
              <p:nvPr/>
            </p:nvCxnSpPr>
            <p:spPr>
              <a:xfrm rot="16200000">
                <a:off x="8456246" y="4125873"/>
                <a:ext cx="0" cy="37679"/>
              </a:xfrm>
              <a:prstGeom prst="line">
                <a:avLst/>
              </a:prstGeom>
              <a:noFill/>
              <a:ln w="9525" cap="rnd" cmpd="sng" algn="ctr">
                <a:solidFill>
                  <a:sysClr val="windowText" lastClr="000000"/>
                </a:solidFill>
                <a:prstDash val="solid"/>
              </a:ln>
              <a:effectLst/>
            </p:spPr>
          </p:cxnSp>
        </p:grpSp>
        <p:grpSp>
          <p:nvGrpSpPr>
            <p:cNvPr id="84" name="Group 1169"/>
            <p:cNvGrpSpPr>
              <a:grpSpLocks/>
            </p:cNvGrpSpPr>
            <p:nvPr/>
          </p:nvGrpSpPr>
          <p:grpSpPr bwMode="auto">
            <a:xfrm>
              <a:off x="7308258" y="3055118"/>
              <a:ext cx="37465" cy="37465"/>
              <a:chOff x="8437682" y="4125433"/>
              <a:chExt cx="37465" cy="37465"/>
            </a:xfrm>
          </p:grpSpPr>
          <p:cxnSp>
            <p:nvCxnSpPr>
              <p:cNvPr id="451" name="Straight Connector 1170"/>
              <p:cNvCxnSpPr/>
              <p:nvPr/>
            </p:nvCxnSpPr>
            <p:spPr>
              <a:xfrm>
                <a:off x="8456845" y="4125609"/>
                <a:ext cx="0" cy="37560"/>
              </a:xfrm>
              <a:prstGeom prst="line">
                <a:avLst/>
              </a:prstGeom>
              <a:noFill/>
              <a:ln w="9525" cap="rnd" cmpd="sng" algn="ctr">
                <a:solidFill>
                  <a:sysClr val="windowText" lastClr="000000"/>
                </a:solidFill>
                <a:prstDash val="solid"/>
              </a:ln>
              <a:effectLst/>
            </p:spPr>
          </p:cxnSp>
          <p:cxnSp>
            <p:nvCxnSpPr>
              <p:cNvPr id="452" name="Straight Connector 1171"/>
              <p:cNvCxnSpPr/>
              <p:nvPr/>
            </p:nvCxnSpPr>
            <p:spPr>
              <a:xfrm rot="16200000">
                <a:off x="8456322" y="4126720"/>
                <a:ext cx="0" cy="36632"/>
              </a:xfrm>
              <a:prstGeom prst="line">
                <a:avLst/>
              </a:prstGeom>
              <a:noFill/>
              <a:ln w="9525" cap="rnd" cmpd="sng" algn="ctr">
                <a:solidFill>
                  <a:sysClr val="windowText" lastClr="000000"/>
                </a:solidFill>
                <a:prstDash val="solid"/>
              </a:ln>
              <a:effectLst/>
            </p:spPr>
          </p:cxnSp>
        </p:grpSp>
        <p:grpSp>
          <p:nvGrpSpPr>
            <p:cNvPr id="85" name="Group 1172"/>
            <p:cNvGrpSpPr>
              <a:grpSpLocks/>
            </p:cNvGrpSpPr>
            <p:nvPr/>
          </p:nvGrpSpPr>
          <p:grpSpPr bwMode="auto">
            <a:xfrm>
              <a:off x="7464804" y="3140359"/>
              <a:ext cx="37465" cy="37465"/>
              <a:chOff x="8437682" y="4125433"/>
              <a:chExt cx="37465" cy="37465"/>
            </a:xfrm>
          </p:grpSpPr>
          <p:cxnSp>
            <p:nvCxnSpPr>
              <p:cNvPr id="449" name="Straight Connector 1173"/>
              <p:cNvCxnSpPr/>
              <p:nvPr/>
            </p:nvCxnSpPr>
            <p:spPr>
              <a:xfrm>
                <a:off x="8456247" y="4125849"/>
                <a:ext cx="0" cy="37560"/>
              </a:xfrm>
              <a:prstGeom prst="line">
                <a:avLst/>
              </a:prstGeom>
              <a:noFill/>
              <a:ln w="9525" cap="rnd" cmpd="sng" algn="ctr">
                <a:solidFill>
                  <a:sysClr val="windowText" lastClr="000000"/>
                </a:solidFill>
                <a:prstDash val="solid"/>
              </a:ln>
              <a:effectLst/>
            </p:spPr>
          </p:cxnSp>
          <p:cxnSp>
            <p:nvCxnSpPr>
              <p:cNvPr id="450" name="Straight Connector 1174"/>
              <p:cNvCxnSpPr/>
              <p:nvPr/>
            </p:nvCxnSpPr>
            <p:spPr>
              <a:xfrm rot="16200000">
                <a:off x="8456247" y="4126437"/>
                <a:ext cx="0" cy="37679"/>
              </a:xfrm>
              <a:prstGeom prst="line">
                <a:avLst/>
              </a:prstGeom>
              <a:noFill/>
              <a:ln w="9525" cap="rnd" cmpd="sng" algn="ctr">
                <a:solidFill>
                  <a:sysClr val="windowText" lastClr="000000"/>
                </a:solidFill>
                <a:prstDash val="solid"/>
              </a:ln>
              <a:effectLst/>
            </p:spPr>
          </p:cxnSp>
        </p:grpSp>
        <p:grpSp>
          <p:nvGrpSpPr>
            <p:cNvPr id="86" name="Group 1175"/>
            <p:cNvGrpSpPr>
              <a:grpSpLocks/>
            </p:cNvGrpSpPr>
            <p:nvPr/>
          </p:nvGrpSpPr>
          <p:grpSpPr bwMode="auto">
            <a:xfrm>
              <a:off x="7332407" y="3085099"/>
              <a:ext cx="37465" cy="37465"/>
              <a:chOff x="8437682" y="4125433"/>
              <a:chExt cx="37465" cy="37465"/>
            </a:xfrm>
          </p:grpSpPr>
          <p:cxnSp>
            <p:nvCxnSpPr>
              <p:cNvPr id="447" name="Straight Connector 1176"/>
              <p:cNvCxnSpPr/>
              <p:nvPr/>
            </p:nvCxnSpPr>
            <p:spPr>
              <a:xfrm>
                <a:off x="8456769" y="4125417"/>
                <a:ext cx="0" cy="37559"/>
              </a:xfrm>
              <a:prstGeom prst="line">
                <a:avLst/>
              </a:prstGeom>
              <a:noFill/>
              <a:ln w="9525" cap="rnd" cmpd="sng" algn="ctr">
                <a:solidFill>
                  <a:sysClr val="windowText" lastClr="000000"/>
                </a:solidFill>
                <a:prstDash val="solid"/>
              </a:ln>
              <a:effectLst/>
            </p:spPr>
          </p:cxnSp>
          <p:cxnSp>
            <p:nvCxnSpPr>
              <p:cNvPr id="448" name="Straight Connector 1177"/>
              <p:cNvCxnSpPr/>
              <p:nvPr/>
            </p:nvCxnSpPr>
            <p:spPr>
              <a:xfrm rot="16200000">
                <a:off x="8456769" y="4126005"/>
                <a:ext cx="0" cy="37679"/>
              </a:xfrm>
              <a:prstGeom prst="line">
                <a:avLst/>
              </a:prstGeom>
              <a:noFill/>
              <a:ln w="9525" cap="rnd" cmpd="sng" algn="ctr">
                <a:solidFill>
                  <a:sysClr val="windowText" lastClr="000000"/>
                </a:solidFill>
                <a:prstDash val="solid"/>
              </a:ln>
              <a:effectLst/>
            </p:spPr>
          </p:cxnSp>
        </p:grpSp>
        <p:grpSp>
          <p:nvGrpSpPr>
            <p:cNvPr id="87" name="Group 1178"/>
            <p:cNvGrpSpPr>
              <a:grpSpLocks/>
            </p:cNvGrpSpPr>
            <p:nvPr/>
          </p:nvGrpSpPr>
          <p:grpSpPr bwMode="auto">
            <a:xfrm>
              <a:off x="7369873" y="3115659"/>
              <a:ext cx="37465" cy="37465"/>
              <a:chOff x="8437682" y="4125433"/>
              <a:chExt cx="37465" cy="37465"/>
            </a:xfrm>
          </p:grpSpPr>
          <p:cxnSp>
            <p:nvCxnSpPr>
              <p:cNvPr id="445" name="Straight Connector 1179"/>
              <p:cNvCxnSpPr/>
              <p:nvPr/>
            </p:nvCxnSpPr>
            <p:spPr>
              <a:xfrm>
                <a:off x="8456981" y="4125941"/>
                <a:ext cx="0" cy="37559"/>
              </a:xfrm>
              <a:prstGeom prst="line">
                <a:avLst/>
              </a:prstGeom>
              <a:noFill/>
              <a:ln w="9525" cap="rnd" cmpd="sng" algn="ctr">
                <a:solidFill>
                  <a:sysClr val="windowText" lastClr="000000"/>
                </a:solidFill>
                <a:prstDash val="solid"/>
              </a:ln>
              <a:effectLst/>
            </p:spPr>
          </p:cxnSp>
          <p:cxnSp>
            <p:nvCxnSpPr>
              <p:cNvPr id="446" name="Straight Connector 1180"/>
              <p:cNvCxnSpPr/>
              <p:nvPr/>
            </p:nvCxnSpPr>
            <p:spPr>
              <a:xfrm rot="16200000">
                <a:off x="8456458" y="4127052"/>
                <a:ext cx="0" cy="36632"/>
              </a:xfrm>
              <a:prstGeom prst="line">
                <a:avLst/>
              </a:prstGeom>
              <a:noFill/>
              <a:ln w="9525" cap="rnd" cmpd="sng" algn="ctr">
                <a:solidFill>
                  <a:sysClr val="windowText" lastClr="000000"/>
                </a:solidFill>
                <a:prstDash val="solid"/>
              </a:ln>
              <a:effectLst/>
            </p:spPr>
          </p:cxnSp>
        </p:grpSp>
        <p:grpSp>
          <p:nvGrpSpPr>
            <p:cNvPr id="88" name="Group 1181"/>
            <p:cNvGrpSpPr>
              <a:grpSpLocks/>
            </p:cNvGrpSpPr>
            <p:nvPr/>
          </p:nvGrpSpPr>
          <p:grpSpPr bwMode="auto">
            <a:xfrm>
              <a:off x="7364698" y="3108752"/>
              <a:ext cx="37465" cy="37465"/>
              <a:chOff x="8437682" y="4125433"/>
              <a:chExt cx="37465" cy="37465"/>
            </a:xfrm>
          </p:grpSpPr>
          <p:cxnSp>
            <p:nvCxnSpPr>
              <p:cNvPr id="443" name="Straight Connector 1182"/>
              <p:cNvCxnSpPr/>
              <p:nvPr/>
            </p:nvCxnSpPr>
            <p:spPr>
              <a:xfrm>
                <a:off x="8456923" y="4125077"/>
                <a:ext cx="0" cy="37559"/>
              </a:xfrm>
              <a:prstGeom prst="line">
                <a:avLst/>
              </a:prstGeom>
              <a:noFill/>
              <a:ln w="9525" cap="rnd" cmpd="sng" algn="ctr">
                <a:solidFill>
                  <a:sysClr val="windowText" lastClr="000000"/>
                </a:solidFill>
                <a:prstDash val="solid"/>
              </a:ln>
              <a:effectLst/>
            </p:spPr>
          </p:cxnSp>
          <p:cxnSp>
            <p:nvCxnSpPr>
              <p:cNvPr id="444" name="Straight Connector 1183"/>
              <p:cNvCxnSpPr/>
              <p:nvPr/>
            </p:nvCxnSpPr>
            <p:spPr>
              <a:xfrm rot="16200000">
                <a:off x="8456400" y="4126188"/>
                <a:ext cx="0" cy="36632"/>
              </a:xfrm>
              <a:prstGeom prst="line">
                <a:avLst/>
              </a:prstGeom>
              <a:noFill/>
              <a:ln w="9525" cap="rnd" cmpd="sng" algn="ctr">
                <a:solidFill>
                  <a:sysClr val="windowText" lastClr="000000"/>
                </a:solidFill>
                <a:prstDash val="solid"/>
              </a:ln>
              <a:effectLst/>
            </p:spPr>
          </p:cxnSp>
        </p:grpSp>
        <p:grpSp>
          <p:nvGrpSpPr>
            <p:cNvPr id="89" name="Group 1184"/>
            <p:cNvGrpSpPr>
              <a:grpSpLocks/>
            </p:cNvGrpSpPr>
            <p:nvPr/>
          </p:nvGrpSpPr>
          <p:grpSpPr bwMode="auto">
            <a:xfrm>
              <a:off x="7235675" y="3205331"/>
              <a:ext cx="37465" cy="37465"/>
              <a:chOff x="8437682" y="4125433"/>
              <a:chExt cx="37465" cy="37465"/>
            </a:xfrm>
          </p:grpSpPr>
          <p:cxnSp>
            <p:nvCxnSpPr>
              <p:cNvPr id="441" name="Straight Connector 1185"/>
              <p:cNvCxnSpPr/>
              <p:nvPr/>
            </p:nvCxnSpPr>
            <p:spPr>
              <a:xfrm>
                <a:off x="8456165" y="4125635"/>
                <a:ext cx="0" cy="37560"/>
              </a:xfrm>
              <a:prstGeom prst="line">
                <a:avLst/>
              </a:prstGeom>
              <a:noFill/>
              <a:ln w="9525" cap="rnd" cmpd="sng" algn="ctr">
                <a:solidFill>
                  <a:sysClr val="windowText" lastClr="000000"/>
                </a:solidFill>
                <a:prstDash val="solid"/>
              </a:ln>
              <a:effectLst/>
            </p:spPr>
          </p:cxnSp>
          <p:cxnSp>
            <p:nvCxnSpPr>
              <p:cNvPr id="442" name="Straight Connector 1186"/>
              <p:cNvCxnSpPr/>
              <p:nvPr/>
            </p:nvCxnSpPr>
            <p:spPr>
              <a:xfrm rot="16200000">
                <a:off x="8456165" y="4126224"/>
                <a:ext cx="0" cy="37679"/>
              </a:xfrm>
              <a:prstGeom prst="line">
                <a:avLst/>
              </a:prstGeom>
              <a:noFill/>
              <a:ln w="9525" cap="rnd" cmpd="sng" algn="ctr">
                <a:solidFill>
                  <a:sysClr val="windowText" lastClr="000000"/>
                </a:solidFill>
                <a:prstDash val="solid"/>
              </a:ln>
              <a:effectLst/>
            </p:spPr>
          </p:cxnSp>
        </p:grpSp>
        <p:grpSp>
          <p:nvGrpSpPr>
            <p:cNvPr id="90" name="Group 1187"/>
            <p:cNvGrpSpPr>
              <a:grpSpLocks/>
            </p:cNvGrpSpPr>
            <p:nvPr/>
          </p:nvGrpSpPr>
          <p:grpSpPr bwMode="auto">
            <a:xfrm>
              <a:off x="7249645" y="3205331"/>
              <a:ext cx="37465" cy="37465"/>
              <a:chOff x="8437682" y="4125433"/>
              <a:chExt cx="37465" cy="37465"/>
            </a:xfrm>
          </p:grpSpPr>
          <p:cxnSp>
            <p:nvCxnSpPr>
              <p:cNvPr id="439" name="Straight Connector 1188"/>
              <p:cNvCxnSpPr/>
              <p:nvPr/>
            </p:nvCxnSpPr>
            <p:spPr>
              <a:xfrm>
                <a:off x="8456847" y="4125635"/>
                <a:ext cx="0" cy="37560"/>
              </a:xfrm>
              <a:prstGeom prst="line">
                <a:avLst/>
              </a:prstGeom>
              <a:noFill/>
              <a:ln w="9525" cap="rnd" cmpd="sng" algn="ctr">
                <a:solidFill>
                  <a:sysClr val="windowText" lastClr="000000"/>
                </a:solidFill>
                <a:prstDash val="solid"/>
              </a:ln>
              <a:effectLst/>
            </p:spPr>
          </p:cxnSp>
          <p:cxnSp>
            <p:nvCxnSpPr>
              <p:cNvPr id="440" name="Straight Connector 1189"/>
              <p:cNvCxnSpPr/>
              <p:nvPr/>
            </p:nvCxnSpPr>
            <p:spPr>
              <a:xfrm rot="16200000">
                <a:off x="8456324" y="4126746"/>
                <a:ext cx="0" cy="36632"/>
              </a:xfrm>
              <a:prstGeom prst="line">
                <a:avLst/>
              </a:prstGeom>
              <a:noFill/>
              <a:ln w="9525" cap="rnd" cmpd="sng" algn="ctr">
                <a:solidFill>
                  <a:sysClr val="windowText" lastClr="000000"/>
                </a:solidFill>
                <a:prstDash val="solid"/>
              </a:ln>
              <a:effectLst/>
            </p:spPr>
          </p:cxnSp>
        </p:grpSp>
        <p:grpSp>
          <p:nvGrpSpPr>
            <p:cNvPr id="91" name="Group 1190"/>
            <p:cNvGrpSpPr>
              <a:grpSpLocks/>
            </p:cNvGrpSpPr>
            <p:nvPr/>
          </p:nvGrpSpPr>
          <p:grpSpPr bwMode="auto">
            <a:xfrm>
              <a:off x="7329158" y="3263235"/>
              <a:ext cx="37465" cy="37465"/>
              <a:chOff x="8437682" y="4125433"/>
              <a:chExt cx="37465" cy="37465"/>
            </a:xfrm>
          </p:grpSpPr>
          <p:cxnSp>
            <p:nvCxnSpPr>
              <p:cNvPr id="437" name="Straight Connector 1191"/>
              <p:cNvCxnSpPr/>
              <p:nvPr/>
            </p:nvCxnSpPr>
            <p:spPr>
              <a:xfrm>
                <a:off x="8456878" y="4126014"/>
                <a:ext cx="0" cy="36264"/>
              </a:xfrm>
              <a:prstGeom prst="line">
                <a:avLst/>
              </a:prstGeom>
              <a:noFill/>
              <a:ln w="9525" cap="rnd" cmpd="sng" algn="ctr">
                <a:solidFill>
                  <a:sysClr val="windowText" lastClr="000000"/>
                </a:solidFill>
                <a:prstDash val="solid"/>
              </a:ln>
              <a:effectLst/>
            </p:spPr>
          </p:cxnSp>
          <p:cxnSp>
            <p:nvCxnSpPr>
              <p:cNvPr id="438" name="Straight Connector 1192"/>
              <p:cNvCxnSpPr/>
              <p:nvPr/>
            </p:nvCxnSpPr>
            <p:spPr>
              <a:xfrm rot="16200000">
                <a:off x="8456355" y="4125829"/>
                <a:ext cx="0" cy="36632"/>
              </a:xfrm>
              <a:prstGeom prst="line">
                <a:avLst/>
              </a:prstGeom>
              <a:noFill/>
              <a:ln w="9525" cap="rnd" cmpd="sng" algn="ctr">
                <a:solidFill>
                  <a:sysClr val="windowText" lastClr="000000"/>
                </a:solidFill>
                <a:prstDash val="solid"/>
              </a:ln>
              <a:effectLst/>
            </p:spPr>
          </p:cxnSp>
        </p:grpSp>
        <p:grpSp>
          <p:nvGrpSpPr>
            <p:cNvPr id="92" name="Group 1193"/>
            <p:cNvGrpSpPr>
              <a:grpSpLocks/>
            </p:cNvGrpSpPr>
            <p:nvPr/>
          </p:nvGrpSpPr>
          <p:grpSpPr bwMode="auto">
            <a:xfrm>
              <a:off x="7483537" y="3367904"/>
              <a:ext cx="37465" cy="37465"/>
              <a:chOff x="8437682" y="4125433"/>
              <a:chExt cx="37465" cy="37465"/>
            </a:xfrm>
          </p:grpSpPr>
          <p:cxnSp>
            <p:nvCxnSpPr>
              <p:cNvPr id="435" name="Straight Connector 1194"/>
              <p:cNvCxnSpPr/>
              <p:nvPr/>
            </p:nvCxnSpPr>
            <p:spPr>
              <a:xfrm>
                <a:off x="8456353" y="4124957"/>
                <a:ext cx="0" cy="37559"/>
              </a:xfrm>
              <a:prstGeom prst="line">
                <a:avLst/>
              </a:prstGeom>
              <a:noFill/>
              <a:ln w="9525" cap="rnd" cmpd="sng" algn="ctr">
                <a:solidFill>
                  <a:sysClr val="windowText" lastClr="000000"/>
                </a:solidFill>
                <a:prstDash val="solid"/>
              </a:ln>
              <a:effectLst/>
            </p:spPr>
          </p:cxnSp>
          <p:cxnSp>
            <p:nvCxnSpPr>
              <p:cNvPr id="436" name="Straight Connector 1195"/>
              <p:cNvCxnSpPr/>
              <p:nvPr/>
            </p:nvCxnSpPr>
            <p:spPr>
              <a:xfrm rot="16200000">
                <a:off x="8456353" y="4125545"/>
                <a:ext cx="0" cy="37679"/>
              </a:xfrm>
              <a:prstGeom prst="line">
                <a:avLst/>
              </a:prstGeom>
              <a:noFill/>
              <a:ln w="9525" cap="rnd" cmpd="sng" algn="ctr">
                <a:solidFill>
                  <a:sysClr val="windowText" lastClr="000000"/>
                </a:solidFill>
                <a:prstDash val="solid"/>
              </a:ln>
              <a:effectLst/>
            </p:spPr>
          </p:cxnSp>
        </p:grpSp>
        <p:grpSp>
          <p:nvGrpSpPr>
            <p:cNvPr id="93" name="Group 1196"/>
            <p:cNvGrpSpPr>
              <a:grpSpLocks/>
            </p:cNvGrpSpPr>
            <p:nvPr/>
          </p:nvGrpSpPr>
          <p:grpSpPr bwMode="auto">
            <a:xfrm>
              <a:off x="7369873" y="3275182"/>
              <a:ext cx="37465" cy="37465"/>
              <a:chOff x="8437682" y="4125433"/>
              <a:chExt cx="37465" cy="37465"/>
            </a:xfrm>
          </p:grpSpPr>
          <p:cxnSp>
            <p:nvCxnSpPr>
              <p:cNvPr id="433" name="Straight Connector 1197"/>
              <p:cNvCxnSpPr/>
              <p:nvPr/>
            </p:nvCxnSpPr>
            <p:spPr>
              <a:xfrm>
                <a:off x="8456981" y="4125723"/>
                <a:ext cx="0" cy="37560"/>
              </a:xfrm>
              <a:prstGeom prst="line">
                <a:avLst/>
              </a:prstGeom>
              <a:noFill/>
              <a:ln w="9525" cap="rnd" cmpd="sng" algn="ctr">
                <a:solidFill>
                  <a:sysClr val="windowText" lastClr="000000"/>
                </a:solidFill>
                <a:prstDash val="solid"/>
              </a:ln>
              <a:effectLst/>
            </p:spPr>
          </p:cxnSp>
          <p:cxnSp>
            <p:nvCxnSpPr>
              <p:cNvPr id="434" name="Straight Connector 1198"/>
              <p:cNvCxnSpPr/>
              <p:nvPr/>
            </p:nvCxnSpPr>
            <p:spPr>
              <a:xfrm rot="16200000">
                <a:off x="8456458" y="4126834"/>
                <a:ext cx="0" cy="36632"/>
              </a:xfrm>
              <a:prstGeom prst="line">
                <a:avLst/>
              </a:prstGeom>
              <a:noFill/>
              <a:ln w="9525" cap="rnd" cmpd="sng" algn="ctr">
                <a:solidFill>
                  <a:sysClr val="windowText" lastClr="000000"/>
                </a:solidFill>
                <a:prstDash val="solid"/>
              </a:ln>
              <a:effectLst/>
            </p:spPr>
          </p:cxnSp>
        </p:grpSp>
        <p:grpSp>
          <p:nvGrpSpPr>
            <p:cNvPr id="94" name="Group 1199"/>
            <p:cNvGrpSpPr>
              <a:grpSpLocks/>
            </p:cNvGrpSpPr>
            <p:nvPr/>
          </p:nvGrpSpPr>
          <p:grpSpPr bwMode="auto">
            <a:xfrm>
              <a:off x="7548642" y="3377759"/>
              <a:ext cx="37465" cy="37465"/>
              <a:chOff x="8437682" y="4125433"/>
              <a:chExt cx="37465" cy="37465"/>
            </a:xfrm>
          </p:grpSpPr>
          <p:cxnSp>
            <p:nvCxnSpPr>
              <p:cNvPr id="431" name="Straight Connector 1200"/>
              <p:cNvCxnSpPr/>
              <p:nvPr/>
            </p:nvCxnSpPr>
            <p:spPr>
              <a:xfrm>
                <a:off x="8456139" y="4125464"/>
                <a:ext cx="0" cy="37559"/>
              </a:xfrm>
              <a:prstGeom prst="line">
                <a:avLst/>
              </a:prstGeom>
              <a:noFill/>
              <a:ln w="9525" cap="rnd" cmpd="sng" algn="ctr">
                <a:solidFill>
                  <a:sysClr val="windowText" lastClr="000000"/>
                </a:solidFill>
                <a:prstDash val="solid"/>
              </a:ln>
              <a:effectLst/>
            </p:spPr>
          </p:cxnSp>
          <p:cxnSp>
            <p:nvCxnSpPr>
              <p:cNvPr id="432" name="Straight Connector 1201"/>
              <p:cNvCxnSpPr/>
              <p:nvPr/>
            </p:nvCxnSpPr>
            <p:spPr>
              <a:xfrm rot="16200000">
                <a:off x="8456139" y="4126051"/>
                <a:ext cx="0" cy="37679"/>
              </a:xfrm>
              <a:prstGeom prst="line">
                <a:avLst/>
              </a:prstGeom>
              <a:noFill/>
              <a:ln w="9525" cap="rnd" cmpd="sng" algn="ctr">
                <a:solidFill>
                  <a:sysClr val="windowText" lastClr="000000"/>
                </a:solidFill>
                <a:prstDash val="solid"/>
              </a:ln>
              <a:effectLst/>
            </p:spPr>
          </p:cxnSp>
        </p:grpSp>
        <p:grpSp>
          <p:nvGrpSpPr>
            <p:cNvPr id="95" name="Group 1202"/>
            <p:cNvGrpSpPr>
              <a:grpSpLocks/>
            </p:cNvGrpSpPr>
            <p:nvPr/>
          </p:nvGrpSpPr>
          <p:grpSpPr bwMode="auto">
            <a:xfrm>
              <a:off x="7562375" y="3411161"/>
              <a:ext cx="37465" cy="37465"/>
              <a:chOff x="8437682" y="4125433"/>
              <a:chExt cx="37465" cy="37465"/>
            </a:xfrm>
          </p:grpSpPr>
          <p:cxnSp>
            <p:nvCxnSpPr>
              <p:cNvPr id="429" name="Straight Connector 1203"/>
              <p:cNvCxnSpPr/>
              <p:nvPr/>
            </p:nvCxnSpPr>
            <p:spPr>
              <a:xfrm>
                <a:off x="8456012" y="4125736"/>
                <a:ext cx="0" cy="37559"/>
              </a:xfrm>
              <a:prstGeom prst="line">
                <a:avLst/>
              </a:prstGeom>
              <a:noFill/>
              <a:ln w="9525" cap="rnd" cmpd="sng" algn="ctr">
                <a:solidFill>
                  <a:sysClr val="windowText" lastClr="000000"/>
                </a:solidFill>
                <a:prstDash val="solid"/>
              </a:ln>
              <a:effectLst/>
            </p:spPr>
          </p:cxnSp>
          <p:cxnSp>
            <p:nvCxnSpPr>
              <p:cNvPr id="430" name="Straight Connector 1204"/>
              <p:cNvCxnSpPr/>
              <p:nvPr/>
            </p:nvCxnSpPr>
            <p:spPr>
              <a:xfrm rot="16200000">
                <a:off x="8456012" y="4126323"/>
                <a:ext cx="0" cy="37679"/>
              </a:xfrm>
              <a:prstGeom prst="line">
                <a:avLst/>
              </a:prstGeom>
              <a:noFill/>
              <a:ln w="9525" cap="rnd" cmpd="sng" algn="ctr">
                <a:solidFill>
                  <a:sysClr val="windowText" lastClr="000000"/>
                </a:solidFill>
                <a:prstDash val="solid"/>
              </a:ln>
              <a:effectLst/>
            </p:spPr>
          </p:cxnSp>
        </p:grpSp>
        <p:grpSp>
          <p:nvGrpSpPr>
            <p:cNvPr id="96" name="Group 1205"/>
            <p:cNvGrpSpPr>
              <a:grpSpLocks/>
            </p:cNvGrpSpPr>
            <p:nvPr/>
          </p:nvGrpSpPr>
          <p:grpSpPr bwMode="auto">
            <a:xfrm>
              <a:off x="8765698" y="3853208"/>
              <a:ext cx="37465" cy="37465"/>
              <a:chOff x="8437682" y="4125433"/>
              <a:chExt cx="37465" cy="37465"/>
            </a:xfrm>
          </p:grpSpPr>
          <p:cxnSp>
            <p:nvCxnSpPr>
              <p:cNvPr id="427" name="Straight Connector 1206"/>
              <p:cNvCxnSpPr/>
              <p:nvPr/>
            </p:nvCxnSpPr>
            <p:spPr>
              <a:xfrm>
                <a:off x="8456308" y="4125338"/>
                <a:ext cx="0" cy="37560"/>
              </a:xfrm>
              <a:prstGeom prst="line">
                <a:avLst/>
              </a:prstGeom>
              <a:noFill/>
              <a:ln w="9525" cap="rnd" cmpd="sng" algn="ctr">
                <a:solidFill>
                  <a:sysClr val="windowText" lastClr="000000"/>
                </a:solidFill>
                <a:prstDash val="solid"/>
              </a:ln>
              <a:effectLst/>
            </p:spPr>
          </p:cxnSp>
          <p:cxnSp>
            <p:nvCxnSpPr>
              <p:cNvPr id="428" name="Straight Connector 1207"/>
              <p:cNvCxnSpPr/>
              <p:nvPr/>
            </p:nvCxnSpPr>
            <p:spPr>
              <a:xfrm rot="16200000">
                <a:off x="8456308" y="4125927"/>
                <a:ext cx="0" cy="37679"/>
              </a:xfrm>
              <a:prstGeom prst="line">
                <a:avLst/>
              </a:prstGeom>
              <a:noFill/>
              <a:ln w="9525" cap="rnd" cmpd="sng" algn="ctr">
                <a:solidFill>
                  <a:sysClr val="windowText" lastClr="000000"/>
                </a:solidFill>
                <a:prstDash val="solid"/>
              </a:ln>
              <a:effectLst/>
            </p:spPr>
          </p:cxnSp>
        </p:grpSp>
        <p:grpSp>
          <p:nvGrpSpPr>
            <p:cNvPr id="97" name="Group 1208"/>
            <p:cNvGrpSpPr>
              <a:grpSpLocks/>
            </p:cNvGrpSpPr>
            <p:nvPr/>
          </p:nvGrpSpPr>
          <p:grpSpPr bwMode="auto">
            <a:xfrm>
              <a:off x="8624346" y="3853208"/>
              <a:ext cx="37465" cy="37465"/>
              <a:chOff x="8437682" y="4125433"/>
              <a:chExt cx="37465" cy="37465"/>
            </a:xfrm>
          </p:grpSpPr>
          <p:cxnSp>
            <p:nvCxnSpPr>
              <p:cNvPr id="425" name="Straight Connector 1209"/>
              <p:cNvCxnSpPr/>
              <p:nvPr/>
            </p:nvCxnSpPr>
            <p:spPr>
              <a:xfrm>
                <a:off x="8456366" y="4125338"/>
                <a:ext cx="0" cy="37560"/>
              </a:xfrm>
              <a:prstGeom prst="line">
                <a:avLst/>
              </a:prstGeom>
              <a:noFill/>
              <a:ln w="9525" cap="rnd" cmpd="sng" algn="ctr">
                <a:solidFill>
                  <a:sysClr val="windowText" lastClr="000000"/>
                </a:solidFill>
                <a:prstDash val="solid"/>
              </a:ln>
              <a:effectLst/>
            </p:spPr>
          </p:cxnSp>
          <p:cxnSp>
            <p:nvCxnSpPr>
              <p:cNvPr id="426" name="Straight Connector 1210"/>
              <p:cNvCxnSpPr/>
              <p:nvPr/>
            </p:nvCxnSpPr>
            <p:spPr>
              <a:xfrm rot="16200000">
                <a:off x="8456366" y="4125927"/>
                <a:ext cx="0" cy="37679"/>
              </a:xfrm>
              <a:prstGeom prst="line">
                <a:avLst/>
              </a:prstGeom>
              <a:noFill/>
              <a:ln w="9525" cap="rnd" cmpd="sng" algn="ctr">
                <a:solidFill>
                  <a:sysClr val="windowText" lastClr="000000"/>
                </a:solidFill>
                <a:prstDash val="solid"/>
              </a:ln>
              <a:effectLst/>
            </p:spPr>
          </p:cxnSp>
        </p:grpSp>
        <p:grpSp>
          <p:nvGrpSpPr>
            <p:cNvPr id="98" name="Group 1211"/>
            <p:cNvGrpSpPr>
              <a:grpSpLocks/>
            </p:cNvGrpSpPr>
            <p:nvPr/>
          </p:nvGrpSpPr>
          <p:grpSpPr bwMode="auto">
            <a:xfrm>
              <a:off x="8562813" y="3853208"/>
              <a:ext cx="37465" cy="37465"/>
              <a:chOff x="8437682" y="4125433"/>
              <a:chExt cx="37465" cy="37465"/>
            </a:xfrm>
          </p:grpSpPr>
          <p:cxnSp>
            <p:nvCxnSpPr>
              <p:cNvPr id="423" name="Straight Connector 1212"/>
              <p:cNvCxnSpPr/>
              <p:nvPr/>
            </p:nvCxnSpPr>
            <p:spPr>
              <a:xfrm>
                <a:off x="8456147" y="4125338"/>
                <a:ext cx="0" cy="37560"/>
              </a:xfrm>
              <a:prstGeom prst="line">
                <a:avLst/>
              </a:prstGeom>
              <a:noFill/>
              <a:ln w="9525" cap="rnd" cmpd="sng" algn="ctr">
                <a:solidFill>
                  <a:sysClr val="windowText" lastClr="000000"/>
                </a:solidFill>
                <a:prstDash val="solid"/>
              </a:ln>
              <a:effectLst/>
            </p:spPr>
          </p:cxnSp>
          <p:cxnSp>
            <p:nvCxnSpPr>
              <p:cNvPr id="424" name="Straight Connector 1213"/>
              <p:cNvCxnSpPr/>
              <p:nvPr/>
            </p:nvCxnSpPr>
            <p:spPr>
              <a:xfrm rot="16200000">
                <a:off x="8456147" y="4125927"/>
                <a:ext cx="0" cy="37679"/>
              </a:xfrm>
              <a:prstGeom prst="line">
                <a:avLst/>
              </a:prstGeom>
              <a:noFill/>
              <a:ln w="9525" cap="rnd" cmpd="sng" algn="ctr">
                <a:solidFill>
                  <a:sysClr val="windowText" lastClr="000000"/>
                </a:solidFill>
                <a:prstDash val="solid"/>
              </a:ln>
              <a:effectLst/>
            </p:spPr>
          </p:cxnSp>
        </p:grpSp>
        <p:grpSp>
          <p:nvGrpSpPr>
            <p:cNvPr id="99" name="Group 1214"/>
            <p:cNvGrpSpPr>
              <a:grpSpLocks/>
            </p:cNvGrpSpPr>
            <p:nvPr/>
          </p:nvGrpSpPr>
          <p:grpSpPr bwMode="auto">
            <a:xfrm>
              <a:off x="8525348" y="3853208"/>
              <a:ext cx="37465" cy="37465"/>
              <a:chOff x="8437682" y="4125433"/>
              <a:chExt cx="37465" cy="37465"/>
            </a:xfrm>
          </p:grpSpPr>
          <p:cxnSp>
            <p:nvCxnSpPr>
              <p:cNvPr id="421" name="Straight Connector 1215"/>
              <p:cNvCxnSpPr/>
              <p:nvPr/>
            </p:nvCxnSpPr>
            <p:spPr>
              <a:xfrm>
                <a:off x="8456981" y="4125338"/>
                <a:ext cx="0" cy="37560"/>
              </a:xfrm>
              <a:prstGeom prst="line">
                <a:avLst/>
              </a:prstGeom>
              <a:noFill/>
              <a:ln w="9525" cap="rnd" cmpd="sng" algn="ctr">
                <a:solidFill>
                  <a:sysClr val="windowText" lastClr="000000"/>
                </a:solidFill>
                <a:prstDash val="solid"/>
              </a:ln>
              <a:effectLst/>
            </p:spPr>
          </p:cxnSp>
          <p:cxnSp>
            <p:nvCxnSpPr>
              <p:cNvPr id="422" name="Straight Connector 1216"/>
              <p:cNvCxnSpPr/>
              <p:nvPr/>
            </p:nvCxnSpPr>
            <p:spPr>
              <a:xfrm rot="16200000">
                <a:off x="8456457" y="4126450"/>
                <a:ext cx="0" cy="36632"/>
              </a:xfrm>
              <a:prstGeom prst="line">
                <a:avLst/>
              </a:prstGeom>
              <a:noFill/>
              <a:ln w="9525" cap="rnd" cmpd="sng" algn="ctr">
                <a:solidFill>
                  <a:sysClr val="windowText" lastClr="000000"/>
                </a:solidFill>
                <a:prstDash val="solid"/>
              </a:ln>
              <a:effectLst/>
            </p:spPr>
          </p:cxnSp>
        </p:grpSp>
        <p:grpSp>
          <p:nvGrpSpPr>
            <p:cNvPr id="100" name="Group 1217"/>
            <p:cNvGrpSpPr>
              <a:grpSpLocks/>
            </p:cNvGrpSpPr>
            <p:nvPr/>
          </p:nvGrpSpPr>
          <p:grpSpPr bwMode="auto">
            <a:xfrm>
              <a:off x="8446014" y="3853208"/>
              <a:ext cx="37465" cy="37465"/>
              <a:chOff x="8437682" y="4125433"/>
              <a:chExt cx="37465" cy="37465"/>
            </a:xfrm>
          </p:grpSpPr>
          <p:cxnSp>
            <p:nvCxnSpPr>
              <p:cNvPr id="419" name="Straight Connector 1218"/>
              <p:cNvCxnSpPr/>
              <p:nvPr/>
            </p:nvCxnSpPr>
            <p:spPr>
              <a:xfrm>
                <a:off x="8456771" y="4125338"/>
                <a:ext cx="0" cy="37560"/>
              </a:xfrm>
              <a:prstGeom prst="line">
                <a:avLst/>
              </a:prstGeom>
              <a:noFill/>
              <a:ln w="9525" cap="rnd" cmpd="sng" algn="ctr">
                <a:solidFill>
                  <a:sysClr val="windowText" lastClr="000000"/>
                </a:solidFill>
                <a:prstDash val="solid"/>
              </a:ln>
              <a:effectLst/>
            </p:spPr>
          </p:cxnSp>
          <p:cxnSp>
            <p:nvCxnSpPr>
              <p:cNvPr id="420" name="Straight Connector 1219"/>
              <p:cNvCxnSpPr/>
              <p:nvPr/>
            </p:nvCxnSpPr>
            <p:spPr>
              <a:xfrm rot="16200000">
                <a:off x="8456771" y="4125927"/>
                <a:ext cx="0" cy="37679"/>
              </a:xfrm>
              <a:prstGeom prst="line">
                <a:avLst/>
              </a:prstGeom>
              <a:noFill/>
              <a:ln w="9525" cap="rnd" cmpd="sng" algn="ctr">
                <a:solidFill>
                  <a:sysClr val="windowText" lastClr="000000"/>
                </a:solidFill>
                <a:prstDash val="solid"/>
              </a:ln>
              <a:effectLst/>
            </p:spPr>
          </p:cxnSp>
        </p:grpSp>
        <p:grpSp>
          <p:nvGrpSpPr>
            <p:cNvPr id="101" name="Group 1220"/>
            <p:cNvGrpSpPr>
              <a:grpSpLocks/>
            </p:cNvGrpSpPr>
            <p:nvPr/>
          </p:nvGrpSpPr>
          <p:grpSpPr bwMode="auto">
            <a:xfrm>
              <a:off x="8424304" y="3853208"/>
              <a:ext cx="37465" cy="37465"/>
              <a:chOff x="8437682" y="4125433"/>
              <a:chExt cx="37465" cy="37465"/>
            </a:xfrm>
          </p:grpSpPr>
          <p:cxnSp>
            <p:nvCxnSpPr>
              <p:cNvPr id="417" name="Straight Connector 1221"/>
              <p:cNvCxnSpPr/>
              <p:nvPr/>
            </p:nvCxnSpPr>
            <p:spPr>
              <a:xfrm>
                <a:off x="8456502" y="4125338"/>
                <a:ext cx="0" cy="37560"/>
              </a:xfrm>
              <a:prstGeom prst="line">
                <a:avLst/>
              </a:prstGeom>
              <a:noFill/>
              <a:ln w="9525" cap="rnd" cmpd="sng" algn="ctr">
                <a:solidFill>
                  <a:sysClr val="windowText" lastClr="000000"/>
                </a:solidFill>
                <a:prstDash val="solid"/>
              </a:ln>
              <a:effectLst/>
            </p:spPr>
          </p:cxnSp>
          <p:cxnSp>
            <p:nvCxnSpPr>
              <p:cNvPr id="418" name="Straight Connector 1222"/>
              <p:cNvCxnSpPr/>
              <p:nvPr/>
            </p:nvCxnSpPr>
            <p:spPr>
              <a:xfrm rot="16200000">
                <a:off x="8456502" y="4125927"/>
                <a:ext cx="0" cy="37679"/>
              </a:xfrm>
              <a:prstGeom prst="line">
                <a:avLst/>
              </a:prstGeom>
              <a:noFill/>
              <a:ln w="9525" cap="rnd" cmpd="sng" algn="ctr">
                <a:solidFill>
                  <a:sysClr val="windowText" lastClr="000000"/>
                </a:solidFill>
                <a:prstDash val="solid"/>
              </a:ln>
              <a:effectLst/>
            </p:spPr>
          </p:cxnSp>
        </p:grpSp>
        <p:grpSp>
          <p:nvGrpSpPr>
            <p:cNvPr id="102" name="Group 1223"/>
            <p:cNvGrpSpPr>
              <a:grpSpLocks/>
            </p:cNvGrpSpPr>
            <p:nvPr/>
          </p:nvGrpSpPr>
          <p:grpSpPr bwMode="auto">
            <a:xfrm>
              <a:off x="7586108" y="3425699"/>
              <a:ext cx="37465" cy="37465"/>
              <a:chOff x="8437682" y="4125433"/>
              <a:chExt cx="37465" cy="37465"/>
            </a:xfrm>
          </p:grpSpPr>
          <p:cxnSp>
            <p:nvCxnSpPr>
              <p:cNvPr id="415" name="Straight Connector 1224"/>
              <p:cNvCxnSpPr/>
              <p:nvPr/>
            </p:nvCxnSpPr>
            <p:spPr>
              <a:xfrm>
                <a:off x="8456351" y="4125444"/>
                <a:ext cx="0" cy="37560"/>
              </a:xfrm>
              <a:prstGeom prst="line">
                <a:avLst/>
              </a:prstGeom>
              <a:noFill/>
              <a:ln w="9525" cap="rnd" cmpd="sng" algn="ctr">
                <a:solidFill>
                  <a:sysClr val="windowText" lastClr="000000"/>
                </a:solidFill>
                <a:prstDash val="solid"/>
              </a:ln>
              <a:effectLst/>
            </p:spPr>
          </p:cxnSp>
          <p:cxnSp>
            <p:nvCxnSpPr>
              <p:cNvPr id="416" name="Straight Connector 1225"/>
              <p:cNvCxnSpPr/>
              <p:nvPr/>
            </p:nvCxnSpPr>
            <p:spPr>
              <a:xfrm rot="16200000">
                <a:off x="8456351" y="4126033"/>
                <a:ext cx="0" cy="37679"/>
              </a:xfrm>
              <a:prstGeom prst="line">
                <a:avLst/>
              </a:prstGeom>
              <a:noFill/>
              <a:ln w="9525" cap="rnd" cmpd="sng" algn="ctr">
                <a:solidFill>
                  <a:sysClr val="windowText" lastClr="000000"/>
                </a:solidFill>
                <a:prstDash val="solid"/>
              </a:ln>
              <a:effectLst/>
            </p:spPr>
          </p:cxnSp>
        </p:grpSp>
        <p:grpSp>
          <p:nvGrpSpPr>
            <p:cNvPr id="103" name="Group 1226"/>
            <p:cNvGrpSpPr>
              <a:grpSpLocks/>
            </p:cNvGrpSpPr>
            <p:nvPr/>
          </p:nvGrpSpPr>
          <p:grpSpPr bwMode="auto">
            <a:xfrm>
              <a:off x="7600317" y="3423570"/>
              <a:ext cx="37465" cy="37465"/>
              <a:chOff x="8437682" y="4125433"/>
              <a:chExt cx="37465" cy="37465"/>
            </a:xfrm>
          </p:grpSpPr>
          <p:cxnSp>
            <p:nvCxnSpPr>
              <p:cNvPr id="413" name="Straight Connector 1227"/>
              <p:cNvCxnSpPr/>
              <p:nvPr/>
            </p:nvCxnSpPr>
            <p:spPr>
              <a:xfrm>
                <a:off x="8456795" y="4124983"/>
                <a:ext cx="0" cy="37560"/>
              </a:xfrm>
              <a:prstGeom prst="line">
                <a:avLst/>
              </a:prstGeom>
              <a:noFill/>
              <a:ln w="9525" cap="rnd" cmpd="sng" algn="ctr">
                <a:solidFill>
                  <a:sysClr val="windowText" lastClr="000000"/>
                </a:solidFill>
                <a:prstDash val="solid"/>
              </a:ln>
              <a:effectLst/>
            </p:spPr>
          </p:cxnSp>
          <p:cxnSp>
            <p:nvCxnSpPr>
              <p:cNvPr id="414" name="Straight Connector 1228"/>
              <p:cNvCxnSpPr/>
              <p:nvPr/>
            </p:nvCxnSpPr>
            <p:spPr>
              <a:xfrm rot="16200000">
                <a:off x="8456795" y="4125571"/>
                <a:ext cx="0" cy="37679"/>
              </a:xfrm>
              <a:prstGeom prst="line">
                <a:avLst/>
              </a:prstGeom>
              <a:noFill/>
              <a:ln w="9525" cap="rnd" cmpd="sng" algn="ctr">
                <a:solidFill>
                  <a:sysClr val="windowText" lastClr="000000"/>
                </a:solidFill>
                <a:prstDash val="solid"/>
              </a:ln>
              <a:effectLst/>
            </p:spPr>
          </p:cxnSp>
        </p:grpSp>
        <p:grpSp>
          <p:nvGrpSpPr>
            <p:cNvPr id="104" name="Group 1229"/>
            <p:cNvGrpSpPr>
              <a:grpSpLocks/>
            </p:cNvGrpSpPr>
            <p:nvPr/>
          </p:nvGrpSpPr>
          <p:grpSpPr bwMode="auto">
            <a:xfrm>
              <a:off x="7628812" y="3421441"/>
              <a:ext cx="37465" cy="37465"/>
              <a:chOff x="8437682" y="4125433"/>
              <a:chExt cx="37465" cy="37465"/>
            </a:xfrm>
          </p:grpSpPr>
          <p:cxnSp>
            <p:nvCxnSpPr>
              <p:cNvPr id="411" name="Straight Connector 1230"/>
              <p:cNvCxnSpPr/>
              <p:nvPr/>
            </p:nvCxnSpPr>
            <p:spPr>
              <a:xfrm>
                <a:off x="8456559" y="4125817"/>
                <a:ext cx="0" cy="37559"/>
              </a:xfrm>
              <a:prstGeom prst="line">
                <a:avLst/>
              </a:prstGeom>
              <a:noFill/>
              <a:ln w="9525" cap="rnd" cmpd="sng" algn="ctr">
                <a:solidFill>
                  <a:sysClr val="windowText" lastClr="000000"/>
                </a:solidFill>
                <a:prstDash val="solid"/>
              </a:ln>
              <a:effectLst/>
            </p:spPr>
          </p:cxnSp>
          <p:cxnSp>
            <p:nvCxnSpPr>
              <p:cNvPr id="412" name="Straight Connector 1231"/>
              <p:cNvCxnSpPr/>
              <p:nvPr/>
            </p:nvCxnSpPr>
            <p:spPr>
              <a:xfrm rot="16200000">
                <a:off x="8456559" y="4126405"/>
                <a:ext cx="0" cy="37679"/>
              </a:xfrm>
              <a:prstGeom prst="line">
                <a:avLst/>
              </a:prstGeom>
              <a:noFill/>
              <a:ln w="9525" cap="rnd" cmpd="sng" algn="ctr">
                <a:solidFill>
                  <a:sysClr val="windowText" lastClr="000000"/>
                </a:solidFill>
                <a:prstDash val="solid"/>
              </a:ln>
              <a:effectLst/>
            </p:spPr>
          </p:cxnSp>
        </p:grpSp>
        <p:grpSp>
          <p:nvGrpSpPr>
            <p:cNvPr id="105" name="Group 1232"/>
            <p:cNvGrpSpPr>
              <a:grpSpLocks/>
            </p:cNvGrpSpPr>
            <p:nvPr/>
          </p:nvGrpSpPr>
          <p:grpSpPr bwMode="auto">
            <a:xfrm>
              <a:off x="7635878" y="3455027"/>
              <a:ext cx="37465" cy="37465"/>
              <a:chOff x="8437682" y="4125433"/>
              <a:chExt cx="37465" cy="37465"/>
            </a:xfrm>
          </p:grpSpPr>
          <p:cxnSp>
            <p:nvCxnSpPr>
              <p:cNvPr id="409" name="Straight Connector 1233"/>
              <p:cNvCxnSpPr/>
              <p:nvPr/>
            </p:nvCxnSpPr>
            <p:spPr>
              <a:xfrm>
                <a:off x="8456819" y="4125905"/>
                <a:ext cx="0" cy="37559"/>
              </a:xfrm>
              <a:prstGeom prst="line">
                <a:avLst/>
              </a:prstGeom>
              <a:noFill/>
              <a:ln w="9525" cap="rnd" cmpd="sng" algn="ctr">
                <a:solidFill>
                  <a:sysClr val="windowText" lastClr="000000"/>
                </a:solidFill>
                <a:prstDash val="solid"/>
              </a:ln>
              <a:effectLst/>
            </p:spPr>
          </p:cxnSp>
          <p:cxnSp>
            <p:nvCxnSpPr>
              <p:cNvPr id="410" name="Straight Connector 1234"/>
              <p:cNvCxnSpPr/>
              <p:nvPr/>
            </p:nvCxnSpPr>
            <p:spPr>
              <a:xfrm rot="16200000">
                <a:off x="8456819" y="4126493"/>
                <a:ext cx="0" cy="37679"/>
              </a:xfrm>
              <a:prstGeom prst="line">
                <a:avLst/>
              </a:prstGeom>
              <a:noFill/>
              <a:ln w="9525" cap="rnd" cmpd="sng" algn="ctr">
                <a:solidFill>
                  <a:sysClr val="windowText" lastClr="000000"/>
                </a:solidFill>
                <a:prstDash val="solid"/>
              </a:ln>
              <a:effectLst/>
            </p:spPr>
          </p:cxnSp>
        </p:grpSp>
        <p:grpSp>
          <p:nvGrpSpPr>
            <p:cNvPr id="106" name="Group 1235"/>
            <p:cNvGrpSpPr>
              <a:grpSpLocks/>
            </p:cNvGrpSpPr>
            <p:nvPr/>
          </p:nvGrpSpPr>
          <p:grpSpPr bwMode="auto">
            <a:xfrm>
              <a:off x="7666754" y="3467184"/>
              <a:ext cx="37465" cy="37465"/>
              <a:chOff x="8437682" y="4125433"/>
              <a:chExt cx="37465" cy="37465"/>
            </a:xfrm>
          </p:grpSpPr>
          <p:cxnSp>
            <p:nvCxnSpPr>
              <p:cNvPr id="407" name="Straight Connector 1236"/>
              <p:cNvCxnSpPr/>
              <p:nvPr/>
            </p:nvCxnSpPr>
            <p:spPr>
              <a:xfrm>
                <a:off x="8456295" y="4125404"/>
                <a:ext cx="0" cy="37560"/>
              </a:xfrm>
              <a:prstGeom prst="line">
                <a:avLst/>
              </a:prstGeom>
              <a:noFill/>
              <a:ln w="9525" cap="rnd" cmpd="sng" algn="ctr">
                <a:solidFill>
                  <a:sysClr val="windowText" lastClr="000000"/>
                </a:solidFill>
                <a:prstDash val="solid"/>
              </a:ln>
              <a:effectLst/>
            </p:spPr>
          </p:cxnSp>
          <p:cxnSp>
            <p:nvCxnSpPr>
              <p:cNvPr id="408" name="Straight Connector 1237"/>
              <p:cNvCxnSpPr/>
              <p:nvPr/>
            </p:nvCxnSpPr>
            <p:spPr>
              <a:xfrm rot="16200000">
                <a:off x="8456295" y="4125993"/>
                <a:ext cx="0" cy="37679"/>
              </a:xfrm>
              <a:prstGeom prst="line">
                <a:avLst/>
              </a:prstGeom>
              <a:noFill/>
              <a:ln w="9525" cap="rnd" cmpd="sng" algn="ctr">
                <a:solidFill>
                  <a:sysClr val="windowText" lastClr="000000"/>
                </a:solidFill>
                <a:prstDash val="solid"/>
              </a:ln>
              <a:effectLst/>
            </p:spPr>
          </p:cxnSp>
        </p:grpSp>
        <p:grpSp>
          <p:nvGrpSpPr>
            <p:cNvPr id="107" name="Group 1238"/>
            <p:cNvGrpSpPr>
              <a:grpSpLocks/>
            </p:cNvGrpSpPr>
            <p:nvPr/>
          </p:nvGrpSpPr>
          <p:grpSpPr bwMode="auto">
            <a:xfrm>
              <a:off x="7688106" y="3484103"/>
              <a:ext cx="37465" cy="37465"/>
              <a:chOff x="8437682" y="4125433"/>
              <a:chExt cx="37465" cy="37465"/>
            </a:xfrm>
          </p:grpSpPr>
          <p:cxnSp>
            <p:nvCxnSpPr>
              <p:cNvPr id="405" name="Straight Connector 1239"/>
              <p:cNvCxnSpPr/>
              <p:nvPr/>
            </p:nvCxnSpPr>
            <p:spPr>
              <a:xfrm>
                <a:off x="8456923" y="4125323"/>
                <a:ext cx="0" cy="37559"/>
              </a:xfrm>
              <a:prstGeom prst="line">
                <a:avLst/>
              </a:prstGeom>
              <a:noFill/>
              <a:ln w="9525" cap="rnd" cmpd="sng" algn="ctr">
                <a:solidFill>
                  <a:sysClr val="windowText" lastClr="000000"/>
                </a:solidFill>
                <a:prstDash val="solid"/>
              </a:ln>
              <a:effectLst/>
            </p:spPr>
          </p:cxnSp>
          <p:cxnSp>
            <p:nvCxnSpPr>
              <p:cNvPr id="406" name="Straight Connector 1240"/>
              <p:cNvCxnSpPr/>
              <p:nvPr/>
            </p:nvCxnSpPr>
            <p:spPr>
              <a:xfrm rot="16200000">
                <a:off x="8456399" y="4126434"/>
                <a:ext cx="0" cy="36632"/>
              </a:xfrm>
              <a:prstGeom prst="line">
                <a:avLst/>
              </a:prstGeom>
              <a:noFill/>
              <a:ln w="9525" cap="rnd" cmpd="sng" algn="ctr">
                <a:solidFill>
                  <a:sysClr val="windowText" lastClr="000000"/>
                </a:solidFill>
                <a:prstDash val="solid"/>
              </a:ln>
              <a:effectLst/>
            </p:spPr>
          </p:cxnSp>
        </p:grpSp>
        <p:grpSp>
          <p:nvGrpSpPr>
            <p:cNvPr id="108" name="Group 1241"/>
            <p:cNvGrpSpPr>
              <a:grpSpLocks/>
            </p:cNvGrpSpPr>
            <p:nvPr/>
          </p:nvGrpSpPr>
          <p:grpSpPr bwMode="auto">
            <a:xfrm>
              <a:off x="7695172" y="3479593"/>
              <a:ext cx="37465" cy="37465"/>
              <a:chOff x="8437682" y="4125433"/>
              <a:chExt cx="37465" cy="37465"/>
            </a:xfrm>
          </p:grpSpPr>
          <p:cxnSp>
            <p:nvCxnSpPr>
              <p:cNvPr id="403" name="Straight Connector 1242"/>
              <p:cNvCxnSpPr/>
              <p:nvPr/>
            </p:nvCxnSpPr>
            <p:spPr>
              <a:xfrm>
                <a:off x="8456136" y="4125947"/>
                <a:ext cx="0" cy="37560"/>
              </a:xfrm>
              <a:prstGeom prst="line">
                <a:avLst/>
              </a:prstGeom>
              <a:noFill/>
              <a:ln w="9525" cap="rnd" cmpd="sng" algn="ctr">
                <a:solidFill>
                  <a:sysClr val="windowText" lastClr="000000"/>
                </a:solidFill>
                <a:prstDash val="solid"/>
              </a:ln>
              <a:effectLst/>
            </p:spPr>
          </p:cxnSp>
          <p:cxnSp>
            <p:nvCxnSpPr>
              <p:cNvPr id="404" name="Straight Connector 1243"/>
              <p:cNvCxnSpPr/>
              <p:nvPr/>
            </p:nvCxnSpPr>
            <p:spPr>
              <a:xfrm rot="16200000">
                <a:off x="8456136" y="4126535"/>
                <a:ext cx="0" cy="37679"/>
              </a:xfrm>
              <a:prstGeom prst="line">
                <a:avLst/>
              </a:prstGeom>
              <a:noFill/>
              <a:ln w="9525" cap="rnd" cmpd="sng" algn="ctr">
                <a:solidFill>
                  <a:sysClr val="windowText" lastClr="000000"/>
                </a:solidFill>
                <a:prstDash val="solid"/>
              </a:ln>
              <a:effectLst/>
            </p:spPr>
          </p:cxnSp>
        </p:grpSp>
        <p:grpSp>
          <p:nvGrpSpPr>
            <p:cNvPr id="109" name="Group 1244"/>
            <p:cNvGrpSpPr>
              <a:grpSpLocks/>
            </p:cNvGrpSpPr>
            <p:nvPr/>
          </p:nvGrpSpPr>
          <p:grpSpPr bwMode="auto">
            <a:xfrm>
              <a:off x="7714143" y="3482226"/>
              <a:ext cx="37465" cy="37465"/>
              <a:chOff x="8437682" y="4125433"/>
              <a:chExt cx="37465" cy="37465"/>
            </a:xfrm>
          </p:grpSpPr>
          <p:cxnSp>
            <p:nvCxnSpPr>
              <p:cNvPr id="401" name="Straight Connector 1245"/>
              <p:cNvCxnSpPr/>
              <p:nvPr/>
            </p:nvCxnSpPr>
            <p:spPr>
              <a:xfrm>
                <a:off x="8456004" y="4125905"/>
                <a:ext cx="0" cy="37560"/>
              </a:xfrm>
              <a:prstGeom prst="line">
                <a:avLst/>
              </a:prstGeom>
              <a:noFill/>
              <a:ln w="9525" cap="rnd" cmpd="sng" algn="ctr">
                <a:solidFill>
                  <a:sysClr val="windowText" lastClr="000000"/>
                </a:solidFill>
                <a:prstDash val="solid"/>
              </a:ln>
              <a:effectLst/>
            </p:spPr>
          </p:cxnSp>
          <p:cxnSp>
            <p:nvCxnSpPr>
              <p:cNvPr id="402" name="Straight Connector 1246"/>
              <p:cNvCxnSpPr/>
              <p:nvPr/>
            </p:nvCxnSpPr>
            <p:spPr>
              <a:xfrm rot="16200000">
                <a:off x="8456004" y="4126493"/>
                <a:ext cx="0" cy="37679"/>
              </a:xfrm>
              <a:prstGeom prst="line">
                <a:avLst/>
              </a:prstGeom>
              <a:noFill/>
              <a:ln w="9525" cap="rnd" cmpd="sng" algn="ctr">
                <a:solidFill>
                  <a:sysClr val="windowText" lastClr="000000"/>
                </a:solidFill>
                <a:prstDash val="solid"/>
              </a:ln>
              <a:effectLst/>
            </p:spPr>
          </p:cxnSp>
        </p:grpSp>
        <p:grpSp>
          <p:nvGrpSpPr>
            <p:cNvPr id="110" name="Group 1247"/>
            <p:cNvGrpSpPr>
              <a:grpSpLocks/>
            </p:cNvGrpSpPr>
            <p:nvPr/>
          </p:nvGrpSpPr>
          <p:grpSpPr bwMode="auto">
            <a:xfrm>
              <a:off x="7733114" y="3484859"/>
              <a:ext cx="37465" cy="37465"/>
              <a:chOff x="8437682" y="4125433"/>
              <a:chExt cx="37465" cy="37465"/>
            </a:xfrm>
          </p:grpSpPr>
          <p:cxnSp>
            <p:nvCxnSpPr>
              <p:cNvPr id="399" name="Straight Connector 1248"/>
              <p:cNvCxnSpPr/>
              <p:nvPr/>
            </p:nvCxnSpPr>
            <p:spPr>
              <a:xfrm>
                <a:off x="8456919" y="4125861"/>
                <a:ext cx="0" cy="37560"/>
              </a:xfrm>
              <a:prstGeom prst="line">
                <a:avLst/>
              </a:prstGeom>
              <a:noFill/>
              <a:ln w="9525" cap="rnd" cmpd="sng" algn="ctr">
                <a:solidFill>
                  <a:sysClr val="windowText" lastClr="000000"/>
                </a:solidFill>
                <a:prstDash val="solid"/>
              </a:ln>
              <a:effectLst/>
            </p:spPr>
          </p:cxnSp>
          <p:cxnSp>
            <p:nvCxnSpPr>
              <p:cNvPr id="400" name="Straight Connector 1249"/>
              <p:cNvCxnSpPr/>
              <p:nvPr/>
            </p:nvCxnSpPr>
            <p:spPr>
              <a:xfrm rot="16200000">
                <a:off x="8456396" y="4126972"/>
                <a:ext cx="0" cy="36632"/>
              </a:xfrm>
              <a:prstGeom prst="line">
                <a:avLst/>
              </a:prstGeom>
              <a:noFill/>
              <a:ln w="9525" cap="rnd" cmpd="sng" algn="ctr">
                <a:solidFill>
                  <a:sysClr val="windowText" lastClr="000000"/>
                </a:solidFill>
                <a:prstDash val="solid"/>
              </a:ln>
              <a:effectLst/>
            </p:spPr>
          </p:cxnSp>
        </p:grpSp>
        <p:grpSp>
          <p:nvGrpSpPr>
            <p:cNvPr id="111" name="Group 1250"/>
            <p:cNvGrpSpPr>
              <a:grpSpLocks/>
            </p:cNvGrpSpPr>
            <p:nvPr/>
          </p:nvGrpSpPr>
          <p:grpSpPr bwMode="auto">
            <a:xfrm>
              <a:off x="7768752" y="3520826"/>
              <a:ext cx="37465" cy="37465"/>
              <a:chOff x="8437682" y="4125433"/>
              <a:chExt cx="37465" cy="37465"/>
            </a:xfrm>
          </p:grpSpPr>
          <p:cxnSp>
            <p:nvCxnSpPr>
              <p:cNvPr id="397" name="Straight Connector 1251"/>
              <p:cNvCxnSpPr/>
              <p:nvPr/>
            </p:nvCxnSpPr>
            <p:spPr>
              <a:xfrm>
                <a:off x="8456866" y="4124864"/>
                <a:ext cx="0" cy="37559"/>
              </a:xfrm>
              <a:prstGeom prst="line">
                <a:avLst/>
              </a:prstGeom>
              <a:noFill/>
              <a:ln w="9525" cap="rnd" cmpd="sng" algn="ctr">
                <a:solidFill>
                  <a:sysClr val="windowText" lastClr="000000"/>
                </a:solidFill>
                <a:prstDash val="solid"/>
              </a:ln>
              <a:effectLst/>
            </p:spPr>
          </p:cxnSp>
          <p:cxnSp>
            <p:nvCxnSpPr>
              <p:cNvPr id="398" name="Straight Connector 1252"/>
              <p:cNvCxnSpPr/>
              <p:nvPr/>
            </p:nvCxnSpPr>
            <p:spPr>
              <a:xfrm rot="16200000">
                <a:off x="8456343" y="4125975"/>
                <a:ext cx="0" cy="36632"/>
              </a:xfrm>
              <a:prstGeom prst="line">
                <a:avLst/>
              </a:prstGeom>
              <a:noFill/>
              <a:ln w="9525" cap="rnd" cmpd="sng" algn="ctr">
                <a:solidFill>
                  <a:sysClr val="windowText" lastClr="000000"/>
                </a:solidFill>
                <a:prstDash val="solid"/>
              </a:ln>
              <a:effectLst/>
            </p:spPr>
          </p:cxnSp>
        </p:grpSp>
        <p:grpSp>
          <p:nvGrpSpPr>
            <p:cNvPr id="112" name="Group 1253"/>
            <p:cNvGrpSpPr>
              <a:grpSpLocks/>
            </p:cNvGrpSpPr>
            <p:nvPr/>
          </p:nvGrpSpPr>
          <p:grpSpPr bwMode="auto">
            <a:xfrm>
              <a:off x="7823438" y="3530602"/>
              <a:ext cx="37465" cy="37465"/>
              <a:chOff x="8437682" y="4125433"/>
              <a:chExt cx="37465" cy="37465"/>
            </a:xfrm>
          </p:grpSpPr>
          <p:cxnSp>
            <p:nvCxnSpPr>
              <p:cNvPr id="395" name="Straight Connector 1254"/>
              <p:cNvCxnSpPr/>
              <p:nvPr/>
            </p:nvCxnSpPr>
            <p:spPr>
              <a:xfrm>
                <a:off x="8456605" y="4125449"/>
                <a:ext cx="0" cy="37559"/>
              </a:xfrm>
              <a:prstGeom prst="line">
                <a:avLst/>
              </a:prstGeom>
              <a:noFill/>
              <a:ln w="9525" cap="rnd" cmpd="sng" algn="ctr">
                <a:solidFill>
                  <a:sysClr val="windowText" lastClr="000000"/>
                </a:solidFill>
                <a:prstDash val="solid"/>
              </a:ln>
              <a:effectLst/>
            </p:spPr>
          </p:cxnSp>
          <p:cxnSp>
            <p:nvCxnSpPr>
              <p:cNvPr id="396" name="Straight Connector 1255"/>
              <p:cNvCxnSpPr/>
              <p:nvPr/>
            </p:nvCxnSpPr>
            <p:spPr>
              <a:xfrm rot="16200000">
                <a:off x="8456605" y="4126037"/>
                <a:ext cx="0" cy="37679"/>
              </a:xfrm>
              <a:prstGeom prst="line">
                <a:avLst/>
              </a:prstGeom>
              <a:noFill/>
              <a:ln w="9525" cap="rnd" cmpd="sng" algn="ctr">
                <a:solidFill>
                  <a:sysClr val="windowText" lastClr="000000"/>
                </a:solidFill>
                <a:prstDash val="solid"/>
              </a:ln>
              <a:effectLst/>
            </p:spPr>
          </p:cxnSp>
        </p:grpSp>
        <p:grpSp>
          <p:nvGrpSpPr>
            <p:cNvPr id="113" name="Group 1256"/>
            <p:cNvGrpSpPr>
              <a:grpSpLocks/>
            </p:cNvGrpSpPr>
            <p:nvPr/>
          </p:nvGrpSpPr>
          <p:grpSpPr bwMode="auto">
            <a:xfrm>
              <a:off x="7844790" y="3554664"/>
              <a:ext cx="37465" cy="37465"/>
              <a:chOff x="8437682" y="4125433"/>
              <a:chExt cx="37465" cy="37465"/>
            </a:xfrm>
          </p:grpSpPr>
          <p:cxnSp>
            <p:nvCxnSpPr>
              <p:cNvPr id="393" name="Straight Connector 1257"/>
              <p:cNvCxnSpPr/>
              <p:nvPr/>
            </p:nvCxnSpPr>
            <p:spPr>
              <a:xfrm>
                <a:off x="8456186" y="4125995"/>
                <a:ext cx="0" cy="36264"/>
              </a:xfrm>
              <a:prstGeom prst="line">
                <a:avLst/>
              </a:prstGeom>
              <a:noFill/>
              <a:ln w="9525" cap="rnd" cmpd="sng" algn="ctr">
                <a:solidFill>
                  <a:sysClr val="windowText" lastClr="000000"/>
                </a:solidFill>
                <a:prstDash val="solid"/>
              </a:ln>
              <a:effectLst/>
            </p:spPr>
          </p:cxnSp>
          <p:cxnSp>
            <p:nvCxnSpPr>
              <p:cNvPr id="394" name="Straight Connector 1258"/>
              <p:cNvCxnSpPr/>
              <p:nvPr/>
            </p:nvCxnSpPr>
            <p:spPr>
              <a:xfrm rot="16200000">
                <a:off x="8456186" y="4125288"/>
                <a:ext cx="0" cy="37679"/>
              </a:xfrm>
              <a:prstGeom prst="line">
                <a:avLst/>
              </a:prstGeom>
              <a:noFill/>
              <a:ln w="9525" cap="rnd" cmpd="sng" algn="ctr">
                <a:solidFill>
                  <a:sysClr val="windowText" lastClr="000000"/>
                </a:solidFill>
                <a:prstDash val="solid"/>
              </a:ln>
              <a:effectLst/>
            </p:spPr>
          </p:cxnSp>
        </p:grpSp>
        <p:grpSp>
          <p:nvGrpSpPr>
            <p:cNvPr id="114" name="Group 1259"/>
            <p:cNvGrpSpPr>
              <a:grpSpLocks/>
            </p:cNvGrpSpPr>
            <p:nvPr/>
          </p:nvGrpSpPr>
          <p:grpSpPr bwMode="auto">
            <a:xfrm>
              <a:off x="7870904" y="3593012"/>
              <a:ext cx="37465" cy="37465"/>
              <a:chOff x="8437682" y="4125433"/>
              <a:chExt cx="37465" cy="37465"/>
            </a:xfrm>
          </p:grpSpPr>
          <p:cxnSp>
            <p:nvCxnSpPr>
              <p:cNvPr id="391" name="Straight Connector 1260"/>
              <p:cNvCxnSpPr/>
              <p:nvPr/>
            </p:nvCxnSpPr>
            <p:spPr>
              <a:xfrm>
                <a:off x="8456237" y="4125207"/>
                <a:ext cx="0" cy="37559"/>
              </a:xfrm>
              <a:prstGeom prst="line">
                <a:avLst/>
              </a:prstGeom>
              <a:noFill/>
              <a:ln w="9525" cap="rnd" cmpd="sng" algn="ctr">
                <a:solidFill>
                  <a:sysClr val="windowText" lastClr="000000"/>
                </a:solidFill>
                <a:prstDash val="solid"/>
              </a:ln>
              <a:effectLst/>
            </p:spPr>
          </p:cxnSp>
          <p:cxnSp>
            <p:nvCxnSpPr>
              <p:cNvPr id="392" name="Straight Connector 1261"/>
              <p:cNvCxnSpPr/>
              <p:nvPr/>
            </p:nvCxnSpPr>
            <p:spPr>
              <a:xfrm rot="16200000">
                <a:off x="8456237" y="4125794"/>
                <a:ext cx="0" cy="37679"/>
              </a:xfrm>
              <a:prstGeom prst="line">
                <a:avLst/>
              </a:prstGeom>
              <a:noFill/>
              <a:ln w="9525" cap="rnd" cmpd="sng" algn="ctr">
                <a:solidFill>
                  <a:sysClr val="windowText" lastClr="000000"/>
                </a:solidFill>
                <a:prstDash val="solid"/>
              </a:ln>
              <a:effectLst/>
            </p:spPr>
          </p:cxnSp>
        </p:grpSp>
        <p:grpSp>
          <p:nvGrpSpPr>
            <p:cNvPr id="115" name="Group 1262"/>
            <p:cNvGrpSpPr>
              <a:grpSpLocks/>
            </p:cNvGrpSpPr>
            <p:nvPr/>
          </p:nvGrpSpPr>
          <p:grpSpPr bwMode="auto">
            <a:xfrm>
              <a:off x="7897018" y="3590883"/>
              <a:ext cx="37465" cy="37465"/>
              <a:chOff x="8437682" y="4125433"/>
              <a:chExt cx="37465" cy="37465"/>
            </a:xfrm>
          </p:grpSpPr>
          <p:cxnSp>
            <p:nvCxnSpPr>
              <p:cNvPr id="389" name="Straight Connector 1263"/>
              <p:cNvCxnSpPr/>
              <p:nvPr/>
            </p:nvCxnSpPr>
            <p:spPr>
              <a:xfrm>
                <a:off x="8456289" y="4126041"/>
                <a:ext cx="0" cy="36264"/>
              </a:xfrm>
              <a:prstGeom prst="line">
                <a:avLst/>
              </a:prstGeom>
              <a:noFill/>
              <a:ln w="9525" cap="rnd" cmpd="sng" algn="ctr">
                <a:solidFill>
                  <a:sysClr val="windowText" lastClr="000000"/>
                </a:solidFill>
                <a:prstDash val="solid"/>
              </a:ln>
              <a:effectLst/>
            </p:spPr>
          </p:cxnSp>
          <p:cxnSp>
            <p:nvCxnSpPr>
              <p:cNvPr id="390" name="Straight Connector 1264"/>
              <p:cNvCxnSpPr/>
              <p:nvPr/>
            </p:nvCxnSpPr>
            <p:spPr>
              <a:xfrm rot="16200000">
                <a:off x="8456289" y="4125334"/>
                <a:ext cx="0" cy="37679"/>
              </a:xfrm>
              <a:prstGeom prst="line">
                <a:avLst/>
              </a:prstGeom>
              <a:noFill/>
              <a:ln w="9525" cap="rnd" cmpd="sng" algn="ctr">
                <a:solidFill>
                  <a:sysClr val="windowText" lastClr="000000"/>
                </a:solidFill>
                <a:prstDash val="solid"/>
              </a:ln>
              <a:effectLst/>
            </p:spPr>
          </p:cxnSp>
        </p:grpSp>
        <p:grpSp>
          <p:nvGrpSpPr>
            <p:cNvPr id="116" name="Group 1265"/>
            <p:cNvGrpSpPr>
              <a:grpSpLocks/>
            </p:cNvGrpSpPr>
            <p:nvPr/>
          </p:nvGrpSpPr>
          <p:grpSpPr bwMode="auto">
            <a:xfrm>
              <a:off x="7882655" y="3591135"/>
              <a:ext cx="37465" cy="37465"/>
              <a:chOff x="8437682" y="4125433"/>
              <a:chExt cx="37465" cy="37465"/>
            </a:xfrm>
          </p:grpSpPr>
          <p:cxnSp>
            <p:nvCxnSpPr>
              <p:cNvPr id="387" name="Straight Connector 1266"/>
              <p:cNvCxnSpPr/>
              <p:nvPr/>
            </p:nvCxnSpPr>
            <p:spPr>
              <a:xfrm>
                <a:off x="8455999" y="4125789"/>
                <a:ext cx="0" cy="37560"/>
              </a:xfrm>
              <a:prstGeom prst="line">
                <a:avLst/>
              </a:prstGeom>
              <a:noFill/>
              <a:ln w="9525" cap="rnd" cmpd="sng" algn="ctr">
                <a:solidFill>
                  <a:sysClr val="windowText" lastClr="000000"/>
                </a:solidFill>
                <a:prstDash val="solid"/>
              </a:ln>
              <a:effectLst/>
            </p:spPr>
          </p:cxnSp>
          <p:cxnSp>
            <p:nvCxnSpPr>
              <p:cNvPr id="388" name="Straight Connector 1267"/>
              <p:cNvCxnSpPr/>
              <p:nvPr/>
            </p:nvCxnSpPr>
            <p:spPr>
              <a:xfrm rot="16200000">
                <a:off x="8455999" y="4126377"/>
                <a:ext cx="0" cy="37679"/>
              </a:xfrm>
              <a:prstGeom prst="line">
                <a:avLst/>
              </a:prstGeom>
              <a:noFill/>
              <a:ln w="9525" cap="rnd" cmpd="sng" algn="ctr">
                <a:solidFill>
                  <a:sysClr val="windowText" lastClr="000000"/>
                </a:solidFill>
                <a:prstDash val="solid"/>
              </a:ln>
              <a:effectLst/>
            </p:spPr>
          </p:cxnSp>
        </p:grpSp>
        <p:grpSp>
          <p:nvGrpSpPr>
            <p:cNvPr id="117" name="Group 1268"/>
            <p:cNvGrpSpPr>
              <a:grpSpLocks/>
            </p:cNvGrpSpPr>
            <p:nvPr/>
          </p:nvGrpSpPr>
          <p:grpSpPr bwMode="auto">
            <a:xfrm>
              <a:off x="7946865" y="3610435"/>
              <a:ext cx="37465" cy="37465"/>
              <a:chOff x="8437682" y="4125433"/>
              <a:chExt cx="37465" cy="37465"/>
            </a:xfrm>
          </p:grpSpPr>
          <p:cxnSp>
            <p:nvCxnSpPr>
              <p:cNvPr id="385" name="Straight Connector 1269"/>
              <p:cNvCxnSpPr/>
              <p:nvPr/>
            </p:nvCxnSpPr>
            <p:spPr>
              <a:xfrm>
                <a:off x="8456680" y="4125917"/>
                <a:ext cx="0" cy="37559"/>
              </a:xfrm>
              <a:prstGeom prst="line">
                <a:avLst/>
              </a:prstGeom>
              <a:noFill/>
              <a:ln w="9525" cap="rnd" cmpd="sng" algn="ctr">
                <a:solidFill>
                  <a:sysClr val="windowText" lastClr="000000"/>
                </a:solidFill>
                <a:prstDash val="solid"/>
              </a:ln>
              <a:effectLst/>
            </p:spPr>
          </p:cxnSp>
          <p:cxnSp>
            <p:nvCxnSpPr>
              <p:cNvPr id="386" name="Straight Connector 1270"/>
              <p:cNvCxnSpPr/>
              <p:nvPr/>
            </p:nvCxnSpPr>
            <p:spPr>
              <a:xfrm rot="16200000">
                <a:off x="8456680" y="4126504"/>
                <a:ext cx="0" cy="37679"/>
              </a:xfrm>
              <a:prstGeom prst="line">
                <a:avLst/>
              </a:prstGeom>
              <a:noFill/>
              <a:ln w="9525" cap="rnd" cmpd="sng" algn="ctr">
                <a:solidFill>
                  <a:sysClr val="windowText" lastClr="000000"/>
                </a:solidFill>
                <a:prstDash val="solid"/>
              </a:ln>
              <a:effectLst/>
            </p:spPr>
          </p:cxnSp>
        </p:grpSp>
        <p:grpSp>
          <p:nvGrpSpPr>
            <p:cNvPr id="118" name="Group 1271"/>
            <p:cNvGrpSpPr>
              <a:grpSpLocks/>
            </p:cNvGrpSpPr>
            <p:nvPr/>
          </p:nvGrpSpPr>
          <p:grpSpPr bwMode="auto">
            <a:xfrm>
              <a:off x="7965836" y="3629735"/>
              <a:ext cx="37465" cy="37465"/>
              <a:chOff x="8437682" y="4125433"/>
              <a:chExt cx="37465" cy="37465"/>
            </a:xfrm>
          </p:grpSpPr>
          <p:cxnSp>
            <p:nvCxnSpPr>
              <p:cNvPr id="383" name="Straight Connector 1272"/>
              <p:cNvCxnSpPr/>
              <p:nvPr/>
            </p:nvCxnSpPr>
            <p:spPr>
              <a:xfrm>
                <a:off x="8456548" y="4126043"/>
                <a:ext cx="0" cy="36264"/>
              </a:xfrm>
              <a:prstGeom prst="line">
                <a:avLst/>
              </a:prstGeom>
              <a:noFill/>
              <a:ln w="9525" cap="rnd" cmpd="sng" algn="ctr">
                <a:solidFill>
                  <a:sysClr val="windowText" lastClr="000000"/>
                </a:solidFill>
                <a:prstDash val="solid"/>
              </a:ln>
              <a:effectLst/>
            </p:spPr>
          </p:cxnSp>
          <p:cxnSp>
            <p:nvCxnSpPr>
              <p:cNvPr id="384" name="Straight Connector 1273"/>
              <p:cNvCxnSpPr/>
              <p:nvPr/>
            </p:nvCxnSpPr>
            <p:spPr>
              <a:xfrm rot="16200000">
                <a:off x="8456548" y="4125336"/>
                <a:ext cx="0" cy="37679"/>
              </a:xfrm>
              <a:prstGeom prst="line">
                <a:avLst/>
              </a:prstGeom>
              <a:noFill/>
              <a:ln w="9525" cap="rnd" cmpd="sng" algn="ctr">
                <a:solidFill>
                  <a:sysClr val="windowText" lastClr="000000"/>
                </a:solidFill>
                <a:prstDash val="solid"/>
              </a:ln>
              <a:effectLst/>
            </p:spPr>
          </p:cxnSp>
        </p:grpSp>
        <p:grpSp>
          <p:nvGrpSpPr>
            <p:cNvPr id="119" name="Group 1274"/>
            <p:cNvGrpSpPr>
              <a:grpSpLocks/>
            </p:cNvGrpSpPr>
            <p:nvPr/>
          </p:nvGrpSpPr>
          <p:grpSpPr bwMode="auto">
            <a:xfrm>
              <a:off x="7915758" y="3610939"/>
              <a:ext cx="37465" cy="37465"/>
              <a:chOff x="8437682" y="4125433"/>
              <a:chExt cx="37465" cy="37465"/>
            </a:xfrm>
          </p:grpSpPr>
          <p:cxnSp>
            <p:nvCxnSpPr>
              <p:cNvPr id="381" name="Straight Connector 1275"/>
              <p:cNvCxnSpPr/>
              <p:nvPr/>
            </p:nvCxnSpPr>
            <p:spPr>
              <a:xfrm>
                <a:off x="8456388" y="4125413"/>
                <a:ext cx="0" cy="37559"/>
              </a:xfrm>
              <a:prstGeom prst="line">
                <a:avLst/>
              </a:prstGeom>
              <a:noFill/>
              <a:ln w="9525" cap="rnd" cmpd="sng" algn="ctr">
                <a:solidFill>
                  <a:sysClr val="windowText" lastClr="000000"/>
                </a:solidFill>
                <a:prstDash val="solid"/>
              </a:ln>
              <a:effectLst/>
            </p:spPr>
          </p:cxnSp>
          <p:cxnSp>
            <p:nvCxnSpPr>
              <p:cNvPr id="382" name="Straight Connector 1276"/>
              <p:cNvCxnSpPr/>
              <p:nvPr/>
            </p:nvCxnSpPr>
            <p:spPr>
              <a:xfrm rot="16200000">
                <a:off x="8456388" y="4126000"/>
                <a:ext cx="0" cy="37679"/>
              </a:xfrm>
              <a:prstGeom prst="line">
                <a:avLst/>
              </a:prstGeom>
              <a:noFill/>
              <a:ln w="9525" cap="rnd" cmpd="sng" algn="ctr">
                <a:solidFill>
                  <a:sysClr val="windowText" lastClr="000000"/>
                </a:solidFill>
                <a:prstDash val="solid"/>
              </a:ln>
              <a:effectLst/>
            </p:spPr>
          </p:cxnSp>
        </p:grpSp>
        <p:grpSp>
          <p:nvGrpSpPr>
            <p:cNvPr id="120" name="Group 1277"/>
            <p:cNvGrpSpPr>
              <a:grpSpLocks/>
            </p:cNvGrpSpPr>
            <p:nvPr/>
          </p:nvGrpSpPr>
          <p:grpSpPr bwMode="auto">
            <a:xfrm>
              <a:off x="8015683" y="3656430"/>
              <a:ext cx="37465" cy="37465"/>
              <a:chOff x="8437682" y="4125433"/>
              <a:chExt cx="37465" cy="37465"/>
            </a:xfrm>
          </p:grpSpPr>
          <p:cxnSp>
            <p:nvCxnSpPr>
              <p:cNvPr id="379" name="Straight Connector 1278"/>
              <p:cNvCxnSpPr/>
              <p:nvPr/>
            </p:nvCxnSpPr>
            <p:spPr>
              <a:xfrm>
                <a:off x="8456939" y="4125252"/>
                <a:ext cx="0" cy="37560"/>
              </a:xfrm>
              <a:prstGeom prst="line">
                <a:avLst/>
              </a:prstGeom>
              <a:noFill/>
              <a:ln w="9525" cap="rnd" cmpd="sng" algn="ctr">
                <a:solidFill>
                  <a:sysClr val="windowText" lastClr="000000"/>
                </a:solidFill>
                <a:prstDash val="solid"/>
              </a:ln>
              <a:effectLst/>
            </p:spPr>
          </p:cxnSp>
          <p:cxnSp>
            <p:nvCxnSpPr>
              <p:cNvPr id="380" name="Straight Connector 1279"/>
              <p:cNvCxnSpPr/>
              <p:nvPr/>
            </p:nvCxnSpPr>
            <p:spPr>
              <a:xfrm rot="16200000">
                <a:off x="8456416" y="4126363"/>
                <a:ext cx="0" cy="36632"/>
              </a:xfrm>
              <a:prstGeom prst="line">
                <a:avLst/>
              </a:prstGeom>
              <a:noFill/>
              <a:ln w="9525" cap="rnd" cmpd="sng" algn="ctr">
                <a:solidFill>
                  <a:sysClr val="windowText" lastClr="000000"/>
                </a:solidFill>
                <a:prstDash val="solid"/>
              </a:ln>
              <a:effectLst/>
            </p:spPr>
          </p:cxnSp>
        </p:grpSp>
        <p:grpSp>
          <p:nvGrpSpPr>
            <p:cNvPr id="121" name="Group 1280"/>
            <p:cNvGrpSpPr>
              <a:grpSpLocks/>
            </p:cNvGrpSpPr>
            <p:nvPr/>
          </p:nvGrpSpPr>
          <p:grpSpPr bwMode="auto">
            <a:xfrm>
              <a:off x="8106084" y="3682873"/>
              <a:ext cx="37465" cy="37465"/>
              <a:chOff x="8437682" y="4125433"/>
              <a:chExt cx="37465" cy="37465"/>
            </a:xfrm>
          </p:grpSpPr>
          <p:cxnSp>
            <p:nvCxnSpPr>
              <p:cNvPr id="377" name="Straight Connector 1281"/>
              <p:cNvCxnSpPr/>
              <p:nvPr/>
            </p:nvCxnSpPr>
            <p:spPr>
              <a:xfrm>
                <a:off x="8456548" y="4126007"/>
                <a:ext cx="0" cy="36264"/>
              </a:xfrm>
              <a:prstGeom prst="line">
                <a:avLst/>
              </a:prstGeom>
              <a:noFill/>
              <a:ln w="9525" cap="rnd" cmpd="sng" algn="ctr">
                <a:solidFill>
                  <a:sysClr val="windowText" lastClr="000000"/>
                </a:solidFill>
                <a:prstDash val="solid"/>
              </a:ln>
              <a:effectLst/>
            </p:spPr>
          </p:cxnSp>
          <p:cxnSp>
            <p:nvCxnSpPr>
              <p:cNvPr id="378" name="Straight Connector 1282"/>
              <p:cNvCxnSpPr/>
              <p:nvPr/>
            </p:nvCxnSpPr>
            <p:spPr>
              <a:xfrm rot="16200000">
                <a:off x="8456548" y="4125300"/>
                <a:ext cx="0" cy="37679"/>
              </a:xfrm>
              <a:prstGeom prst="line">
                <a:avLst/>
              </a:prstGeom>
              <a:noFill/>
              <a:ln w="9525" cap="rnd" cmpd="sng" algn="ctr">
                <a:solidFill>
                  <a:sysClr val="windowText" lastClr="000000"/>
                </a:solidFill>
                <a:prstDash val="solid"/>
              </a:ln>
              <a:effectLst/>
            </p:spPr>
          </p:cxnSp>
        </p:grpSp>
        <p:grpSp>
          <p:nvGrpSpPr>
            <p:cNvPr id="122" name="Group 1283"/>
            <p:cNvGrpSpPr>
              <a:grpSpLocks/>
            </p:cNvGrpSpPr>
            <p:nvPr/>
          </p:nvGrpSpPr>
          <p:grpSpPr bwMode="auto">
            <a:xfrm>
              <a:off x="8060768" y="3654553"/>
              <a:ext cx="37465" cy="37465"/>
              <a:chOff x="8437682" y="4125433"/>
              <a:chExt cx="37465" cy="37465"/>
            </a:xfrm>
          </p:grpSpPr>
          <p:cxnSp>
            <p:nvCxnSpPr>
              <p:cNvPr id="375" name="Straight Connector 1284"/>
              <p:cNvCxnSpPr/>
              <p:nvPr/>
            </p:nvCxnSpPr>
            <p:spPr>
              <a:xfrm>
                <a:off x="8456860" y="4125834"/>
                <a:ext cx="0" cy="37559"/>
              </a:xfrm>
              <a:prstGeom prst="line">
                <a:avLst/>
              </a:prstGeom>
              <a:noFill/>
              <a:ln w="9525" cap="rnd" cmpd="sng" algn="ctr">
                <a:solidFill>
                  <a:sysClr val="windowText" lastClr="000000"/>
                </a:solidFill>
                <a:prstDash val="solid"/>
              </a:ln>
              <a:effectLst/>
            </p:spPr>
          </p:cxnSp>
          <p:cxnSp>
            <p:nvCxnSpPr>
              <p:cNvPr id="376" name="Straight Connector 1285"/>
              <p:cNvCxnSpPr/>
              <p:nvPr/>
            </p:nvCxnSpPr>
            <p:spPr>
              <a:xfrm rot="16200000">
                <a:off x="8456336" y="4126945"/>
                <a:ext cx="0" cy="36632"/>
              </a:xfrm>
              <a:prstGeom prst="line">
                <a:avLst/>
              </a:prstGeom>
              <a:noFill/>
              <a:ln w="9525" cap="rnd" cmpd="sng" algn="ctr">
                <a:solidFill>
                  <a:sysClr val="windowText" lastClr="000000"/>
                </a:solidFill>
                <a:prstDash val="solid"/>
              </a:ln>
              <a:effectLst/>
            </p:spPr>
          </p:cxnSp>
        </p:grpSp>
        <p:grpSp>
          <p:nvGrpSpPr>
            <p:cNvPr id="123" name="Group 1286"/>
            <p:cNvGrpSpPr>
              <a:grpSpLocks/>
            </p:cNvGrpSpPr>
            <p:nvPr/>
          </p:nvGrpSpPr>
          <p:grpSpPr bwMode="auto">
            <a:xfrm>
              <a:off x="8084501" y="3680996"/>
              <a:ext cx="37465" cy="37465"/>
              <a:chOff x="8437682" y="4125433"/>
              <a:chExt cx="37465" cy="37465"/>
            </a:xfrm>
          </p:grpSpPr>
          <p:cxnSp>
            <p:nvCxnSpPr>
              <p:cNvPr id="373" name="Straight Connector 1287"/>
              <p:cNvCxnSpPr/>
              <p:nvPr/>
            </p:nvCxnSpPr>
            <p:spPr>
              <a:xfrm>
                <a:off x="8456152" y="4125294"/>
                <a:ext cx="0" cy="37559"/>
              </a:xfrm>
              <a:prstGeom prst="line">
                <a:avLst/>
              </a:prstGeom>
              <a:noFill/>
              <a:ln w="9525" cap="rnd" cmpd="sng" algn="ctr">
                <a:solidFill>
                  <a:sysClr val="windowText" lastClr="000000"/>
                </a:solidFill>
                <a:prstDash val="solid"/>
              </a:ln>
              <a:effectLst/>
            </p:spPr>
          </p:cxnSp>
          <p:cxnSp>
            <p:nvCxnSpPr>
              <p:cNvPr id="374" name="Straight Connector 1288"/>
              <p:cNvCxnSpPr/>
              <p:nvPr/>
            </p:nvCxnSpPr>
            <p:spPr>
              <a:xfrm rot="16200000">
                <a:off x="8456152" y="4125882"/>
                <a:ext cx="0" cy="37679"/>
              </a:xfrm>
              <a:prstGeom prst="line">
                <a:avLst/>
              </a:prstGeom>
              <a:noFill/>
              <a:ln w="9525" cap="rnd" cmpd="sng" algn="ctr">
                <a:solidFill>
                  <a:sysClr val="windowText" lastClr="000000"/>
                </a:solidFill>
                <a:prstDash val="solid"/>
              </a:ln>
              <a:effectLst/>
            </p:spPr>
          </p:cxnSp>
        </p:grpSp>
        <p:grpSp>
          <p:nvGrpSpPr>
            <p:cNvPr id="124" name="Group 1289"/>
            <p:cNvGrpSpPr>
              <a:grpSpLocks/>
            </p:cNvGrpSpPr>
            <p:nvPr/>
          </p:nvGrpSpPr>
          <p:grpSpPr bwMode="auto">
            <a:xfrm>
              <a:off x="8127282" y="3683629"/>
              <a:ext cx="37465" cy="37465"/>
              <a:chOff x="8437682" y="4125433"/>
              <a:chExt cx="37465" cy="37465"/>
            </a:xfrm>
          </p:grpSpPr>
          <p:cxnSp>
            <p:nvCxnSpPr>
              <p:cNvPr id="371" name="Straight Connector 1290"/>
              <p:cNvCxnSpPr/>
              <p:nvPr/>
            </p:nvCxnSpPr>
            <p:spPr>
              <a:xfrm>
                <a:off x="8456282" y="4125251"/>
                <a:ext cx="0" cy="37559"/>
              </a:xfrm>
              <a:prstGeom prst="line">
                <a:avLst/>
              </a:prstGeom>
              <a:noFill/>
              <a:ln w="9525" cap="rnd" cmpd="sng" algn="ctr">
                <a:solidFill>
                  <a:sysClr val="windowText" lastClr="000000"/>
                </a:solidFill>
                <a:prstDash val="solid"/>
              </a:ln>
              <a:effectLst/>
            </p:spPr>
          </p:cxnSp>
          <p:cxnSp>
            <p:nvCxnSpPr>
              <p:cNvPr id="372" name="Straight Connector 1291"/>
              <p:cNvCxnSpPr/>
              <p:nvPr/>
            </p:nvCxnSpPr>
            <p:spPr>
              <a:xfrm rot="16200000">
                <a:off x="8456282" y="4125839"/>
                <a:ext cx="0" cy="37679"/>
              </a:xfrm>
              <a:prstGeom prst="line">
                <a:avLst/>
              </a:prstGeom>
              <a:noFill/>
              <a:ln w="9525" cap="rnd" cmpd="sng" algn="ctr">
                <a:solidFill>
                  <a:sysClr val="windowText" lastClr="000000"/>
                </a:solidFill>
                <a:prstDash val="solid"/>
              </a:ln>
              <a:effectLst/>
            </p:spPr>
          </p:cxnSp>
        </p:grpSp>
        <p:grpSp>
          <p:nvGrpSpPr>
            <p:cNvPr id="125" name="Group 1292"/>
            <p:cNvGrpSpPr>
              <a:grpSpLocks/>
            </p:cNvGrpSpPr>
            <p:nvPr/>
          </p:nvGrpSpPr>
          <p:grpSpPr bwMode="auto">
            <a:xfrm>
              <a:off x="8139110" y="3683881"/>
              <a:ext cx="37465" cy="37465"/>
              <a:chOff x="8437682" y="4125433"/>
              <a:chExt cx="37465" cy="37465"/>
            </a:xfrm>
          </p:grpSpPr>
          <p:cxnSp>
            <p:nvCxnSpPr>
              <p:cNvPr id="369" name="Straight Connector 1293"/>
              <p:cNvCxnSpPr/>
              <p:nvPr/>
            </p:nvCxnSpPr>
            <p:spPr>
              <a:xfrm>
                <a:off x="8457014" y="4125000"/>
                <a:ext cx="0" cy="37559"/>
              </a:xfrm>
              <a:prstGeom prst="line">
                <a:avLst/>
              </a:prstGeom>
              <a:noFill/>
              <a:ln w="9525" cap="rnd" cmpd="sng" algn="ctr">
                <a:solidFill>
                  <a:sysClr val="windowText" lastClr="000000"/>
                </a:solidFill>
                <a:prstDash val="solid"/>
              </a:ln>
              <a:effectLst/>
            </p:spPr>
          </p:cxnSp>
          <p:cxnSp>
            <p:nvCxnSpPr>
              <p:cNvPr id="370" name="Straight Connector 1294"/>
              <p:cNvCxnSpPr/>
              <p:nvPr/>
            </p:nvCxnSpPr>
            <p:spPr>
              <a:xfrm rot="16200000">
                <a:off x="8456491" y="4126110"/>
                <a:ext cx="0" cy="36632"/>
              </a:xfrm>
              <a:prstGeom prst="line">
                <a:avLst/>
              </a:prstGeom>
              <a:noFill/>
              <a:ln w="9525" cap="rnd" cmpd="sng" algn="ctr">
                <a:solidFill>
                  <a:sysClr val="windowText" lastClr="000000"/>
                </a:solidFill>
                <a:prstDash val="solid"/>
              </a:ln>
              <a:effectLst/>
            </p:spPr>
          </p:cxnSp>
        </p:grpSp>
        <p:grpSp>
          <p:nvGrpSpPr>
            <p:cNvPr id="126" name="Group 1295"/>
            <p:cNvGrpSpPr>
              <a:grpSpLocks/>
            </p:cNvGrpSpPr>
            <p:nvPr/>
          </p:nvGrpSpPr>
          <p:grpSpPr bwMode="auto">
            <a:xfrm>
              <a:off x="8150938" y="3684133"/>
              <a:ext cx="37465" cy="37465"/>
              <a:chOff x="8437682" y="4125433"/>
              <a:chExt cx="37465" cy="37465"/>
            </a:xfrm>
          </p:grpSpPr>
          <p:cxnSp>
            <p:nvCxnSpPr>
              <p:cNvPr id="367" name="Straight Connector 1296"/>
              <p:cNvCxnSpPr/>
              <p:nvPr/>
            </p:nvCxnSpPr>
            <p:spPr>
              <a:xfrm>
                <a:off x="8456699" y="4126042"/>
                <a:ext cx="0" cy="36264"/>
              </a:xfrm>
              <a:prstGeom prst="line">
                <a:avLst/>
              </a:prstGeom>
              <a:noFill/>
              <a:ln w="9525" cap="rnd" cmpd="sng" algn="ctr">
                <a:solidFill>
                  <a:sysClr val="windowText" lastClr="000000"/>
                </a:solidFill>
                <a:prstDash val="solid"/>
              </a:ln>
              <a:effectLst/>
            </p:spPr>
          </p:cxnSp>
          <p:cxnSp>
            <p:nvCxnSpPr>
              <p:cNvPr id="368" name="Straight Connector 1297"/>
              <p:cNvCxnSpPr/>
              <p:nvPr/>
            </p:nvCxnSpPr>
            <p:spPr>
              <a:xfrm rot="16200000">
                <a:off x="8456699" y="4125335"/>
                <a:ext cx="0" cy="37679"/>
              </a:xfrm>
              <a:prstGeom prst="line">
                <a:avLst/>
              </a:prstGeom>
              <a:noFill/>
              <a:ln w="9525" cap="rnd" cmpd="sng" algn="ctr">
                <a:solidFill>
                  <a:sysClr val="windowText" lastClr="000000"/>
                </a:solidFill>
                <a:prstDash val="solid"/>
              </a:ln>
              <a:effectLst/>
            </p:spPr>
          </p:cxnSp>
        </p:grpSp>
        <p:grpSp>
          <p:nvGrpSpPr>
            <p:cNvPr id="127" name="Group 1298"/>
            <p:cNvGrpSpPr>
              <a:grpSpLocks/>
            </p:cNvGrpSpPr>
            <p:nvPr/>
          </p:nvGrpSpPr>
          <p:grpSpPr bwMode="auto">
            <a:xfrm>
              <a:off x="8184195" y="3684385"/>
              <a:ext cx="37465" cy="37465"/>
              <a:chOff x="8437682" y="4125433"/>
              <a:chExt cx="37465" cy="37465"/>
            </a:xfrm>
          </p:grpSpPr>
          <p:cxnSp>
            <p:nvCxnSpPr>
              <p:cNvPr id="365" name="Straight Connector 1299"/>
              <p:cNvCxnSpPr/>
              <p:nvPr/>
            </p:nvCxnSpPr>
            <p:spPr>
              <a:xfrm>
                <a:off x="8456934" y="4125790"/>
                <a:ext cx="0" cy="37560"/>
              </a:xfrm>
              <a:prstGeom prst="line">
                <a:avLst/>
              </a:prstGeom>
              <a:noFill/>
              <a:ln w="9525" cap="rnd" cmpd="sng" algn="ctr">
                <a:solidFill>
                  <a:sysClr val="windowText" lastClr="000000"/>
                </a:solidFill>
                <a:prstDash val="solid"/>
              </a:ln>
              <a:effectLst/>
            </p:spPr>
          </p:cxnSp>
          <p:cxnSp>
            <p:nvCxnSpPr>
              <p:cNvPr id="366" name="Straight Connector 1300"/>
              <p:cNvCxnSpPr/>
              <p:nvPr/>
            </p:nvCxnSpPr>
            <p:spPr>
              <a:xfrm rot="16200000">
                <a:off x="8456411" y="4126902"/>
                <a:ext cx="0" cy="36632"/>
              </a:xfrm>
              <a:prstGeom prst="line">
                <a:avLst/>
              </a:prstGeom>
              <a:noFill/>
              <a:ln w="9525" cap="rnd" cmpd="sng" algn="ctr">
                <a:solidFill>
                  <a:sysClr val="windowText" lastClr="000000"/>
                </a:solidFill>
                <a:prstDash val="solid"/>
              </a:ln>
              <a:effectLst/>
            </p:spPr>
          </p:cxnSp>
        </p:grpSp>
        <p:grpSp>
          <p:nvGrpSpPr>
            <p:cNvPr id="128" name="Group 1301"/>
            <p:cNvGrpSpPr>
              <a:grpSpLocks/>
            </p:cNvGrpSpPr>
            <p:nvPr/>
          </p:nvGrpSpPr>
          <p:grpSpPr bwMode="auto">
            <a:xfrm>
              <a:off x="8191261" y="3684637"/>
              <a:ext cx="37465" cy="37465"/>
              <a:chOff x="8437682" y="4125433"/>
              <a:chExt cx="37465" cy="37465"/>
            </a:xfrm>
          </p:grpSpPr>
          <p:cxnSp>
            <p:nvCxnSpPr>
              <p:cNvPr id="363" name="Straight Connector 1302"/>
              <p:cNvCxnSpPr/>
              <p:nvPr/>
            </p:nvCxnSpPr>
            <p:spPr>
              <a:xfrm>
                <a:off x="8456147" y="4125538"/>
                <a:ext cx="0" cy="37560"/>
              </a:xfrm>
              <a:prstGeom prst="line">
                <a:avLst/>
              </a:prstGeom>
              <a:noFill/>
              <a:ln w="9525" cap="rnd" cmpd="sng" algn="ctr">
                <a:solidFill>
                  <a:sysClr val="windowText" lastClr="000000"/>
                </a:solidFill>
                <a:prstDash val="solid"/>
              </a:ln>
              <a:effectLst/>
            </p:spPr>
          </p:cxnSp>
          <p:cxnSp>
            <p:nvCxnSpPr>
              <p:cNvPr id="364" name="Straight Connector 1303"/>
              <p:cNvCxnSpPr/>
              <p:nvPr/>
            </p:nvCxnSpPr>
            <p:spPr>
              <a:xfrm rot="16200000">
                <a:off x="8456147" y="4126127"/>
                <a:ext cx="0" cy="37679"/>
              </a:xfrm>
              <a:prstGeom prst="line">
                <a:avLst/>
              </a:prstGeom>
              <a:noFill/>
              <a:ln w="9525" cap="rnd" cmpd="sng" algn="ctr">
                <a:solidFill>
                  <a:sysClr val="windowText" lastClr="000000"/>
                </a:solidFill>
                <a:prstDash val="solid"/>
              </a:ln>
              <a:effectLst/>
            </p:spPr>
          </p:cxnSp>
        </p:grpSp>
        <p:grpSp>
          <p:nvGrpSpPr>
            <p:cNvPr id="129" name="Group 1304"/>
            <p:cNvGrpSpPr>
              <a:grpSpLocks/>
            </p:cNvGrpSpPr>
            <p:nvPr/>
          </p:nvGrpSpPr>
          <p:grpSpPr bwMode="auto">
            <a:xfrm>
              <a:off x="8212613" y="3720604"/>
              <a:ext cx="37465" cy="37465"/>
              <a:chOff x="8437682" y="4125433"/>
              <a:chExt cx="37465" cy="37465"/>
            </a:xfrm>
          </p:grpSpPr>
          <p:cxnSp>
            <p:nvCxnSpPr>
              <p:cNvPr id="361" name="Straight Connector 1305"/>
              <p:cNvCxnSpPr/>
              <p:nvPr/>
            </p:nvCxnSpPr>
            <p:spPr>
              <a:xfrm>
                <a:off x="8456774" y="4125836"/>
                <a:ext cx="0" cy="37560"/>
              </a:xfrm>
              <a:prstGeom prst="line">
                <a:avLst/>
              </a:prstGeom>
              <a:noFill/>
              <a:ln w="9525" cap="rnd" cmpd="sng" algn="ctr">
                <a:solidFill>
                  <a:sysClr val="windowText" lastClr="000000"/>
                </a:solidFill>
                <a:prstDash val="solid"/>
              </a:ln>
              <a:effectLst/>
            </p:spPr>
          </p:cxnSp>
          <p:cxnSp>
            <p:nvCxnSpPr>
              <p:cNvPr id="362" name="Straight Connector 1306"/>
              <p:cNvCxnSpPr/>
              <p:nvPr/>
            </p:nvCxnSpPr>
            <p:spPr>
              <a:xfrm rot="16200000">
                <a:off x="8456774" y="4126424"/>
                <a:ext cx="0" cy="37679"/>
              </a:xfrm>
              <a:prstGeom prst="line">
                <a:avLst/>
              </a:prstGeom>
              <a:noFill/>
              <a:ln w="9525" cap="rnd" cmpd="sng" algn="ctr">
                <a:solidFill>
                  <a:sysClr val="windowText" lastClr="000000"/>
                </a:solidFill>
                <a:prstDash val="solid"/>
              </a:ln>
              <a:effectLst/>
            </p:spPr>
          </p:cxnSp>
        </p:grpSp>
        <p:grpSp>
          <p:nvGrpSpPr>
            <p:cNvPr id="130" name="Group 1307"/>
            <p:cNvGrpSpPr>
              <a:grpSpLocks/>
            </p:cNvGrpSpPr>
            <p:nvPr/>
          </p:nvGrpSpPr>
          <p:grpSpPr bwMode="auto">
            <a:xfrm>
              <a:off x="8231584" y="3720856"/>
              <a:ext cx="37465" cy="37465"/>
              <a:chOff x="8437682" y="4125433"/>
              <a:chExt cx="37465" cy="37465"/>
            </a:xfrm>
          </p:grpSpPr>
          <p:cxnSp>
            <p:nvCxnSpPr>
              <p:cNvPr id="359" name="Straight Connector 1308"/>
              <p:cNvCxnSpPr/>
              <p:nvPr/>
            </p:nvCxnSpPr>
            <p:spPr>
              <a:xfrm>
                <a:off x="8456643" y="4125584"/>
                <a:ext cx="0" cy="37560"/>
              </a:xfrm>
              <a:prstGeom prst="line">
                <a:avLst/>
              </a:prstGeom>
              <a:noFill/>
              <a:ln w="9525" cap="rnd" cmpd="sng" algn="ctr">
                <a:solidFill>
                  <a:sysClr val="windowText" lastClr="000000"/>
                </a:solidFill>
                <a:prstDash val="solid"/>
              </a:ln>
              <a:effectLst/>
            </p:spPr>
          </p:cxnSp>
          <p:cxnSp>
            <p:nvCxnSpPr>
              <p:cNvPr id="360" name="Straight Connector 1309"/>
              <p:cNvCxnSpPr/>
              <p:nvPr/>
            </p:nvCxnSpPr>
            <p:spPr>
              <a:xfrm rot="16200000">
                <a:off x="8456643" y="4126172"/>
                <a:ext cx="0" cy="37679"/>
              </a:xfrm>
              <a:prstGeom prst="line">
                <a:avLst/>
              </a:prstGeom>
              <a:noFill/>
              <a:ln w="9525" cap="rnd" cmpd="sng" algn="ctr">
                <a:solidFill>
                  <a:sysClr val="windowText" lastClr="000000"/>
                </a:solidFill>
                <a:prstDash val="solid"/>
              </a:ln>
              <a:effectLst/>
            </p:spPr>
          </p:cxnSp>
        </p:grpSp>
        <p:grpSp>
          <p:nvGrpSpPr>
            <p:cNvPr id="131" name="Group 1310"/>
            <p:cNvGrpSpPr>
              <a:grpSpLocks/>
            </p:cNvGrpSpPr>
            <p:nvPr/>
          </p:nvGrpSpPr>
          <p:grpSpPr bwMode="auto">
            <a:xfrm>
              <a:off x="8241031" y="3718727"/>
              <a:ext cx="37465" cy="37465"/>
              <a:chOff x="8437682" y="4125433"/>
              <a:chExt cx="37465" cy="37465"/>
            </a:xfrm>
          </p:grpSpPr>
          <p:cxnSp>
            <p:nvCxnSpPr>
              <p:cNvPr id="357" name="Straight Connector 1311"/>
              <p:cNvCxnSpPr/>
              <p:nvPr/>
            </p:nvCxnSpPr>
            <p:spPr>
              <a:xfrm>
                <a:off x="8456616" y="4125122"/>
                <a:ext cx="0" cy="37560"/>
              </a:xfrm>
              <a:prstGeom prst="line">
                <a:avLst/>
              </a:prstGeom>
              <a:noFill/>
              <a:ln w="9525" cap="rnd" cmpd="sng" algn="ctr">
                <a:solidFill>
                  <a:sysClr val="windowText" lastClr="000000"/>
                </a:solidFill>
                <a:prstDash val="solid"/>
              </a:ln>
              <a:effectLst/>
            </p:spPr>
          </p:cxnSp>
          <p:cxnSp>
            <p:nvCxnSpPr>
              <p:cNvPr id="358" name="Straight Connector 1312"/>
              <p:cNvCxnSpPr/>
              <p:nvPr/>
            </p:nvCxnSpPr>
            <p:spPr>
              <a:xfrm rot="16200000">
                <a:off x="8456616" y="4125710"/>
                <a:ext cx="0" cy="37679"/>
              </a:xfrm>
              <a:prstGeom prst="line">
                <a:avLst/>
              </a:prstGeom>
              <a:noFill/>
              <a:ln w="9525" cap="rnd" cmpd="sng" algn="ctr">
                <a:solidFill>
                  <a:sysClr val="windowText" lastClr="000000"/>
                </a:solidFill>
                <a:prstDash val="solid"/>
              </a:ln>
              <a:effectLst/>
            </p:spPr>
          </p:cxnSp>
        </p:grpSp>
        <p:grpSp>
          <p:nvGrpSpPr>
            <p:cNvPr id="132" name="Group 1313"/>
            <p:cNvGrpSpPr>
              <a:grpSpLocks/>
            </p:cNvGrpSpPr>
            <p:nvPr/>
          </p:nvGrpSpPr>
          <p:grpSpPr bwMode="auto">
            <a:xfrm>
              <a:off x="8267145" y="3718979"/>
              <a:ext cx="37465" cy="37465"/>
              <a:chOff x="8437682" y="4125433"/>
              <a:chExt cx="37465" cy="37465"/>
            </a:xfrm>
          </p:grpSpPr>
          <p:cxnSp>
            <p:nvCxnSpPr>
              <p:cNvPr id="355" name="Straight Connector 1314"/>
              <p:cNvCxnSpPr/>
              <p:nvPr/>
            </p:nvCxnSpPr>
            <p:spPr>
              <a:xfrm>
                <a:off x="8456667" y="4124870"/>
                <a:ext cx="0" cy="37560"/>
              </a:xfrm>
              <a:prstGeom prst="line">
                <a:avLst/>
              </a:prstGeom>
              <a:noFill/>
              <a:ln w="9525" cap="rnd" cmpd="sng" algn="ctr">
                <a:solidFill>
                  <a:sysClr val="windowText" lastClr="000000"/>
                </a:solidFill>
                <a:prstDash val="solid"/>
              </a:ln>
              <a:effectLst/>
            </p:spPr>
          </p:cxnSp>
          <p:cxnSp>
            <p:nvCxnSpPr>
              <p:cNvPr id="356" name="Straight Connector 1315"/>
              <p:cNvCxnSpPr/>
              <p:nvPr/>
            </p:nvCxnSpPr>
            <p:spPr>
              <a:xfrm rot="16200000">
                <a:off x="8456667" y="4125458"/>
                <a:ext cx="0" cy="37679"/>
              </a:xfrm>
              <a:prstGeom prst="line">
                <a:avLst/>
              </a:prstGeom>
              <a:noFill/>
              <a:ln w="9525" cap="rnd" cmpd="sng" algn="ctr">
                <a:solidFill>
                  <a:sysClr val="windowText" lastClr="000000"/>
                </a:solidFill>
                <a:prstDash val="solid"/>
              </a:ln>
              <a:effectLst/>
            </p:spPr>
          </p:cxnSp>
        </p:grpSp>
        <p:grpSp>
          <p:nvGrpSpPr>
            <p:cNvPr id="133" name="Group 1316"/>
            <p:cNvGrpSpPr>
              <a:grpSpLocks/>
            </p:cNvGrpSpPr>
            <p:nvPr/>
          </p:nvGrpSpPr>
          <p:grpSpPr bwMode="auto">
            <a:xfrm>
              <a:off x="8300402" y="3719231"/>
              <a:ext cx="37465" cy="37465"/>
              <a:chOff x="8437682" y="4125433"/>
              <a:chExt cx="37465" cy="37465"/>
            </a:xfrm>
          </p:grpSpPr>
          <p:cxnSp>
            <p:nvCxnSpPr>
              <p:cNvPr id="353" name="Straight Connector 1317"/>
              <p:cNvCxnSpPr/>
              <p:nvPr/>
            </p:nvCxnSpPr>
            <p:spPr>
              <a:xfrm>
                <a:off x="8456902" y="4125914"/>
                <a:ext cx="0" cy="37559"/>
              </a:xfrm>
              <a:prstGeom prst="line">
                <a:avLst/>
              </a:prstGeom>
              <a:noFill/>
              <a:ln w="9525" cap="rnd" cmpd="sng" algn="ctr">
                <a:solidFill>
                  <a:sysClr val="windowText" lastClr="000000"/>
                </a:solidFill>
                <a:prstDash val="solid"/>
              </a:ln>
              <a:effectLst/>
            </p:spPr>
          </p:cxnSp>
          <p:cxnSp>
            <p:nvCxnSpPr>
              <p:cNvPr id="354" name="Straight Connector 1318"/>
              <p:cNvCxnSpPr/>
              <p:nvPr/>
            </p:nvCxnSpPr>
            <p:spPr>
              <a:xfrm rot="16200000">
                <a:off x="8456380" y="4127024"/>
                <a:ext cx="0" cy="36632"/>
              </a:xfrm>
              <a:prstGeom prst="line">
                <a:avLst/>
              </a:prstGeom>
              <a:noFill/>
              <a:ln w="9525" cap="rnd" cmpd="sng" algn="ctr">
                <a:solidFill>
                  <a:sysClr val="windowText" lastClr="000000"/>
                </a:solidFill>
                <a:prstDash val="solid"/>
              </a:ln>
              <a:effectLst/>
            </p:spPr>
          </p:cxnSp>
        </p:grpSp>
        <p:grpSp>
          <p:nvGrpSpPr>
            <p:cNvPr id="134" name="Group 1319"/>
            <p:cNvGrpSpPr>
              <a:grpSpLocks/>
            </p:cNvGrpSpPr>
            <p:nvPr/>
          </p:nvGrpSpPr>
          <p:grpSpPr bwMode="auto">
            <a:xfrm>
              <a:off x="8316992" y="3776627"/>
              <a:ext cx="37465" cy="37465"/>
              <a:chOff x="8437682" y="4125433"/>
              <a:chExt cx="37465" cy="37465"/>
            </a:xfrm>
          </p:grpSpPr>
          <p:cxnSp>
            <p:nvCxnSpPr>
              <p:cNvPr id="351" name="Straight Connector 1320"/>
              <p:cNvCxnSpPr/>
              <p:nvPr/>
            </p:nvCxnSpPr>
            <p:spPr>
              <a:xfrm>
                <a:off x="8456012" y="4125505"/>
                <a:ext cx="0" cy="37559"/>
              </a:xfrm>
              <a:prstGeom prst="line">
                <a:avLst/>
              </a:prstGeom>
              <a:noFill/>
              <a:ln w="9525" cap="rnd" cmpd="sng" algn="ctr">
                <a:solidFill>
                  <a:sysClr val="windowText" lastClr="000000"/>
                </a:solidFill>
                <a:prstDash val="solid"/>
              </a:ln>
              <a:effectLst/>
            </p:spPr>
          </p:cxnSp>
          <p:cxnSp>
            <p:nvCxnSpPr>
              <p:cNvPr id="352" name="Straight Connector 1321"/>
              <p:cNvCxnSpPr/>
              <p:nvPr/>
            </p:nvCxnSpPr>
            <p:spPr>
              <a:xfrm rot="16200000">
                <a:off x="8456012" y="4126092"/>
                <a:ext cx="0" cy="37679"/>
              </a:xfrm>
              <a:prstGeom prst="line">
                <a:avLst/>
              </a:prstGeom>
              <a:noFill/>
              <a:ln w="9525" cap="rnd" cmpd="sng" algn="ctr">
                <a:solidFill>
                  <a:sysClr val="windowText" lastClr="000000"/>
                </a:solidFill>
                <a:prstDash val="solid"/>
              </a:ln>
              <a:effectLst/>
            </p:spPr>
          </p:cxnSp>
        </p:grpSp>
        <p:grpSp>
          <p:nvGrpSpPr>
            <p:cNvPr id="135" name="Group 1322"/>
            <p:cNvGrpSpPr>
              <a:grpSpLocks/>
            </p:cNvGrpSpPr>
            <p:nvPr/>
          </p:nvGrpSpPr>
          <p:grpSpPr bwMode="auto">
            <a:xfrm>
              <a:off x="8545491" y="3853071"/>
              <a:ext cx="37465" cy="37465"/>
              <a:chOff x="8437682" y="4125433"/>
              <a:chExt cx="37465" cy="37465"/>
            </a:xfrm>
          </p:grpSpPr>
          <p:cxnSp>
            <p:nvCxnSpPr>
              <p:cNvPr id="349" name="Straight Connector 1323"/>
              <p:cNvCxnSpPr/>
              <p:nvPr/>
            </p:nvCxnSpPr>
            <p:spPr>
              <a:xfrm>
                <a:off x="8456724" y="4125475"/>
                <a:ext cx="0" cy="37560"/>
              </a:xfrm>
              <a:prstGeom prst="line">
                <a:avLst/>
              </a:prstGeom>
              <a:noFill/>
              <a:ln w="9525" cap="rnd" cmpd="sng" algn="ctr">
                <a:solidFill>
                  <a:sysClr val="windowText" lastClr="000000"/>
                </a:solidFill>
                <a:prstDash val="solid"/>
              </a:ln>
              <a:effectLst/>
            </p:spPr>
          </p:cxnSp>
          <p:cxnSp>
            <p:nvCxnSpPr>
              <p:cNvPr id="350" name="Straight Connector 1324"/>
              <p:cNvCxnSpPr/>
              <p:nvPr/>
            </p:nvCxnSpPr>
            <p:spPr>
              <a:xfrm rot="16200000">
                <a:off x="8456724" y="4126063"/>
                <a:ext cx="0" cy="37679"/>
              </a:xfrm>
              <a:prstGeom prst="line">
                <a:avLst/>
              </a:prstGeom>
              <a:noFill/>
              <a:ln w="9525" cap="rnd" cmpd="sng" algn="ctr">
                <a:solidFill>
                  <a:sysClr val="windowText" lastClr="000000"/>
                </a:solidFill>
                <a:prstDash val="solid"/>
              </a:ln>
              <a:effectLst/>
            </p:spPr>
          </p:cxnSp>
        </p:grpSp>
        <p:grpSp>
          <p:nvGrpSpPr>
            <p:cNvPr id="136" name="Group 1325"/>
            <p:cNvGrpSpPr>
              <a:grpSpLocks/>
            </p:cNvGrpSpPr>
            <p:nvPr/>
          </p:nvGrpSpPr>
          <p:grpSpPr bwMode="auto">
            <a:xfrm>
              <a:off x="7541012" y="3185614"/>
              <a:ext cx="37465" cy="37465"/>
              <a:chOff x="8437682" y="4125433"/>
              <a:chExt cx="37465" cy="37465"/>
            </a:xfrm>
          </p:grpSpPr>
          <p:cxnSp>
            <p:nvCxnSpPr>
              <p:cNvPr id="347" name="Straight Connector 1326"/>
              <p:cNvCxnSpPr/>
              <p:nvPr/>
            </p:nvCxnSpPr>
            <p:spPr>
              <a:xfrm>
                <a:off x="8456442" y="4125925"/>
                <a:ext cx="0" cy="37559"/>
              </a:xfrm>
              <a:prstGeom prst="line">
                <a:avLst/>
              </a:prstGeom>
              <a:noFill/>
              <a:ln w="9525" cap="rnd" cmpd="sng" algn="ctr">
                <a:solidFill>
                  <a:sysClr val="windowText" lastClr="000000"/>
                </a:solidFill>
                <a:prstDash val="solid"/>
              </a:ln>
              <a:effectLst/>
            </p:spPr>
          </p:cxnSp>
          <p:cxnSp>
            <p:nvCxnSpPr>
              <p:cNvPr id="348" name="Straight Connector 1327"/>
              <p:cNvCxnSpPr/>
              <p:nvPr/>
            </p:nvCxnSpPr>
            <p:spPr>
              <a:xfrm rot="16200000">
                <a:off x="8456442" y="4126512"/>
                <a:ext cx="0" cy="37679"/>
              </a:xfrm>
              <a:prstGeom prst="line">
                <a:avLst/>
              </a:prstGeom>
              <a:noFill/>
              <a:ln w="9525" cap="rnd" cmpd="sng" algn="ctr">
                <a:solidFill>
                  <a:sysClr val="windowText" lastClr="000000"/>
                </a:solidFill>
                <a:prstDash val="solid"/>
              </a:ln>
              <a:effectLst/>
            </p:spPr>
          </p:cxnSp>
        </p:grpSp>
        <p:grpSp>
          <p:nvGrpSpPr>
            <p:cNvPr id="137" name="Group 1328"/>
            <p:cNvGrpSpPr>
              <a:grpSpLocks/>
            </p:cNvGrpSpPr>
            <p:nvPr/>
          </p:nvGrpSpPr>
          <p:grpSpPr bwMode="auto">
            <a:xfrm>
              <a:off x="7548171" y="3190392"/>
              <a:ext cx="37465" cy="37465"/>
              <a:chOff x="8437682" y="4125433"/>
              <a:chExt cx="37465" cy="37465"/>
            </a:xfrm>
          </p:grpSpPr>
          <p:cxnSp>
            <p:nvCxnSpPr>
              <p:cNvPr id="345" name="Straight Connector 1329"/>
              <p:cNvCxnSpPr/>
              <p:nvPr/>
            </p:nvCxnSpPr>
            <p:spPr>
              <a:xfrm>
                <a:off x="8456610" y="4125032"/>
                <a:ext cx="0" cy="37560"/>
              </a:xfrm>
              <a:prstGeom prst="line">
                <a:avLst/>
              </a:prstGeom>
              <a:noFill/>
              <a:ln w="9525" cap="rnd" cmpd="sng" algn="ctr">
                <a:solidFill>
                  <a:sysClr val="windowText" lastClr="000000"/>
                </a:solidFill>
                <a:prstDash val="solid"/>
              </a:ln>
              <a:effectLst/>
            </p:spPr>
          </p:cxnSp>
          <p:cxnSp>
            <p:nvCxnSpPr>
              <p:cNvPr id="346" name="Straight Connector 1330"/>
              <p:cNvCxnSpPr/>
              <p:nvPr/>
            </p:nvCxnSpPr>
            <p:spPr>
              <a:xfrm rot="16200000">
                <a:off x="8456610" y="4125621"/>
                <a:ext cx="0" cy="37679"/>
              </a:xfrm>
              <a:prstGeom prst="line">
                <a:avLst/>
              </a:prstGeom>
              <a:noFill/>
              <a:ln w="9525" cap="rnd" cmpd="sng" algn="ctr">
                <a:solidFill>
                  <a:sysClr val="windowText" lastClr="000000"/>
                </a:solidFill>
                <a:prstDash val="solid"/>
              </a:ln>
              <a:effectLst/>
            </p:spPr>
          </p:cxnSp>
        </p:grpSp>
        <p:grpSp>
          <p:nvGrpSpPr>
            <p:cNvPr id="138" name="Group 1331"/>
            <p:cNvGrpSpPr>
              <a:grpSpLocks/>
            </p:cNvGrpSpPr>
            <p:nvPr/>
          </p:nvGrpSpPr>
          <p:grpSpPr bwMode="auto">
            <a:xfrm>
              <a:off x="7562473" y="3190408"/>
              <a:ext cx="37465" cy="37465"/>
              <a:chOff x="8437682" y="4125433"/>
              <a:chExt cx="37465" cy="37465"/>
            </a:xfrm>
          </p:grpSpPr>
          <p:cxnSp>
            <p:nvCxnSpPr>
              <p:cNvPr id="343" name="Straight Connector 1332"/>
              <p:cNvCxnSpPr/>
              <p:nvPr/>
            </p:nvCxnSpPr>
            <p:spPr>
              <a:xfrm>
                <a:off x="8456960" y="4125016"/>
                <a:ext cx="0" cy="37560"/>
              </a:xfrm>
              <a:prstGeom prst="line">
                <a:avLst/>
              </a:prstGeom>
              <a:noFill/>
              <a:ln w="9525" cap="rnd" cmpd="sng" algn="ctr">
                <a:solidFill>
                  <a:sysClr val="windowText" lastClr="000000"/>
                </a:solidFill>
                <a:prstDash val="solid"/>
              </a:ln>
              <a:effectLst/>
            </p:spPr>
          </p:cxnSp>
          <p:cxnSp>
            <p:nvCxnSpPr>
              <p:cNvPr id="344" name="Straight Connector 1333"/>
              <p:cNvCxnSpPr/>
              <p:nvPr/>
            </p:nvCxnSpPr>
            <p:spPr>
              <a:xfrm rot="16200000">
                <a:off x="8456437" y="4126128"/>
                <a:ext cx="0" cy="36632"/>
              </a:xfrm>
              <a:prstGeom prst="line">
                <a:avLst/>
              </a:prstGeom>
              <a:noFill/>
              <a:ln w="9525" cap="rnd" cmpd="sng" algn="ctr">
                <a:solidFill>
                  <a:sysClr val="windowText" lastClr="000000"/>
                </a:solidFill>
                <a:prstDash val="solid"/>
              </a:ln>
              <a:effectLst/>
            </p:spPr>
          </p:cxnSp>
        </p:grpSp>
        <p:grpSp>
          <p:nvGrpSpPr>
            <p:cNvPr id="139" name="Group 1334"/>
            <p:cNvGrpSpPr>
              <a:grpSpLocks/>
            </p:cNvGrpSpPr>
            <p:nvPr/>
          </p:nvGrpSpPr>
          <p:grpSpPr bwMode="auto">
            <a:xfrm>
              <a:off x="7576775" y="3192805"/>
              <a:ext cx="37465" cy="37465"/>
              <a:chOff x="8437682" y="4125433"/>
              <a:chExt cx="37465" cy="37465"/>
            </a:xfrm>
          </p:grpSpPr>
          <p:cxnSp>
            <p:nvCxnSpPr>
              <p:cNvPr id="341" name="Straight Connector 1335"/>
              <p:cNvCxnSpPr/>
              <p:nvPr/>
            </p:nvCxnSpPr>
            <p:spPr>
              <a:xfrm>
                <a:off x="8456264" y="4125209"/>
                <a:ext cx="0" cy="37560"/>
              </a:xfrm>
              <a:prstGeom prst="line">
                <a:avLst/>
              </a:prstGeom>
              <a:noFill/>
              <a:ln w="9525" cap="rnd" cmpd="sng" algn="ctr">
                <a:solidFill>
                  <a:sysClr val="windowText" lastClr="000000"/>
                </a:solidFill>
                <a:prstDash val="solid"/>
              </a:ln>
              <a:effectLst/>
            </p:spPr>
          </p:cxnSp>
          <p:cxnSp>
            <p:nvCxnSpPr>
              <p:cNvPr id="342" name="Straight Connector 1336"/>
              <p:cNvCxnSpPr/>
              <p:nvPr/>
            </p:nvCxnSpPr>
            <p:spPr>
              <a:xfrm rot="16200000">
                <a:off x="8456264" y="4125798"/>
                <a:ext cx="0" cy="37679"/>
              </a:xfrm>
              <a:prstGeom prst="line">
                <a:avLst/>
              </a:prstGeom>
              <a:noFill/>
              <a:ln w="9525" cap="rnd" cmpd="sng" algn="ctr">
                <a:solidFill>
                  <a:sysClr val="windowText" lastClr="000000"/>
                </a:solidFill>
                <a:prstDash val="solid"/>
              </a:ln>
              <a:effectLst/>
            </p:spPr>
          </p:cxnSp>
        </p:grpSp>
        <p:grpSp>
          <p:nvGrpSpPr>
            <p:cNvPr id="140" name="Group 1337"/>
            <p:cNvGrpSpPr>
              <a:grpSpLocks/>
            </p:cNvGrpSpPr>
            <p:nvPr/>
          </p:nvGrpSpPr>
          <p:grpSpPr bwMode="auto">
            <a:xfrm>
              <a:off x="7591077" y="3214250"/>
              <a:ext cx="37465" cy="37465"/>
              <a:chOff x="8437682" y="4125433"/>
              <a:chExt cx="37465" cy="37465"/>
            </a:xfrm>
          </p:grpSpPr>
          <p:cxnSp>
            <p:nvCxnSpPr>
              <p:cNvPr id="339" name="Straight Connector 1338"/>
              <p:cNvCxnSpPr/>
              <p:nvPr/>
            </p:nvCxnSpPr>
            <p:spPr>
              <a:xfrm>
                <a:off x="8456615" y="4125782"/>
                <a:ext cx="0" cy="37559"/>
              </a:xfrm>
              <a:prstGeom prst="line">
                <a:avLst/>
              </a:prstGeom>
              <a:noFill/>
              <a:ln w="9525" cap="rnd" cmpd="sng" algn="ctr">
                <a:solidFill>
                  <a:sysClr val="windowText" lastClr="000000"/>
                </a:solidFill>
                <a:prstDash val="solid"/>
              </a:ln>
              <a:effectLst/>
            </p:spPr>
          </p:cxnSp>
          <p:cxnSp>
            <p:nvCxnSpPr>
              <p:cNvPr id="340" name="Straight Connector 1339"/>
              <p:cNvCxnSpPr/>
              <p:nvPr/>
            </p:nvCxnSpPr>
            <p:spPr>
              <a:xfrm rot="16200000">
                <a:off x="8456615" y="4126370"/>
                <a:ext cx="0" cy="37679"/>
              </a:xfrm>
              <a:prstGeom prst="line">
                <a:avLst/>
              </a:prstGeom>
              <a:noFill/>
              <a:ln w="9525" cap="rnd" cmpd="sng" algn="ctr">
                <a:solidFill>
                  <a:sysClr val="windowText" lastClr="000000"/>
                </a:solidFill>
                <a:prstDash val="solid"/>
              </a:ln>
              <a:effectLst/>
            </p:spPr>
          </p:cxnSp>
        </p:grpSp>
        <p:grpSp>
          <p:nvGrpSpPr>
            <p:cNvPr id="141" name="Group 1340"/>
            <p:cNvGrpSpPr>
              <a:grpSpLocks/>
            </p:cNvGrpSpPr>
            <p:nvPr/>
          </p:nvGrpSpPr>
          <p:grpSpPr bwMode="auto">
            <a:xfrm>
              <a:off x="7598236" y="3214266"/>
              <a:ext cx="37465" cy="37465"/>
              <a:chOff x="8437682" y="4125433"/>
              <a:chExt cx="37465" cy="37465"/>
            </a:xfrm>
          </p:grpSpPr>
          <p:cxnSp>
            <p:nvCxnSpPr>
              <p:cNvPr id="337" name="Straight Connector 1341"/>
              <p:cNvCxnSpPr/>
              <p:nvPr/>
            </p:nvCxnSpPr>
            <p:spPr>
              <a:xfrm>
                <a:off x="8456783" y="4125767"/>
                <a:ext cx="0" cy="37559"/>
              </a:xfrm>
              <a:prstGeom prst="line">
                <a:avLst/>
              </a:prstGeom>
              <a:noFill/>
              <a:ln w="9525" cap="rnd" cmpd="sng" algn="ctr">
                <a:solidFill>
                  <a:sysClr val="windowText" lastClr="000000"/>
                </a:solidFill>
                <a:prstDash val="solid"/>
              </a:ln>
              <a:effectLst/>
            </p:spPr>
          </p:cxnSp>
          <p:cxnSp>
            <p:nvCxnSpPr>
              <p:cNvPr id="338" name="Straight Connector 1342"/>
              <p:cNvCxnSpPr/>
              <p:nvPr/>
            </p:nvCxnSpPr>
            <p:spPr>
              <a:xfrm rot="16200000">
                <a:off x="8456783" y="4126354"/>
                <a:ext cx="0" cy="37679"/>
              </a:xfrm>
              <a:prstGeom prst="line">
                <a:avLst/>
              </a:prstGeom>
              <a:noFill/>
              <a:ln w="9525" cap="rnd" cmpd="sng" algn="ctr">
                <a:solidFill>
                  <a:sysClr val="windowText" lastClr="000000"/>
                </a:solidFill>
                <a:prstDash val="solid"/>
              </a:ln>
              <a:effectLst/>
            </p:spPr>
          </p:cxnSp>
        </p:grpSp>
        <p:grpSp>
          <p:nvGrpSpPr>
            <p:cNvPr id="142" name="Group 1343"/>
            <p:cNvGrpSpPr>
              <a:grpSpLocks/>
            </p:cNvGrpSpPr>
            <p:nvPr/>
          </p:nvGrpSpPr>
          <p:grpSpPr bwMode="auto">
            <a:xfrm>
              <a:off x="7622062" y="3235711"/>
              <a:ext cx="37465" cy="37465"/>
              <a:chOff x="8437682" y="4125433"/>
              <a:chExt cx="37465" cy="37465"/>
            </a:xfrm>
          </p:grpSpPr>
          <p:cxnSp>
            <p:nvCxnSpPr>
              <p:cNvPr id="335" name="Straight Connector 1344"/>
              <p:cNvCxnSpPr/>
              <p:nvPr/>
            </p:nvCxnSpPr>
            <p:spPr>
              <a:xfrm>
                <a:off x="8457029" y="4125044"/>
                <a:ext cx="0" cy="37559"/>
              </a:xfrm>
              <a:prstGeom prst="line">
                <a:avLst/>
              </a:prstGeom>
              <a:noFill/>
              <a:ln w="9525" cap="rnd" cmpd="sng" algn="ctr">
                <a:solidFill>
                  <a:sysClr val="windowText" lastClr="000000"/>
                </a:solidFill>
                <a:prstDash val="solid"/>
              </a:ln>
              <a:effectLst/>
            </p:spPr>
          </p:cxnSp>
          <p:cxnSp>
            <p:nvCxnSpPr>
              <p:cNvPr id="336" name="Straight Connector 1345"/>
              <p:cNvCxnSpPr/>
              <p:nvPr/>
            </p:nvCxnSpPr>
            <p:spPr>
              <a:xfrm rot="16200000">
                <a:off x="8456506" y="4126154"/>
                <a:ext cx="0" cy="36632"/>
              </a:xfrm>
              <a:prstGeom prst="line">
                <a:avLst/>
              </a:prstGeom>
              <a:noFill/>
              <a:ln w="9525" cap="rnd" cmpd="sng" algn="ctr">
                <a:solidFill>
                  <a:sysClr val="windowText" lastClr="000000"/>
                </a:solidFill>
                <a:prstDash val="solid"/>
              </a:ln>
              <a:effectLst/>
            </p:spPr>
          </p:cxnSp>
        </p:grpSp>
        <p:grpSp>
          <p:nvGrpSpPr>
            <p:cNvPr id="143" name="Group 1346"/>
            <p:cNvGrpSpPr>
              <a:grpSpLocks/>
            </p:cNvGrpSpPr>
            <p:nvPr/>
          </p:nvGrpSpPr>
          <p:grpSpPr bwMode="auto">
            <a:xfrm>
              <a:off x="7645888" y="3266680"/>
              <a:ext cx="37465" cy="37465"/>
              <a:chOff x="8437682" y="4125433"/>
              <a:chExt cx="37465" cy="37465"/>
            </a:xfrm>
          </p:grpSpPr>
          <p:cxnSp>
            <p:nvCxnSpPr>
              <p:cNvPr id="333" name="Straight Connector 1347"/>
              <p:cNvCxnSpPr/>
              <p:nvPr/>
            </p:nvCxnSpPr>
            <p:spPr>
              <a:xfrm>
                <a:off x="8456229" y="4125159"/>
                <a:ext cx="0" cy="37559"/>
              </a:xfrm>
              <a:prstGeom prst="line">
                <a:avLst/>
              </a:prstGeom>
              <a:noFill/>
              <a:ln w="9525" cap="rnd" cmpd="sng" algn="ctr">
                <a:solidFill>
                  <a:sysClr val="windowText" lastClr="000000"/>
                </a:solidFill>
                <a:prstDash val="solid"/>
              </a:ln>
              <a:effectLst/>
            </p:spPr>
          </p:cxnSp>
          <p:cxnSp>
            <p:nvCxnSpPr>
              <p:cNvPr id="334" name="Straight Connector 1348"/>
              <p:cNvCxnSpPr/>
              <p:nvPr/>
            </p:nvCxnSpPr>
            <p:spPr>
              <a:xfrm rot="16200000">
                <a:off x="8456229" y="4125746"/>
                <a:ext cx="0" cy="37679"/>
              </a:xfrm>
              <a:prstGeom prst="line">
                <a:avLst/>
              </a:prstGeom>
              <a:noFill/>
              <a:ln w="9525" cap="rnd" cmpd="sng" algn="ctr">
                <a:solidFill>
                  <a:sysClr val="windowText" lastClr="000000"/>
                </a:solidFill>
                <a:prstDash val="solid"/>
              </a:ln>
              <a:effectLst/>
            </p:spPr>
          </p:cxnSp>
        </p:grpSp>
        <p:grpSp>
          <p:nvGrpSpPr>
            <p:cNvPr id="144" name="Group 1349"/>
            <p:cNvGrpSpPr>
              <a:grpSpLocks/>
            </p:cNvGrpSpPr>
            <p:nvPr/>
          </p:nvGrpSpPr>
          <p:grpSpPr bwMode="auto">
            <a:xfrm>
              <a:off x="7655428" y="3271458"/>
              <a:ext cx="37465" cy="37465"/>
              <a:chOff x="8437682" y="4125433"/>
              <a:chExt cx="37465" cy="37465"/>
            </a:xfrm>
          </p:grpSpPr>
          <p:cxnSp>
            <p:nvCxnSpPr>
              <p:cNvPr id="331" name="Straight Connector 1350"/>
              <p:cNvCxnSpPr/>
              <p:nvPr/>
            </p:nvCxnSpPr>
            <p:spPr>
              <a:xfrm>
                <a:off x="8456109" y="4125562"/>
                <a:ext cx="0" cy="37559"/>
              </a:xfrm>
              <a:prstGeom prst="line">
                <a:avLst/>
              </a:prstGeom>
              <a:noFill/>
              <a:ln w="9525" cap="rnd" cmpd="sng" algn="ctr">
                <a:solidFill>
                  <a:sysClr val="windowText" lastClr="000000"/>
                </a:solidFill>
                <a:prstDash val="solid"/>
              </a:ln>
              <a:effectLst/>
            </p:spPr>
          </p:cxnSp>
          <p:cxnSp>
            <p:nvCxnSpPr>
              <p:cNvPr id="332" name="Straight Connector 1351"/>
              <p:cNvCxnSpPr/>
              <p:nvPr/>
            </p:nvCxnSpPr>
            <p:spPr>
              <a:xfrm rot="16200000">
                <a:off x="8456109" y="4126149"/>
                <a:ext cx="0" cy="37679"/>
              </a:xfrm>
              <a:prstGeom prst="line">
                <a:avLst/>
              </a:prstGeom>
              <a:noFill/>
              <a:ln w="9525" cap="rnd" cmpd="sng" algn="ctr">
                <a:solidFill>
                  <a:sysClr val="windowText" lastClr="000000"/>
                </a:solidFill>
                <a:prstDash val="solid"/>
              </a:ln>
              <a:effectLst/>
            </p:spPr>
          </p:cxnSp>
        </p:grpSp>
        <p:grpSp>
          <p:nvGrpSpPr>
            <p:cNvPr id="145" name="Group 1352"/>
            <p:cNvGrpSpPr>
              <a:grpSpLocks/>
            </p:cNvGrpSpPr>
            <p:nvPr/>
          </p:nvGrpSpPr>
          <p:grpSpPr bwMode="auto">
            <a:xfrm>
              <a:off x="7664968" y="3276236"/>
              <a:ext cx="37465" cy="37465"/>
              <a:chOff x="8437682" y="4125433"/>
              <a:chExt cx="37465" cy="37465"/>
            </a:xfrm>
          </p:grpSpPr>
          <p:cxnSp>
            <p:nvCxnSpPr>
              <p:cNvPr id="329" name="Straight Connector 1353"/>
              <p:cNvCxnSpPr/>
              <p:nvPr/>
            </p:nvCxnSpPr>
            <p:spPr>
              <a:xfrm>
                <a:off x="8457035" y="4125964"/>
                <a:ext cx="0" cy="37559"/>
              </a:xfrm>
              <a:prstGeom prst="line">
                <a:avLst/>
              </a:prstGeom>
              <a:noFill/>
              <a:ln w="9525" cap="rnd" cmpd="sng" algn="ctr">
                <a:solidFill>
                  <a:sysClr val="windowText" lastClr="000000"/>
                </a:solidFill>
                <a:prstDash val="solid"/>
              </a:ln>
              <a:effectLst/>
            </p:spPr>
          </p:cxnSp>
          <p:cxnSp>
            <p:nvCxnSpPr>
              <p:cNvPr id="330" name="Straight Connector 1354"/>
              <p:cNvCxnSpPr/>
              <p:nvPr/>
            </p:nvCxnSpPr>
            <p:spPr>
              <a:xfrm rot="16200000">
                <a:off x="8456511" y="4127075"/>
                <a:ext cx="0" cy="36632"/>
              </a:xfrm>
              <a:prstGeom prst="line">
                <a:avLst/>
              </a:prstGeom>
              <a:noFill/>
              <a:ln w="9525" cap="rnd" cmpd="sng" algn="ctr">
                <a:solidFill>
                  <a:sysClr val="windowText" lastClr="000000"/>
                </a:solidFill>
                <a:prstDash val="solid"/>
              </a:ln>
              <a:effectLst/>
            </p:spPr>
          </p:cxnSp>
        </p:grpSp>
        <p:grpSp>
          <p:nvGrpSpPr>
            <p:cNvPr id="146" name="Group 1355"/>
            <p:cNvGrpSpPr>
              <a:grpSpLocks/>
            </p:cNvGrpSpPr>
            <p:nvPr/>
          </p:nvGrpSpPr>
          <p:grpSpPr bwMode="auto">
            <a:xfrm>
              <a:off x="7676889" y="3281014"/>
              <a:ext cx="37465" cy="37465"/>
              <a:chOff x="8437682" y="4125433"/>
              <a:chExt cx="37465" cy="37465"/>
            </a:xfrm>
          </p:grpSpPr>
          <p:cxnSp>
            <p:nvCxnSpPr>
              <p:cNvPr id="327" name="Straight Connector 1356"/>
              <p:cNvCxnSpPr/>
              <p:nvPr/>
            </p:nvCxnSpPr>
            <p:spPr>
              <a:xfrm>
                <a:off x="8456626" y="4125072"/>
                <a:ext cx="0" cy="37560"/>
              </a:xfrm>
              <a:prstGeom prst="line">
                <a:avLst/>
              </a:prstGeom>
              <a:noFill/>
              <a:ln w="9525" cap="rnd" cmpd="sng" algn="ctr">
                <a:solidFill>
                  <a:sysClr val="windowText" lastClr="000000"/>
                </a:solidFill>
                <a:prstDash val="solid"/>
              </a:ln>
              <a:effectLst/>
            </p:spPr>
          </p:cxnSp>
          <p:cxnSp>
            <p:nvCxnSpPr>
              <p:cNvPr id="328" name="Straight Connector 1357"/>
              <p:cNvCxnSpPr/>
              <p:nvPr/>
            </p:nvCxnSpPr>
            <p:spPr>
              <a:xfrm rot="16200000">
                <a:off x="8456626" y="4125660"/>
                <a:ext cx="0" cy="37679"/>
              </a:xfrm>
              <a:prstGeom prst="line">
                <a:avLst/>
              </a:prstGeom>
              <a:noFill/>
              <a:ln w="9525" cap="rnd" cmpd="sng" algn="ctr">
                <a:solidFill>
                  <a:sysClr val="windowText" lastClr="000000"/>
                </a:solidFill>
                <a:prstDash val="solid"/>
              </a:ln>
              <a:effectLst/>
            </p:spPr>
          </p:cxnSp>
        </p:grpSp>
        <p:grpSp>
          <p:nvGrpSpPr>
            <p:cNvPr id="147" name="Group 1358"/>
            <p:cNvGrpSpPr>
              <a:grpSpLocks/>
            </p:cNvGrpSpPr>
            <p:nvPr/>
          </p:nvGrpSpPr>
          <p:grpSpPr bwMode="auto">
            <a:xfrm>
              <a:off x="7700715" y="3281030"/>
              <a:ext cx="37465" cy="37465"/>
              <a:chOff x="8437682" y="4125433"/>
              <a:chExt cx="37465" cy="37465"/>
            </a:xfrm>
          </p:grpSpPr>
          <p:cxnSp>
            <p:nvCxnSpPr>
              <p:cNvPr id="325" name="Straight Connector 1359"/>
              <p:cNvCxnSpPr/>
              <p:nvPr/>
            </p:nvCxnSpPr>
            <p:spPr>
              <a:xfrm>
                <a:off x="8456873" y="4125055"/>
                <a:ext cx="0" cy="37560"/>
              </a:xfrm>
              <a:prstGeom prst="line">
                <a:avLst/>
              </a:prstGeom>
              <a:noFill/>
              <a:ln w="9525" cap="rnd" cmpd="sng" algn="ctr">
                <a:solidFill>
                  <a:sysClr val="windowText" lastClr="000000"/>
                </a:solidFill>
                <a:prstDash val="solid"/>
              </a:ln>
              <a:effectLst/>
            </p:spPr>
          </p:cxnSp>
          <p:cxnSp>
            <p:nvCxnSpPr>
              <p:cNvPr id="326" name="Straight Connector 1360"/>
              <p:cNvCxnSpPr/>
              <p:nvPr/>
            </p:nvCxnSpPr>
            <p:spPr>
              <a:xfrm rot="16200000">
                <a:off x="8456350" y="4126167"/>
                <a:ext cx="0" cy="36632"/>
              </a:xfrm>
              <a:prstGeom prst="line">
                <a:avLst/>
              </a:prstGeom>
              <a:noFill/>
              <a:ln w="9525" cap="rnd" cmpd="sng" algn="ctr">
                <a:solidFill>
                  <a:sysClr val="windowText" lastClr="000000"/>
                </a:solidFill>
                <a:prstDash val="solid"/>
              </a:ln>
              <a:effectLst/>
            </p:spPr>
          </p:cxnSp>
        </p:grpSp>
        <p:grpSp>
          <p:nvGrpSpPr>
            <p:cNvPr id="148" name="Group 1361"/>
            <p:cNvGrpSpPr>
              <a:grpSpLocks/>
            </p:cNvGrpSpPr>
            <p:nvPr/>
          </p:nvGrpSpPr>
          <p:grpSpPr bwMode="auto">
            <a:xfrm>
              <a:off x="7712636" y="3281046"/>
              <a:ext cx="37465" cy="37465"/>
              <a:chOff x="8437682" y="4125433"/>
              <a:chExt cx="37465" cy="37465"/>
            </a:xfrm>
          </p:grpSpPr>
          <p:cxnSp>
            <p:nvCxnSpPr>
              <p:cNvPr id="323" name="Straight Connector 1362"/>
              <p:cNvCxnSpPr/>
              <p:nvPr/>
            </p:nvCxnSpPr>
            <p:spPr>
              <a:xfrm>
                <a:off x="8456465" y="4125039"/>
                <a:ext cx="0" cy="37560"/>
              </a:xfrm>
              <a:prstGeom prst="line">
                <a:avLst/>
              </a:prstGeom>
              <a:noFill/>
              <a:ln w="9525" cap="rnd" cmpd="sng" algn="ctr">
                <a:solidFill>
                  <a:sysClr val="windowText" lastClr="000000"/>
                </a:solidFill>
                <a:prstDash val="solid"/>
              </a:ln>
              <a:effectLst/>
            </p:spPr>
          </p:cxnSp>
          <p:cxnSp>
            <p:nvCxnSpPr>
              <p:cNvPr id="324" name="Straight Connector 1363"/>
              <p:cNvCxnSpPr/>
              <p:nvPr/>
            </p:nvCxnSpPr>
            <p:spPr>
              <a:xfrm rot="16200000">
                <a:off x="8456465" y="4125627"/>
                <a:ext cx="0" cy="37679"/>
              </a:xfrm>
              <a:prstGeom prst="line">
                <a:avLst/>
              </a:prstGeom>
              <a:noFill/>
              <a:ln w="9525" cap="rnd" cmpd="sng" algn="ctr">
                <a:solidFill>
                  <a:sysClr val="windowText" lastClr="000000"/>
                </a:solidFill>
                <a:prstDash val="solid"/>
              </a:ln>
              <a:effectLst/>
            </p:spPr>
          </p:cxnSp>
        </p:grpSp>
        <p:grpSp>
          <p:nvGrpSpPr>
            <p:cNvPr id="149" name="Group 1364"/>
            <p:cNvGrpSpPr>
              <a:grpSpLocks/>
            </p:cNvGrpSpPr>
            <p:nvPr/>
          </p:nvGrpSpPr>
          <p:grpSpPr bwMode="auto">
            <a:xfrm>
              <a:off x="7722176" y="3300110"/>
              <a:ext cx="37465" cy="37465"/>
              <a:chOff x="8437682" y="4125433"/>
              <a:chExt cx="37465" cy="37465"/>
            </a:xfrm>
          </p:grpSpPr>
          <p:cxnSp>
            <p:nvCxnSpPr>
              <p:cNvPr id="321" name="Straight Connector 1365"/>
              <p:cNvCxnSpPr/>
              <p:nvPr/>
            </p:nvCxnSpPr>
            <p:spPr>
              <a:xfrm>
                <a:off x="8456345" y="4125403"/>
                <a:ext cx="0" cy="37559"/>
              </a:xfrm>
              <a:prstGeom prst="line">
                <a:avLst/>
              </a:prstGeom>
              <a:noFill/>
              <a:ln w="9525" cap="rnd" cmpd="sng" algn="ctr">
                <a:solidFill>
                  <a:sysClr val="windowText" lastClr="000000"/>
                </a:solidFill>
                <a:prstDash val="solid"/>
              </a:ln>
              <a:effectLst/>
            </p:spPr>
          </p:cxnSp>
          <p:cxnSp>
            <p:nvCxnSpPr>
              <p:cNvPr id="322" name="Straight Connector 1366"/>
              <p:cNvCxnSpPr/>
              <p:nvPr/>
            </p:nvCxnSpPr>
            <p:spPr>
              <a:xfrm rot="16200000">
                <a:off x="8456345" y="4125990"/>
                <a:ext cx="0" cy="37679"/>
              </a:xfrm>
              <a:prstGeom prst="line">
                <a:avLst/>
              </a:prstGeom>
              <a:noFill/>
              <a:ln w="9525" cap="rnd" cmpd="sng" algn="ctr">
                <a:solidFill>
                  <a:sysClr val="windowText" lastClr="000000"/>
                </a:solidFill>
                <a:prstDash val="solid"/>
              </a:ln>
              <a:effectLst/>
            </p:spPr>
          </p:cxnSp>
        </p:grpSp>
        <p:grpSp>
          <p:nvGrpSpPr>
            <p:cNvPr id="150" name="Group 1367"/>
            <p:cNvGrpSpPr>
              <a:grpSpLocks/>
            </p:cNvGrpSpPr>
            <p:nvPr/>
          </p:nvGrpSpPr>
          <p:grpSpPr bwMode="auto">
            <a:xfrm>
              <a:off x="7731716" y="3304888"/>
              <a:ext cx="37465" cy="37465"/>
              <a:chOff x="8437682" y="4125433"/>
              <a:chExt cx="37465" cy="37465"/>
            </a:xfrm>
          </p:grpSpPr>
          <p:cxnSp>
            <p:nvCxnSpPr>
              <p:cNvPr id="319" name="Straight Connector 1368"/>
              <p:cNvCxnSpPr/>
              <p:nvPr/>
            </p:nvCxnSpPr>
            <p:spPr>
              <a:xfrm>
                <a:off x="8456224" y="4125806"/>
                <a:ext cx="0" cy="37559"/>
              </a:xfrm>
              <a:prstGeom prst="line">
                <a:avLst/>
              </a:prstGeom>
              <a:noFill/>
              <a:ln w="9525" cap="rnd" cmpd="sng" algn="ctr">
                <a:solidFill>
                  <a:sysClr val="windowText" lastClr="000000"/>
                </a:solidFill>
                <a:prstDash val="solid"/>
              </a:ln>
              <a:effectLst/>
            </p:spPr>
          </p:cxnSp>
          <p:cxnSp>
            <p:nvCxnSpPr>
              <p:cNvPr id="320" name="Straight Connector 1369"/>
              <p:cNvCxnSpPr/>
              <p:nvPr/>
            </p:nvCxnSpPr>
            <p:spPr>
              <a:xfrm rot="16200000">
                <a:off x="8456224" y="4126393"/>
                <a:ext cx="0" cy="37679"/>
              </a:xfrm>
              <a:prstGeom prst="line">
                <a:avLst/>
              </a:prstGeom>
              <a:noFill/>
              <a:ln w="9525" cap="rnd" cmpd="sng" algn="ctr">
                <a:solidFill>
                  <a:sysClr val="windowText" lastClr="000000"/>
                </a:solidFill>
                <a:prstDash val="solid"/>
              </a:ln>
              <a:effectLst/>
            </p:spPr>
          </p:cxnSp>
        </p:grpSp>
        <p:grpSp>
          <p:nvGrpSpPr>
            <p:cNvPr id="151" name="Group 1370"/>
            <p:cNvGrpSpPr>
              <a:grpSpLocks/>
            </p:cNvGrpSpPr>
            <p:nvPr/>
          </p:nvGrpSpPr>
          <p:grpSpPr bwMode="auto">
            <a:xfrm>
              <a:off x="7741256" y="3309666"/>
              <a:ext cx="37465" cy="37465"/>
              <a:chOff x="8437682" y="4125433"/>
              <a:chExt cx="37465" cy="37465"/>
            </a:xfrm>
          </p:grpSpPr>
          <p:cxnSp>
            <p:nvCxnSpPr>
              <p:cNvPr id="317" name="Straight Connector 1371"/>
              <p:cNvCxnSpPr/>
              <p:nvPr/>
            </p:nvCxnSpPr>
            <p:spPr>
              <a:xfrm>
                <a:off x="8456104" y="4124912"/>
                <a:ext cx="0" cy="37560"/>
              </a:xfrm>
              <a:prstGeom prst="line">
                <a:avLst/>
              </a:prstGeom>
              <a:noFill/>
              <a:ln w="9525" cap="rnd" cmpd="sng" algn="ctr">
                <a:solidFill>
                  <a:sysClr val="windowText" lastClr="000000"/>
                </a:solidFill>
                <a:prstDash val="solid"/>
              </a:ln>
              <a:effectLst/>
            </p:spPr>
          </p:cxnSp>
          <p:cxnSp>
            <p:nvCxnSpPr>
              <p:cNvPr id="318" name="Straight Connector 1372"/>
              <p:cNvCxnSpPr/>
              <p:nvPr/>
            </p:nvCxnSpPr>
            <p:spPr>
              <a:xfrm rot="16200000">
                <a:off x="8456104" y="4125501"/>
                <a:ext cx="0" cy="37679"/>
              </a:xfrm>
              <a:prstGeom prst="line">
                <a:avLst/>
              </a:prstGeom>
              <a:noFill/>
              <a:ln w="9525" cap="rnd" cmpd="sng" algn="ctr">
                <a:solidFill>
                  <a:sysClr val="windowText" lastClr="000000"/>
                </a:solidFill>
                <a:prstDash val="solid"/>
              </a:ln>
              <a:effectLst/>
            </p:spPr>
          </p:cxnSp>
        </p:grpSp>
        <p:grpSp>
          <p:nvGrpSpPr>
            <p:cNvPr id="152" name="Group 1373"/>
            <p:cNvGrpSpPr>
              <a:grpSpLocks/>
            </p:cNvGrpSpPr>
            <p:nvPr/>
          </p:nvGrpSpPr>
          <p:grpSpPr bwMode="auto">
            <a:xfrm>
              <a:off x="7750796" y="3314444"/>
              <a:ext cx="37465" cy="37465"/>
              <a:chOff x="8437682" y="4125433"/>
              <a:chExt cx="37465" cy="37465"/>
            </a:xfrm>
          </p:grpSpPr>
          <p:cxnSp>
            <p:nvCxnSpPr>
              <p:cNvPr id="315" name="Straight Connector 1374"/>
              <p:cNvCxnSpPr/>
              <p:nvPr/>
            </p:nvCxnSpPr>
            <p:spPr>
              <a:xfrm>
                <a:off x="8457030" y="4125316"/>
                <a:ext cx="0" cy="37560"/>
              </a:xfrm>
              <a:prstGeom prst="line">
                <a:avLst/>
              </a:prstGeom>
              <a:noFill/>
              <a:ln w="9525" cap="rnd" cmpd="sng" algn="ctr">
                <a:solidFill>
                  <a:sysClr val="windowText" lastClr="000000"/>
                </a:solidFill>
                <a:prstDash val="solid"/>
              </a:ln>
              <a:effectLst/>
            </p:spPr>
          </p:cxnSp>
          <p:cxnSp>
            <p:nvCxnSpPr>
              <p:cNvPr id="316" name="Straight Connector 1375"/>
              <p:cNvCxnSpPr/>
              <p:nvPr/>
            </p:nvCxnSpPr>
            <p:spPr>
              <a:xfrm rot="16200000">
                <a:off x="8456507" y="4126427"/>
                <a:ext cx="0" cy="36632"/>
              </a:xfrm>
              <a:prstGeom prst="line">
                <a:avLst/>
              </a:prstGeom>
              <a:noFill/>
              <a:ln w="9525" cap="rnd" cmpd="sng" algn="ctr">
                <a:solidFill>
                  <a:sysClr val="windowText" lastClr="000000"/>
                </a:solidFill>
                <a:prstDash val="solid"/>
              </a:ln>
              <a:effectLst/>
            </p:spPr>
          </p:cxnSp>
        </p:grpSp>
        <p:grpSp>
          <p:nvGrpSpPr>
            <p:cNvPr id="153" name="Group 1376"/>
            <p:cNvGrpSpPr>
              <a:grpSpLocks/>
            </p:cNvGrpSpPr>
            <p:nvPr/>
          </p:nvGrpSpPr>
          <p:grpSpPr bwMode="auto">
            <a:xfrm>
              <a:off x="7760336" y="3333508"/>
              <a:ext cx="37465" cy="37465"/>
              <a:chOff x="8437682" y="4125433"/>
              <a:chExt cx="37465" cy="37465"/>
            </a:xfrm>
          </p:grpSpPr>
          <p:cxnSp>
            <p:nvCxnSpPr>
              <p:cNvPr id="313" name="Straight Connector 1377"/>
              <p:cNvCxnSpPr/>
              <p:nvPr/>
            </p:nvCxnSpPr>
            <p:spPr>
              <a:xfrm>
                <a:off x="8456910" y="4125679"/>
                <a:ext cx="0" cy="37559"/>
              </a:xfrm>
              <a:prstGeom prst="line">
                <a:avLst/>
              </a:prstGeom>
              <a:noFill/>
              <a:ln w="9525" cap="rnd" cmpd="sng" algn="ctr">
                <a:solidFill>
                  <a:sysClr val="windowText" lastClr="000000"/>
                </a:solidFill>
                <a:prstDash val="solid"/>
              </a:ln>
              <a:effectLst/>
            </p:spPr>
          </p:cxnSp>
          <p:cxnSp>
            <p:nvCxnSpPr>
              <p:cNvPr id="314" name="Straight Connector 1378"/>
              <p:cNvCxnSpPr/>
              <p:nvPr/>
            </p:nvCxnSpPr>
            <p:spPr>
              <a:xfrm rot="16200000">
                <a:off x="8456387" y="4126790"/>
                <a:ext cx="0" cy="36632"/>
              </a:xfrm>
              <a:prstGeom prst="line">
                <a:avLst/>
              </a:prstGeom>
              <a:noFill/>
              <a:ln w="9525" cap="rnd" cmpd="sng" algn="ctr">
                <a:solidFill>
                  <a:sysClr val="windowText" lastClr="000000"/>
                </a:solidFill>
                <a:prstDash val="solid"/>
              </a:ln>
              <a:effectLst/>
            </p:spPr>
          </p:cxnSp>
        </p:grpSp>
        <p:grpSp>
          <p:nvGrpSpPr>
            <p:cNvPr id="154" name="Group 1379"/>
            <p:cNvGrpSpPr>
              <a:grpSpLocks/>
            </p:cNvGrpSpPr>
            <p:nvPr/>
          </p:nvGrpSpPr>
          <p:grpSpPr bwMode="auto">
            <a:xfrm>
              <a:off x="7769876" y="3354953"/>
              <a:ext cx="37465" cy="37465"/>
              <a:chOff x="8437682" y="4125433"/>
              <a:chExt cx="37465" cy="37465"/>
            </a:xfrm>
          </p:grpSpPr>
          <p:cxnSp>
            <p:nvCxnSpPr>
              <p:cNvPr id="311" name="Straight Connector 1380"/>
              <p:cNvCxnSpPr/>
              <p:nvPr/>
            </p:nvCxnSpPr>
            <p:spPr>
              <a:xfrm>
                <a:off x="8456790" y="4124957"/>
                <a:ext cx="0" cy="37559"/>
              </a:xfrm>
              <a:prstGeom prst="line">
                <a:avLst/>
              </a:prstGeom>
              <a:noFill/>
              <a:ln w="9525" cap="rnd" cmpd="sng" algn="ctr">
                <a:solidFill>
                  <a:sysClr val="windowText" lastClr="000000"/>
                </a:solidFill>
                <a:prstDash val="solid"/>
              </a:ln>
              <a:effectLst/>
            </p:spPr>
          </p:cxnSp>
          <p:cxnSp>
            <p:nvCxnSpPr>
              <p:cNvPr id="312" name="Straight Connector 1381"/>
              <p:cNvCxnSpPr/>
              <p:nvPr/>
            </p:nvCxnSpPr>
            <p:spPr>
              <a:xfrm rot="16200000">
                <a:off x="8456790" y="4125544"/>
                <a:ext cx="0" cy="37679"/>
              </a:xfrm>
              <a:prstGeom prst="line">
                <a:avLst/>
              </a:prstGeom>
              <a:noFill/>
              <a:ln w="9525" cap="rnd" cmpd="sng" algn="ctr">
                <a:solidFill>
                  <a:sysClr val="windowText" lastClr="000000"/>
                </a:solidFill>
                <a:prstDash val="solid"/>
              </a:ln>
              <a:effectLst/>
            </p:spPr>
          </p:cxnSp>
        </p:grpSp>
        <p:grpSp>
          <p:nvGrpSpPr>
            <p:cNvPr id="155" name="Group 1382"/>
            <p:cNvGrpSpPr>
              <a:grpSpLocks/>
            </p:cNvGrpSpPr>
            <p:nvPr/>
          </p:nvGrpSpPr>
          <p:grpSpPr bwMode="auto">
            <a:xfrm>
              <a:off x="7779416" y="3362112"/>
              <a:ext cx="37465" cy="37465"/>
              <a:chOff x="8437682" y="4125433"/>
              <a:chExt cx="37465" cy="37465"/>
            </a:xfrm>
          </p:grpSpPr>
          <p:cxnSp>
            <p:nvCxnSpPr>
              <p:cNvPr id="309" name="Straight Connector 1383"/>
              <p:cNvCxnSpPr/>
              <p:nvPr/>
            </p:nvCxnSpPr>
            <p:spPr>
              <a:xfrm>
                <a:off x="8456669" y="4125568"/>
                <a:ext cx="0" cy="37559"/>
              </a:xfrm>
              <a:prstGeom prst="line">
                <a:avLst/>
              </a:prstGeom>
              <a:noFill/>
              <a:ln w="9525" cap="rnd" cmpd="sng" algn="ctr">
                <a:solidFill>
                  <a:sysClr val="windowText" lastClr="000000"/>
                </a:solidFill>
                <a:prstDash val="solid"/>
              </a:ln>
              <a:effectLst/>
            </p:spPr>
          </p:cxnSp>
          <p:cxnSp>
            <p:nvCxnSpPr>
              <p:cNvPr id="310" name="Straight Connector 1384"/>
              <p:cNvCxnSpPr/>
              <p:nvPr/>
            </p:nvCxnSpPr>
            <p:spPr>
              <a:xfrm rot="16200000">
                <a:off x="8456669" y="4126156"/>
                <a:ext cx="0" cy="37679"/>
              </a:xfrm>
              <a:prstGeom prst="line">
                <a:avLst/>
              </a:prstGeom>
              <a:noFill/>
              <a:ln w="9525" cap="rnd" cmpd="sng" algn="ctr">
                <a:solidFill>
                  <a:sysClr val="windowText" lastClr="000000"/>
                </a:solidFill>
                <a:prstDash val="solid"/>
              </a:ln>
              <a:effectLst/>
            </p:spPr>
          </p:cxnSp>
        </p:grpSp>
        <p:grpSp>
          <p:nvGrpSpPr>
            <p:cNvPr id="156" name="Group 1385"/>
            <p:cNvGrpSpPr>
              <a:grpSpLocks/>
            </p:cNvGrpSpPr>
            <p:nvPr/>
          </p:nvGrpSpPr>
          <p:grpSpPr bwMode="auto">
            <a:xfrm>
              <a:off x="7788956" y="3369271"/>
              <a:ext cx="37465" cy="37465"/>
              <a:chOff x="8437682" y="4125433"/>
              <a:chExt cx="37465" cy="37465"/>
            </a:xfrm>
          </p:grpSpPr>
          <p:cxnSp>
            <p:nvCxnSpPr>
              <p:cNvPr id="307" name="Straight Connector 1386"/>
              <p:cNvCxnSpPr/>
              <p:nvPr/>
            </p:nvCxnSpPr>
            <p:spPr>
              <a:xfrm>
                <a:off x="8456548" y="4124886"/>
                <a:ext cx="0" cy="37560"/>
              </a:xfrm>
              <a:prstGeom prst="line">
                <a:avLst/>
              </a:prstGeom>
              <a:noFill/>
              <a:ln w="9525" cap="rnd" cmpd="sng" algn="ctr">
                <a:solidFill>
                  <a:sysClr val="windowText" lastClr="000000"/>
                </a:solidFill>
                <a:prstDash val="solid"/>
              </a:ln>
              <a:effectLst/>
            </p:spPr>
          </p:cxnSp>
          <p:cxnSp>
            <p:nvCxnSpPr>
              <p:cNvPr id="308" name="Straight Connector 1387"/>
              <p:cNvCxnSpPr/>
              <p:nvPr/>
            </p:nvCxnSpPr>
            <p:spPr>
              <a:xfrm rot="16200000">
                <a:off x="8456548" y="4125474"/>
                <a:ext cx="0" cy="37679"/>
              </a:xfrm>
              <a:prstGeom prst="line">
                <a:avLst/>
              </a:prstGeom>
              <a:noFill/>
              <a:ln w="9525" cap="rnd" cmpd="sng" algn="ctr">
                <a:solidFill>
                  <a:sysClr val="windowText" lastClr="000000"/>
                </a:solidFill>
                <a:prstDash val="solid"/>
              </a:ln>
              <a:effectLst/>
            </p:spPr>
          </p:cxnSp>
        </p:grpSp>
        <p:grpSp>
          <p:nvGrpSpPr>
            <p:cNvPr id="157" name="Group 1388"/>
            <p:cNvGrpSpPr>
              <a:grpSpLocks/>
            </p:cNvGrpSpPr>
            <p:nvPr/>
          </p:nvGrpSpPr>
          <p:grpSpPr bwMode="auto">
            <a:xfrm>
              <a:off x="7798496" y="3371668"/>
              <a:ext cx="37465" cy="37465"/>
              <a:chOff x="8437682" y="4125433"/>
              <a:chExt cx="37465" cy="37465"/>
            </a:xfrm>
          </p:grpSpPr>
          <p:cxnSp>
            <p:nvCxnSpPr>
              <p:cNvPr id="305" name="Straight Connector 1389"/>
              <p:cNvCxnSpPr/>
              <p:nvPr/>
            </p:nvCxnSpPr>
            <p:spPr>
              <a:xfrm>
                <a:off x="8456428" y="4125079"/>
                <a:ext cx="0" cy="37560"/>
              </a:xfrm>
              <a:prstGeom prst="line">
                <a:avLst/>
              </a:prstGeom>
              <a:noFill/>
              <a:ln w="9525" cap="rnd" cmpd="sng" algn="ctr">
                <a:solidFill>
                  <a:sysClr val="windowText" lastClr="000000"/>
                </a:solidFill>
                <a:prstDash val="solid"/>
              </a:ln>
              <a:effectLst/>
            </p:spPr>
          </p:cxnSp>
          <p:cxnSp>
            <p:nvCxnSpPr>
              <p:cNvPr id="306" name="Straight Connector 1390"/>
              <p:cNvCxnSpPr/>
              <p:nvPr/>
            </p:nvCxnSpPr>
            <p:spPr>
              <a:xfrm rot="16200000">
                <a:off x="8456428" y="4125667"/>
                <a:ext cx="0" cy="37679"/>
              </a:xfrm>
              <a:prstGeom prst="line">
                <a:avLst/>
              </a:prstGeom>
              <a:noFill/>
              <a:ln w="9525" cap="rnd" cmpd="sng" algn="ctr">
                <a:solidFill>
                  <a:sysClr val="windowText" lastClr="000000"/>
                </a:solidFill>
                <a:prstDash val="solid"/>
              </a:ln>
              <a:effectLst/>
            </p:spPr>
          </p:cxnSp>
        </p:grpSp>
        <p:grpSp>
          <p:nvGrpSpPr>
            <p:cNvPr id="158" name="Group 1391"/>
            <p:cNvGrpSpPr>
              <a:grpSpLocks/>
            </p:cNvGrpSpPr>
            <p:nvPr/>
          </p:nvGrpSpPr>
          <p:grpSpPr bwMode="auto">
            <a:xfrm>
              <a:off x="7808036" y="3374065"/>
              <a:ext cx="37465" cy="37465"/>
              <a:chOff x="8437682" y="4125433"/>
              <a:chExt cx="37465" cy="37465"/>
            </a:xfrm>
          </p:grpSpPr>
          <p:cxnSp>
            <p:nvCxnSpPr>
              <p:cNvPr id="303" name="Straight Connector 1392"/>
              <p:cNvCxnSpPr/>
              <p:nvPr/>
            </p:nvCxnSpPr>
            <p:spPr>
              <a:xfrm>
                <a:off x="8456308" y="4125271"/>
                <a:ext cx="0" cy="37560"/>
              </a:xfrm>
              <a:prstGeom prst="line">
                <a:avLst/>
              </a:prstGeom>
              <a:noFill/>
              <a:ln w="9525" cap="rnd" cmpd="sng" algn="ctr">
                <a:solidFill>
                  <a:sysClr val="windowText" lastClr="000000"/>
                </a:solidFill>
                <a:prstDash val="solid"/>
              </a:ln>
              <a:effectLst/>
            </p:spPr>
          </p:cxnSp>
          <p:cxnSp>
            <p:nvCxnSpPr>
              <p:cNvPr id="304" name="Straight Connector 1393"/>
              <p:cNvCxnSpPr/>
              <p:nvPr/>
            </p:nvCxnSpPr>
            <p:spPr>
              <a:xfrm rot="16200000">
                <a:off x="8456308" y="4125860"/>
                <a:ext cx="0" cy="37679"/>
              </a:xfrm>
              <a:prstGeom prst="line">
                <a:avLst/>
              </a:prstGeom>
              <a:noFill/>
              <a:ln w="9525" cap="rnd" cmpd="sng" algn="ctr">
                <a:solidFill>
                  <a:sysClr val="windowText" lastClr="000000"/>
                </a:solidFill>
                <a:prstDash val="solid"/>
              </a:ln>
              <a:effectLst/>
            </p:spPr>
          </p:cxnSp>
        </p:grpSp>
        <p:grpSp>
          <p:nvGrpSpPr>
            <p:cNvPr id="159" name="Group 1394"/>
            <p:cNvGrpSpPr>
              <a:grpSpLocks/>
            </p:cNvGrpSpPr>
            <p:nvPr/>
          </p:nvGrpSpPr>
          <p:grpSpPr bwMode="auto">
            <a:xfrm>
              <a:off x="7819957" y="3376462"/>
              <a:ext cx="37465" cy="37465"/>
              <a:chOff x="8437682" y="4125433"/>
              <a:chExt cx="37465" cy="37465"/>
            </a:xfrm>
          </p:grpSpPr>
          <p:cxnSp>
            <p:nvCxnSpPr>
              <p:cNvPr id="301" name="Straight Connector 1395"/>
              <p:cNvCxnSpPr/>
              <p:nvPr/>
            </p:nvCxnSpPr>
            <p:spPr>
              <a:xfrm>
                <a:off x="8456947" y="4125465"/>
                <a:ext cx="0" cy="37560"/>
              </a:xfrm>
              <a:prstGeom prst="line">
                <a:avLst/>
              </a:prstGeom>
              <a:noFill/>
              <a:ln w="9525" cap="rnd" cmpd="sng" algn="ctr">
                <a:solidFill>
                  <a:sysClr val="windowText" lastClr="000000"/>
                </a:solidFill>
                <a:prstDash val="solid"/>
              </a:ln>
              <a:effectLst/>
            </p:spPr>
          </p:cxnSp>
          <p:cxnSp>
            <p:nvCxnSpPr>
              <p:cNvPr id="302" name="Straight Connector 1396"/>
              <p:cNvCxnSpPr/>
              <p:nvPr/>
            </p:nvCxnSpPr>
            <p:spPr>
              <a:xfrm rot="16200000">
                <a:off x="8456423" y="4126577"/>
                <a:ext cx="0" cy="36632"/>
              </a:xfrm>
              <a:prstGeom prst="line">
                <a:avLst/>
              </a:prstGeom>
              <a:noFill/>
              <a:ln w="9525" cap="rnd" cmpd="sng" algn="ctr">
                <a:solidFill>
                  <a:sysClr val="windowText" lastClr="000000"/>
                </a:solidFill>
                <a:prstDash val="solid"/>
              </a:ln>
              <a:effectLst/>
            </p:spPr>
          </p:cxnSp>
        </p:grpSp>
        <p:grpSp>
          <p:nvGrpSpPr>
            <p:cNvPr id="160" name="Group 1397"/>
            <p:cNvGrpSpPr>
              <a:grpSpLocks/>
            </p:cNvGrpSpPr>
            <p:nvPr/>
          </p:nvGrpSpPr>
          <p:grpSpPr bwMode="auto">
            <a:xfrm>
              <a:off x="7831878" y="3376478"/>
              <a:ext cx="37465" cy="37465"/>
              <a:chOff x="8437682" y="4125433"/>
              <a:chExt cx="37465" cy="37465"/>
            </a:xfrm>
          </p:grpSpPr>
          <p:cxnSp>
            <p:nvCxnSpPr>
              <p:cNvPr id="299" name="Straight Connector 1398"/>
              <p:cNvCxnSpPr/>
              <p:nvPr/>
            </p:nvCxnSpPr>
            <p:spPr>
              <a:xfrm>
                <a:off x="8456538" y="4125449"/>
                <a:ext cx="0" cy="37560"/>
              </a:xfrm>
              <a:prstGeom prst="line">
                <a:avLst/>
              </a:prstGeom>
              <a:noFill/>
              <a:ln w="9525" cap="rnd" cmpd="sng" algn="ctr">
                <a:solidFill>
                  <a:sysClr val="windowText" lastClr="000000"/>
                </a:solidFill>
                <a:prstDash val="solid"/>
              </a:ln>
              <a:effectLst/>
            </p:spPr>
          </p:cxnSp>
          <p:cxnSp>
            <p:nvCxnSpPr>
              <p:cNvPr id="300" name="Straight Connector 1399"/>
              <p:cNvCxnSpPr/>
              <p:nvPr/>
            </p:nvCxnSpPr>
            <p:spPr>
              <a:xfrm rot="16200000">
                <a:off x="8456538" y="4126038"/>
                <a:ext cx="0" cy="37679"/>
              </a:xfrm>
              <a:prstGeom prst="line">
                <a:avLst/>
              </a:prstGeom>
              <a:noFill/>
              <a:ln w="9525" cap="rnd" cmpd="sng" algn="ctr">
                <a:solidFill>
                  <a:sysClr val="windowText" lastClr="000000"/>
                </a:solidFill>
                <a:prstDash val="solid"/>
              </a:ln>
              <a:effectLst/>
            </p:spPr>
          </p:cxnSp>
        </p:grpSp>
        <p:grpSp>
          <p:nvGrpSpPr>
            <p:cNvPr id="161" name="Group 1400"/>
            <p:cNvGrpSpPr>
              <a:grpSpLocks/>
            </p:cNvGrpSpPr>
            <p:nvPr/>
          </p:nvGrpSpPr>
          <p:grpSpPr bwMode="auto">
            <a:xfrm>
              <a:off x="7843799" y="3376494"/>
              <a:ext cx="37465" cy="37465"/>
              <a:chOff x="8437682" y="4125433"/>
              <a:chExt cx="37465" cy="37465"/>
            </a:xfrm>
          </p:grpSpPr>
          <p:cxnSp>
            <p:nvCxnSpPr>
              <p:cNvPr id="297" name="Straight Connector 1401"/>
              <p:cNvCxnSpPr/>
              <p:nvPr/>
            </p:nvCxnSpPr>
            <p:spPr>
              <a:xfrm>
                <a:off x="8456130" y="4125433"/>
                <a:ext cx="0" cy="37560"/>
              </a:xfrm>
              <a:prstGeom prst="line">
                <a:avLst/>
              </a:prstGeom>
              <a:noFill/>
              <a:ln w="9525" cap="rnd" cmpd="sng" algn="ctr">
                <a:solidFill>
                  <a:sysClr val="windowText" lastClr="000000"/>
                </a:solidFill>
                <a:prstDash val="solid"/>
              </a:ln>
              <a:effectLst/>
            </p:spPr>
          </p:cxnSp>
          <p:cxnSp>
            <p:nvCxnSpPr>
              <p:cNvPr id="298" name="Straight Connector 1402"/>
              <p:cNvCxnSpPr/>
              <p:nvPr/>
            </p:nvCxnSpPr>
            <p:spPr>
              <a:xfrm rot="16200000">
                <a:off x="8456130" y="4126021"/>
                <a:ext cx="0" cy="37679"/>
              </a:xfrm>
              <a:prstGeom prst="line">
                <a:avLst/>
              </a:prstGeom>
              <a:noFill/>
              <a:ln w="9525" cap="rnd" cmpd="sng" algn="ctr">
                <a:solidFill>
                  <a:sysClr val="windowText" lastClr="000000"/>
                </a:solidFill>
                <a:prstDash val="solid"/>
              </a:ln>
              <a:effectLst/>
            </p:spPr>
          </p:cxnSp>
        </p:grpSp>
        <p:grpSp>
          <p:nvGrpSpPr>
            <p:cNvPr id="162" name="Group 1403"/>
            <p:cNvGrpSpPr>
              <a:grpSpLocks/>
            </p:cNvGrpSpPr>
            <p:nvPr/>
          </p:nvGrpSpPr>
          <p:grpSpPr bwMode="auto">
            <a:xfrm>
              <a:off x="7855720" y="3378891"/>
              <a:ext cx="37465" cy="37465"/>
              <a:chOff x="8437682" y="4125433"/>
              <a:chExt cx="37465" cy="37465"/>
            </a:xfrm>
          </p:grpSpPr>
          <p:cxnSp>
            <p:nvCxnSpPr>
              <p:cNvPr id="295" name="Straight Connector 1404"/>
              <p:cNvCxnSpPr/>
              <p:nvPr/>
            </p:nvCxnSpPr>
            <p:spPr>
              <a:xfrm>
                <a:off x="8456769" y="4125626"/>
                <a:ext cx="0" cy="37560"/>
              </a:xfrm>
              <a:prstGeom prst="line">
                <a:avLst/>
              </a:prstGeom>
              <a:noFill/>
              <a:ln w="9525" cap="rnd" cmpd="sng" algn="ctr">
                <a:solidFill>
                  <a:sysClr val="windowText" lastClr="000000"/>
                </a:solidFill>
                <a:prstDash val="solid"/>
              </a:ln>
              <a:effectLst/>
            </p:spPr>
          </p:cxnSp>
          <p:cxnSp>
            <p:nvCxnSpPr>
              <p:cNvPr id="296" name="Straight Connector 1405"/>
              <p:cNvCxnSpPr/>
              <p:nvPr/>
            </p:nvCxnSpPr>
            <p:spPr>
              <a:xfrm rot="16200000">
                <a:off x="8456769" y="4126215"/>
                <a:ext cx="0" cy="37679"/>
              </a:xfrm>
              <a:prstGeom prst="line">
                <a:avLst/>
              </a:prstGeom>
              <a:noFill/>
              <a:ln w="9525" cap="rnd" cmpd="sng" algn="ctr">
                <a:solidFill>
                  <a:sysClr val="windowText" lastClr="000000"/>
                </a:solidFill>
                <a:prstDash val="solid"/>
              </a:ln>
              <a:effectLst/>
            </p:spPr>
          </p:cxnSp>
        </p:grpSp>
        <p:grpSp>
          <p:nvGrpSpPr>
            <p:cNvPr id="163" name="Group 1406"/>
            <p:cNvGrpSpPr>
              <a:grpSpLocks/>
            </p:cNvGrpSpPr>
            <p:nvPr/>
          </p:nvGrpSpPr>
          <p:grpSpPr bwMode="auto">
            <a:xfrm>
              <a:off x="7867641" y="3400336"/>
              <a:ext cx="37465" cy="37465"/>
              <a:chOff x="8437682" y="4125433"/>
              <a:chExt cx="37465" cy="37465"/>
            </a:xfrm>
          </p:grpSpPr>
          <p:cxnSp>
            <p:nvCxnSpPr>
              <p:cNvPr id="293" name="Straight Connector 1407"/>
              <p:cNvCxnSpPr/>
              <p:nvPr/>
            </p:nvCxnSpPr>
            <p:spPr>
              <a:xfrm>
                <a:off x="8456360" y="4124904"/>
                <a:ext cx="0" cy="37560"/>
              </a:xfrm>
              <a:prstGeom prst="line">
                <a:avLst/>
              </a:prstGeom>
              <a:noFill/>
              <a:ln w="9525" cap="rnd" cmpd="sng" algn="ctr">
                <a:solidFill>
                  <a:sysClr val="windowText" lastClr="000000"/>
                </a:solidFill>
                <a:prstDash val="solid"/>
              </a:ln>
              <a:effectLst/>
            </p:spPr>
          </p:cxnSp>
          <p:cxnSp>
            <p:nvCxnSpPr>
              <p:cNvPr id="294" name="Straight Connector 1408"/>
              <p:cNvCxnSpPr/>
              <p:nvPr/>
            </p:nvCxnSpPr>
            <p:spPr>
              <a:xfrm rot="16200000">
                <a:off x="8456360" y="4125493"/>
                <a:ext cx="0" cy="37679"/>
              </a:xfrm>
              <a:prstGeom prst="line">
                <a:avLst/>
              </a:prstGeom>
              <a:noFill/>
              <a:ln w="9525" cap="rnd" cmpd="sng" algn="ctr">
                <a:solidFill>
                  <a:sysClr val="windowText" lastClr="000000"/>
                </a:solidFill>
                <a:prstDash val="solid"/>
              </a:ln>
              <a:effectLst/>
            </p:spPr>
          </p:cxnSp>
        </p:grpSp>
        <p:grpSp>
          <p:nvGrpSpPr>
            <p:cNvPr id="164" name="Group 1409"/>
            <p:cNvGrpSpPr>
              <a:grpSpLocks/>
            </p:cNvGrpSpPr>
            <p:nvPr/>
          </p:nvGrpSpPr>
          <p:grpSpPr bwMode="auto">
            <a:xfrm>
              <a:off x="7884324" y="3421781"/>
              <a:ext cx="37465" cy="37465"/>
              <a:chOff x="8437682" y="4125433"/>
              <a:chExt cx="37465" cy="37465"/>
            </a:xfrm>
          </p:grpSpPr>
          <p:cxnSp>
            <p:nvCxnSpPr>
              <p:cNvPr id="291" name="Straight Connector 1410"/>
              <p:cNvCxnSpPr/>
              <p:nvPr/>
            </p:nvCxnSpPr>
            <p:spPr>
              <a:xfrm>
                <a:off x="8456423" y="4125477"/>
                <a:ext cx="0" cy="37559"/>
              </a:xfrm>
              <a:prstGeom prst="line">
                <a:avLst/>
              </a:prstGeom>
              <a:noFill/>
              <a:ln w="9525" cap="rnd" cmpd="sng" algn="ctr">
                <a:solidFill>
                  <a:sysClr val="windowText" lastClr="000000"/>
                </a:solidFill>
                <a:prstDash val="solid"/>
              </a:ln>
              <a:effectLst/>
            </p:spPr>
          </p:cxnSp>
          <p:cxnSp>
            <p:nvCxnSpPr>
              <p:cNvPr id="292" name="Straight Connector 1411"/>
              <p:cNvCxnSpPr/>
              <p:nvPr/>
            </p:nvCxnSpPr>
            <p:spPr>
              <a:xfrm rot="16200000">
                <a:off x="8456423" y="4126065"/>
                <a:ext cx="0" cy="37679"/>
              </a:xfrm>
              <a:prstGeom prst="line">
                <a:avLst/>
              </a:prstGeom>
              <a:noFill/>
              <a:ln w="9525" cap="rnd" cmpd="sng" algn="ctr">
                <a:solidFill>
                  <a:sysClr val="windowText" lastClr="000000"/>
                </a:solidFill>
                <a:prstDash val="solid"/>
              </a:ln>
              <a:effectLst/>
            </p:spPr>
          </p:cxnSp>
        </p:grpSp>
        <p:grpSp>
          <p:nvGrpSpPr>
            <p:cNvPr id="165" name="Group 1412"/>
            <p:cNvGrpSpPr>
              <a:grpSpLocks/>
            </p:cNvGrpSpPr>
            <p:nvPr/>
          </p:nvGrpSpPr>
          <p:grpSpPr bwMode="auto">
            <a:xfrm>
              <a:off x="7901007" y="3424178"/>
              <a:ext cx="37465" cy="37465"/>
              <a:chOff x="8437682" y="4106385"/>
              <a:chExt cx="37465" cy="37465"/>
            </a:xfrm>
          </p:grpSpPr>
          <p:cxnSp>
            <p:nvCxnSpPr>
              <p:cNvPr id="289" name="Straight Connector 1413"/>
              <p:cNvCxnSpPr/>
              <p:nvPr/>
            </p:nvCxnSpPr>
            <p:spPr>
              <a:xfrm>
                <a:off x="8456486" y="4106622"/>
                <a:ext cx="0" cy="37559"/>
              </a:xfrm>
              <a:prstGeom prst="line">
                <a:avLst/>
              </a:prstGeom>
              <a:noFill/>
              <a:ln w="9525" cap="rnd" cmpd="sng" algn="ctr">
                <a:solidFill>
                  <a:sysClr val="windowText" lastClr="000000"/>
                </a:solidFill>
                <a:prstDash val="solid"/>
              </a:ln>
              <a:effectLst/>
            </p:spPr>
          </p:cxnSp>
          <p:cxnSp>
            <p:nvCxnSpPr>
              <p:cNvPr id="290" name="Straight Connector 1414"/>
              <p:cNvCxnSpPr/>
              <p:nvPr/>
            </p:nvCxnSpPr>
            <p:spPr>
              <a:xfrm rot="16200000">
                <a:off x="8456486" y="4104620"/>
                <a:ext cx="0" cy="37679"/>
              </a:xfrm>
              <a:prstGeom prst="line">
                <a:avLst/>
              </a:prstGeom>
              <a:noFill/>
              <a:ln w="9525" cap="rnd" cmpd="sng" algn="ctr">
                <a:solidFill>
                  <a:sysClr val="windowText" lastClr="000000"/>
                </a:solidFill>
                <a:prstDash val="solid"/>
              </a:ln>
              <a:effectLst/>
            </p:spPr>
          </p:cxnSp>
        </p:grpSp>
        <p:grpSp>
          <p:nvGrpSpPr>
            <p:cNvPr id="166" name="Group 1415"/>
            <p:cNvGrpSpPr>
              <a:grpSpLocks/>
            </p:cNvGrpSpPr>
            <p:nvPr/>
          </p:nvGrpSpPr>
          <p:grpSpPr bwMode="auto">
            <a:xfrm>
              <a:off x="7917690" y="3417051"/>
              <a:ext cx="37465" cy="37465"/>
              <a:chOff x="8437682" y="4125433"/>
              <a:chExt cx="37465" cy="37465"/>
            </a:xfrm>
          </p:grpSpPr>
          <p:cxnSp>
            <p:nvCxnSpPr>
              <p:cNvPr id="287" name="Straight Connector 1416"/>
              <p:cNvCxnSpPr/>
              <p:nvPr/>
            </p:nvCxnSpPr>
            <p:spPr>
              <a:xfrm>
                <a:off x="8456549" y="4125027"/>
                <a:ext cx="0" cy="37559"/>
              </a:xfrm>
              <a:prstGeom prst="line">
                <a:avLst/>
              </a:prstGeom>
              <a:noFill/>
              <a:ln w="9525" cap="rnd" cmpd="sng" algn="ctr">
                <a:solidFill>
                  <a:sysClr val="windowText" lastClr="000000"/>
                </a:solidFill>
                <a:prstDash val="solid"/>
              </a:ln>
              <a:effectLst/>
            </p:spPr>
          </p:cxnSp>
          <p:cxnSp>
            <p:nvCxnSpPr>
              <p:cNvPr id="288" name="Straight Connector 1417"/>
              <p:cNvCxnSpPr/>
              <p:nvPr/>
            </p:nvCxnSpPr>
            <p:spPr>
              <a:xfrm rot="16200000">
                <a:off x="8456549" y="4125614"/>
                <a:ext cx="0" cy="37679"/>
              </a:xfrm>
              <a:prstGeom prst="line">
                <a:avLst/>
              </a:prstGeom>
              <a:noFill/>
              <a:ln w="9525" cap="rnd" cmpd="sng" algn="ctr">
                <a:solidFill>
                  <a:sysClr val="windowText" lastClr="000000"/>
                </a:solidFill>
                <a:prstDash val="solid"/>
              </a:ln>
              <a:effectLst/>
            </p:spPr>
          </p:cxnSp>
        </p:grpSp>
        <p:grpSp>
          <p:nvGrpSpPr>
            <p:cNvPr id="167" name="Group 1418"/>
            <p:cNvGrpSpPr>
              <a:grpSpLocks/>
            </p:cNvGrpSpPr>
            <p:nvPr/>
          </p:nvGrpSpPr>
          <p:grpSpPr bwMode="auto">
            <a:xfrm>
              <a:off x="7934267" y="3419236"/>
              <a:ext cx="37465" cy="37465"/>
              <a:chOff x="8437682" y="4125433"/>
              <a:chExt cx="37465" cy="37465"/>
            </a:xfrm>
          </p:grpSpPr>
          <p:cxnSp>
            <p:nvCxnSpPr>
              <p:cNvPr id="285" name="Straight Connector 1419"/>
              <p:cNvCxnSpPr/>
              <p:nvPr/>
            </p:nvCxnSpPr>
            <p:spPr>
              <a:xfrm>
                <a:off x="8456718" y="4125432"/>
                <a:ext cx="0" cy="37559"/>
              </a:xfrm>
              <a:prstGeom prst="line">
                <a:avLst/>
              </a:prstGeom>
              <a:noFill/>
              <a:ln w="9525" cap="rnd" cmpd="sng" algn="ctr">
                <a:solidFill>
                  <a:sysClr val="windowText" lastClr="000000"/>
                </a:solidFill>
                <a:prstDash val="solid"/>
              </a:ln>
              <a:effectLst/>
            </p:spPr>
          </p:cxnSp>
          <p:cxnSp>
            <p:nvCxnSpPr>
              <p:cNvPr id="286" name="Straight Connector 1420"/>
              <p:cNvCxnSpPr/>
              <p:nvPr/>
            </p:nvCxnSpPr>
            <p:spPr>
              <a:xfrm rot="16200000">
                <a:off x="8456718" y="4126020"/>
                <a:ext cx="0" cy="37679"/>
              </a:xfrm>
              <a:prstGeom prst="line">
                <a:avLst/>
              </a:prstGeom>
              <a:noFill/>
              <a:ln w="9525" cap="rnd" cmpd="sng" algn="ctr">
                <a:solidFill>
                  <a:sysClr val="windowText" lastClr="000000"/>
                </a:solidFill>
                <a:prstDash val="solid"/>
              </a:ln>
              <a:effectLst/>
            </p:spPr>
          </p:cxnSp>
        </p:grpSp>
        <p:grpSp>
          <p:nvGrpSpPr>
            <p:cNvPr id="168" name="Group 1421"/>
            <p:cNvGrpSpPr>
              <a:grpSpLocks/>
            </p:cNvGrpSpPr>
            <p:nvPr/>
          </p:nvGrpSpPr>
          <p:grpSpPr bwMode="auto">
            <a:xfrm>
              <a:off x="7950844" y="3416659"/>
              <a:ext cx="37465" cy="37465"/>
              <a:chOff x="8437682" y="4125433"/>
              <a:chExt cx="37465" cy="37465"/>
            </a:xfrm>
          </p:grpSpPr>
          <p:cxnSp>
            <p:nvCxnSpPr>
              <p:cNvPr id="283" name="Straight Connector 1422"/>
              <p:cNvCxnSpPr/>
              <p:nvPr/>
            </p:nvCxnSpPr>
            <p:spPr>
              <a:xfrm>
                <a:off x="8456887" y="4125418"/>
                <a:ext cx="0" cy="37559"/>
              </a:xfrm>
              <a:prstGeom prst="line">
                <a:avLst/>
              </a:prstGeom>
              <a:noFill/>
              <a:ln w="9525" cap="rnd" cmpd="sng" algn="ctr">
                <a:solidFill>
                  <a:sysClr val="windowText" lastClr="000000"/>
                </a:solidFill>
                <a:prstDash val="solid"/>
              </a:ln>
              <a:effectLst/>
            </p:spPr>
          </p:cxnSp>
          <p:cxnSp>
            <p:nvCxnSpPr>
              <p:cNvPr id="284" name="Straight Connector 1423"/>
              <p:cNvCxnSpPr/>
              <p:nvPr/>
            </p:nvCxnSpPr>
            <p:spPr>
              <a:xfrm rot="16200000">
                <a:off x="8456364" y="4126529"/>
                <a:ext cx="0" cy="36632"/>
              </a:xfrm>
              <a:prstGeom prst="line">
                <a:avLst/>
              </a:prstGeom>
              <a:noFill/>
              <a:ln w="9525" cap="rnd" cmpd="sng" algn="ctr">
                <a:solidFill>
                  <a:sysClr val="windowText" lastClr="000000"/>
                </a:solidFill>
                <a:prstDash val="solid"/>
              </a:ln>
              <a:effectLst/>
            </p:spPr>
          </p:cxnSp>
        </p:grpSp>
        <p:grpSp>
          <p:nvGrpSpPr>
            <p:cNvPr id="169" name="Group 1424"/>
            <p:cNvGrpSpPr>
              <a:grpSpLocks/>
            </p:cNvGrpSpPr>
            <p:nvPr/>
          </p:nvGrpSpPr>
          <p:grpSpPr bwMode="auto">
            <a:xfrm>
              <a:off x="7965040" y="3418844"/>
              <a:ext cx="37465" cy="37465"/>
              <a:chOff x="8437682" y="4125433"/>
              <a:chExt cx="37465" cy="37465"/>
            </a:xfrm>
          </p:grpSpPr>
          <p:cxnSp>
            <p:nvCxnSpPr>
              <p:cNvPr id="281" name="Straight Connector 1425"/>
              <p:cNvCxnSpPr/>
              <p:nvPr/>
            </p:nvCxnSpPr>
            <p:spPr>
              <a:xfrm>
                <a:off x="8456298" y="4125824"/>
                <a:ext cx="0" cy="37559"/>
              </a:xfrm>
              <a:prstGeom prst="line">
                <a:avLst/>
              </a:prstGeom>
              <a:noFill/>
              <a:ln w="9525" cap="rnd" cmpd="sng" algn="ctr">
                <a:solidFill>
                  <a:sysClr val="windowText" lastClr="000000"/>
                </a:solidFill>
                <a:prstDash val="solid"/>
              </a:ln>
              <a:effectLst/>
            </p:spPr>
          </p:cxnSp>
          <p:cxnSp>
            <p:nvCxnSpPr>
              <p:cNvPr id="282" name="Straight Connector 1426"/>
              <p:cNvCxnSpPr/>
              <p:nvPr/>
            </p:nvCxnSpPr>
            <p:spPr>
              <a:xfrm rot="16200000">
                <a:off x="8456298" y="4126411"/>
                <a:ext cx="0" cy="37679"/>
              </a:xfrm>
              <a:prstGeom prst="line">
                <a:avLst/>
              </a:prstGeom>
              <a:noFill/>
              <a:ln w="9525" cap="rnd" cmpd="sng" algn="ctr">
                <a:solidFill>
                  <a:sysClr val="windowText" lastClr="000000"/>
                </a:solidFill>
                <a:prstDash val="solid"/>
              </a:ln>
              <a:effectLst/>
            </p:spPr>
          </p:cxnSp>
        </p:grpSp>
        <p:grpSp>
          <p:nvGrpSpPr>
            <p:cNvPr id="170" name="Group 1427"/>
            <p:cNvGrpSpPr>
              <a:grpSpLocks/>
            </p:cNvGrpSpPr>
            <p:nvPr/>
          </p:nvGrpSpPr>
          <p:grpSpPr bwMode="auto">
            <a:xfrm>
              <a:off x="7979236" y="3418648"/>
              <a:ext cx="37465" cy="37465"/>
              <a:chOff x="8437682" y="4125433"/>
              <a:chExt cx="37465" cy="37465"/>
            </a:xfrm>
          </p:grpSpPr>
          <p:cxnSp>
            <p:nvCxnSpPr>
              <p:cNvPr id="279" name="Straight Connector 1428"/>
              <p:cNvCxnSpPr/>
              <p:nvPr/>
            </p:nvCxnSpPr>
            <p:spPr>
              <a:xfrm>
                <a:off x="8456755" y="4126020"/>
                <a:ext cx="0" cy="36264"/>
              </a:xfrm>
              <a:prstGeom prst="line">
                <a:avLst/>
              </a:prstGeom>
              <a:noFill/>
              <a:ln w="9525" cap="rnd" cmpd="sng" algn="ctr">
                <a:solidFill>
                  <a:sysClr val="windowText" lastClr="000000"/>
                </a:solidFill>
                <a:prstDash val="solid"/>
              </a:ln>
              <a:effectLst/>
            </p:spPr>
          </p:cxnSp>
          <p:cxnSp>
            <p:nvCxnSpPr>
              <p:cNvPr id="280" name="Straight Connector 1429"/>
              <p:cNvCxnSpPr/>
              <p:nvPr/>
            </p:nvCxnSpPr>
            <p:spPr>
              <a:xfrm rot="16200000">
                <a:off x="8456755" y="4125312"/>
                <a:ext cx="0" cy="37679"/>
              </a:xfrm>
              <a:prstGeom prst="line">
                <a:avLst/>
              </a:prstGeom>
              <a:noFill/>
              <a:ln w="9525" cap="rnd" cmpd="sng" algn="ctr">
                <a:solidFill>
                  <a:sysClr val="windowText" lastClr="000000"/>
                </a:solidFill>
                <a:prstDash val="solid"/>
              </a:ln>
              <a:effectLst/>
            </p:spPr>
          </p:cxnSp>
        </p:grpSp>
        <p:grpSp>
          <p:nvGrpSpPr>
            <p:cNvPr id="171" name="Group 1430"/>
            <p:cNvGrpSpPr>
              <a:grpSpLocks/>
            </p:cNvGrpSpPr>
            <p:nvPr/>
          </p:nvGrpSpPr>
          <p:grpSpPr bwMode="auto">
            <a:xfrm>
              <a:off x="7993432" y="3418452"/>
              <a:ext cx="37465" cy="37465"/>
              <a:chOff x="8437682" y="4125433"/>
              <a:chExt cx="37465" cy="37465"/>
            </a:xfrm>
          </p:grpSpPr>
          <p:cxnSp>
            <p:nvCxnSpPr>
              <p:cNvPr id="277" name="Straight Connector 1431"/>
              <p:cNvCxnSpPr/>
              <p:nvPr/>
            </p:nvCxnSpPr>
            <p:spPr>
              <a:xfrm>
                <a:off x="8456164" y="4124921"/>
                <a:ext cx="0" cy="37560"/>
              </a:xfrm>
              <a:prstGeom prst="line">
                <a:avLst/>
              </a:prstGeom>
              <a:noFill/>
              <a:ln w="9525" cap="rnd" cmpd="sng" algn="ctr">
                <a:solidFill>
                  <a:sysClr val="windowText" lastClr="000000"/>
                </a:solidFill>
                <a:prstDash val="solid"/>
              </a:ln>
              <a:effectLst/>
            </p:spPr>
          </p:cxnSp>
          <p:cxnSp>
            <p:nvCxnSpPr>
              <p:cNvPr id="278" name="Straight Connector 1432"/>
              <p:cNvCxnSpPr/>
              <p:nvPr/>
            </p:nvCxnSpPr>
            <p:spPr>
              <a:xfrm rot="16200000">
                <a:off x="8456164" y="4125509"/>
                <a:ext cx="0" cy="37679"/>
              </a:xfrm>
              <a:prstGeom prst="line">
                <a:avLst/>
              </a:prstGeom>
              <a:noFill/>
              <a:ln w="9525" cap="rnd" cmpd="sng" algn="ctr">
                <a:solidFill>
                  <a:sysClr val="windowText" lastClr="000000"/>
                </a:solidFill>
                <a:prstDash val="solid"/>
              </a:ln>
              <a:effectLst/>
            </p:spPr>
          </p:cxnSp>
        </p:grpSp>
        <p:grpSp>
          <p:nvGrpSpPr>
            <p:cNvPr id="172" name="Group 1433"/>
            <p:cNvGrpSpPr>
              <a:grpSpLocks/>
            </p:cNvGrpSpPr>
            <p:nvPr/>
          </p:nvGrpSpPr>
          <p:grpSpPr bwMode="auto">
            <a:xfrm>
              <a:off x="8007628" y="3423018"/>
              <a:ext cx="37465" cy="37465"/>
              <a:chOff x="8437682" y="4125433"/>
              <a:chExt cx="37465" cy="37465"/>
            </a:xfrm>
          </p:grpSpPr>
          <p:cxnSp>
            <p:nvCxnSpPr>
              <p:cNvPr id="275" name="Straight Connector 1434"/>
              <p:cNvCxnSpPr/>
              <p:nvPr/>
            </p:nvCxnSpPr>
            <p:spPr>
              <a:xfrm>
                <a:off x="8456621" y="4125535"/>
                <a:ext cx="0" cy="37560"/>
              </a:xfrm>
              <a:prstGeom prst="line">
                <a:avLst/>
              </a:prstGeom>
              <a:noFill/>
              <a:ln w="9525" cap="rnd" cmpd="sng" algn="ctr">
                <a:solidFill>
                  <a:sysClr val="windowText" lastClr="000000"/>
                </a:solidFill>
                <a:prstDash val="solid"/>
              </a:ln>
              <a:effectLst/>
            </p:spPr>
          </p:cxnSp>
          <p:cxnSp>
            <p:nvCxnSpPr>
              <p:cNvPr id="276" name="Straight Connector 1435"/>
              <p:cNvCxnSpPr/>
              <p:nvPr/>
            </p:nvCxnSpPr>
            <p:spPr>
              <a:xfrm rot="16200000">
                <a:off x="8456621" y="4126123"/>
                <a:ext cx="0" cy="37679"/>
              </a:xfrm>
              <a:prstGeom prst="line">
                <a:avLst/>
              </a:prstGeom>
              <a:noFill/>
              <a:ln w="9525" cap="rnd" cmpd="sng" algn="ctr">
                <a:solidFill>
                  <a:sysClr val="windowText" lastClr="000000"/>
                </a:solidFill>
                <a:prstDash val="solid"/>
              </a:ln>
              <a:effectLst/>
            </p:spPr>
          </p:cxnSp>
        </p:grpSp>
        <p:grpSp>
          <p:nvGrpSpPr>
            <p:cNvPr id="173" name="Group 1436"/>
            <p:cNvGrpSpPr>
              <a:grpSpLocks/>
            </p:cNvGrpSpPr>
            <p:nvPr/>
          </p:nvGrpSpPr>
          <p:grpSpPr bwMode="auto">
            <a:xfrm>
              <a:off x="8038491" y="3444251"/>
              <a:ext cx="37465" cy="37465"/>
              <a:chOff x="8437682" y="4125433"/>
              <a:chExt cx="37465" cy="37465"/>
            </a:xfrm>
          </p:grpSpPr>
          <p:cxnSp>
            <p:nvCxnSpPr>
              <p:cNvPr id="273" name="Straight Connector 1437"/>
              <p:cNvCxnSpPr/>
              <p:nvPr/>
            </p:nvCxnSpPr>
            <p:spPr>
              <a:xfrm>
                <a:off x="8456111" y="4125024"/>
                <a:ext cx="0" cy="37560"/>
              </a:xfrm>
              <a:prstGeom prst="line">
                <a:avLst/>
              </a:prstGeom>
              <a:noFill/>
              <a:ln w="9525" cap="rnd" cmpd="sng" algn="ctr">
                <a:solidFill>
                  <a:sysClr val="windowText" lastClr="000000"/>
                </a:solidFill>
                <a:prstDash val="solid"/>
              </a:ln>
              <a:effectLst/>
            </p:spPr>
          </p:cxnSp>
          <p:cxnSp>
            <p:nvCxnSpPr>
              <p:cNvPr id="274" name="Straight Connector 1438"/>
              <p:cNvCxnSpPr/>
              <p:nvPr/>
            </p:nvCxnSpPr>
            <p:spPr>
              <a:xfrm rot="16200000">
                <a:off x="8456111" y="4125613"/>
                <a:ext cx="0" cy="37679"/>
              </a:xfrm>
              <a:prstGeom prst="line">
                <a:avLst/>
              </a:prstGeom>
              <a:noFill/>
              <a:ln w="9525" cap="rnd" cmpd="sng" algn="ctr">
                <a:solidFill>
                  <a:sysClr val="windowText" lastClr="000000"/>
                </a:solidFill>
                <a:prstDash val="solid"/>
              </a:ln>
              <a:effectLst/>
            </p:spPr>
          </p:cxnSp>
        </p:grpSp>
        <p:grpSp>
          <p:nvGrpSpPr>
            <p:cNvPr id="174" name="Group 1439"/>
            <p:cNvGrpSpPr>
              <a:grpSpLocks/>
            </p:cNvGrpSpPr>
            <p:nvPr/>
          </p:nvGrpSpPr>
          <p:grpSpPr bwMode="auto">
            <a:xfrm>
              <a:off x="8069354" y="3444055"/>
              <a:ext cx="37465" cy="37465"/>
              <a:chOff x="8437682" y="4125433"/>
              <a:chExt cx="37465" cy="37465"/>
            </a:xfrm>
          </p:grpSpPr>
          <p:cxnSp>
            <p:nvCxnSpPr>
              <p:cNvPr id="271" name="Straight Connector 1440"/>
              <p:cNvCxnSpPr/>
              <p:nvPr/>
            </p:nvCxnSpPr>
            <p:spPr>
              <a:xfrm>
                <a:off x="8456646" y="4125220"/>
                <a:ext cx="0" cy="37560"/>
              </a:xfrm>
              <a:prstGeom prst="line">
                <a:avLst/>
              </a:prstGeom>
              <a:noFill/>
              <a:ln w="9525" cap="rnd" cmpd="sng" algn="ctr">
                <a:solidFill>
                  <a:sysClr val="windowText" lastClr="000000"/>
                </a:solidFill>
                <a:prstDash val="solid"/>
              </a:ln>
              <a:effectLst/>
            </p:spPr>
          </p:cxnSp>
          <p:cxnSp>
            <p:nvCxnSpPr>
              <p:cNvPr id="272" name="Straight Connector 1441"/>
              <p:cNvCxnSpPr/>
              <p:nvPr/>
            </p:nvCxnSpPr>
            <p:spPr>
              <a:xfrm rot="16200000">
                <a:off x="8456646" y="4125808"/>
                <a:ext cx="0" cy="37679"/>
              </a:xfrm>
              <a:prstGeom prst="line">
                <a:avLst/>
              </a:prstGeom>
              <a:noFill/>
              <a:ln w="9525" cap="rnd" cmpd="sng" algn="ctr">
                <a:solidFill>
                  <a:sysClr val="windowText" lastClr="000000"/>
                </a:solidFill>
                <a:prstDash val="solid"/>
              </a:ln>
              <a:effectLst/>
            </p:spPr>
          </p:cxnSp>
        </p:grpSp>
        <p:grpSp>
          <p:nvGrpSpPr>
            <p:cNvPr id="175" name="Group 1442"/>
            <p:cNvGrpSpPr>
              <a:grpSpLocks/>
            </p:cNvGrpSpPr>
            <p:nvPr/>
          </p:nvGrpSpPr>
          <p:grpSpPr bwMode="auto">
            <a:xfrm>
              <a:off x="8088312" y="3443859"/>
              <a:ext cx="37465" cy="37465"/>
              <a:chOff x="8437682" y="4125433"/>
              <a:chExt cx="37465" cy="37465"/>
            </a:xfrm>
          </p:grpSpPr>
          <p:cxnSp>
            <p:nvCxnSpPr>
              <p:cNvPr id="269" name="Straight Connector 1443"/>
              <p:cNvCxnSpPr/>
              <p:nvPr/>
            </p:nvCxnSpPr>
            <p:spPr>
              <a:xfrm>
                <a:off x="8456527" y="4125417"/>
                <a:ext cx="0" cy="37560"/>
              </a:xfrm>
              <a:prstGeom prst="line">
                <a:avLst/>
              </a:prstGeom>
              <a:noFill/>
              <a:ln w="9525" cap="rnd" cmpd="sng" algn="ctr">
                <a:solidFill>
                  <a:sysClr val="windowText" lastClr="000000"/>
                </a:solidFill>
                <a:prstDash val="solid"/>
              </a:ln>
              <a:effectLst/>
            </p:spPr>
          </p:cxnSp>
          <p:cxnSp>
            <p:nvCxnSpPr>
              <p:cNvPr id="270" name="Straight Connector 1444"/>
              <p:cNvCxnSpPr/>
              <p:nvPr/>
            </p:nvCxnSpPr>
            <p:spPr>
              <a:xfrm rot="16200000">
                <a:off x="8456527" y="4126005"/>
                <a:ext cx="0" cy="37679"/>
              </a:xfrm>
              <a:prstGeom prst="line">
                <a:avLst/>
              </a:prstGeom>
              <a:noFill/>
              <a:ln w="9525" cap="rnd" cmpd="sng" algn="ctr">
                <a:solidFill>
                  <a:sysClr val="windowText" lastClr="000000"/>
                </a:solidFill>
                <a:prstDash val="solid"/>
              </a:ln>
              <a:effectLst/>
            </p:spPr>
          </p:cxnSp>
        </p:grpSp>
        <p:grpSp>
          <p:nvGrpSpPr>
            <p:cNvPr id="176" name="Group 1445"/>
            <p:cNvGrpSpPr>
              <a:grpSpLocks/>
            </p:cNvGrpSpPr>
            <p:nvPr/>
          </p:nvGrpSpPr>
          <p:grpSpPr bwMode="auto">
            <a:xfrm>
              <a:off x="8104889" y="3443663"/>
              <a:ext cx="37465" cy="37465"/>
              <a:chOff x="8437682" y="4125433"/>
              <a:chExt cx="37465" cy="37465"/>
            </a:xfrm>
          </p:grpSpPr>
          <p:cxnSp>
            <p:nvCxnSpPr>
              <p:cNvPr id="267" name="Straight Connector 1446"/>
              <p:cNvCxnSpPr/>
              <p:nvPr/>
            </p:nvCxnSpPr>
            <p:spPr>
              <a:xfrm>
                <a:off x="8456697" y="4125612"/>
                <a:ext cx="0" cy="37560"/>
              </a:xfrm>
              <a:prstGeom prst="line">
                <a:avLst/>
              </a:prstGeom>
              <a:noFill/>
              <a:ln w="9525" cap="rnd" cmpd="sng" algn="ctr">
                <a:solidFill>
                  <a:sysClr val="windowText" lastClr="000000"/>
                </a:solidFill>
                <a:prstDash val="solid"/>
              </a:ln>
              <a:effectLst/>
            </p:spPr>
          </p:cxnSp>
          <p:cxnSp>
            <p:nvCxnSpPr>
              <p:cNvPr id="268" name="Straight Connector 1447"/>
              <p:cNvCxnSpPr/>
              <p:nvPr/>
            </p:nvCxnSpPr>
            <p:spPr>
              <a:xfrm rot="16200000">
                <a:off x="8456697" y="4126201"/>
                <a:ext cx="0" cy="37679"/>
              </a:xfrm>
              <a:prstGeom prst="line">
                <a:avLst/>
              </a:prstGeom>
              <a:noFill/>
              <a:ln w="9525" cap="rnd" cmpd="sng" algn="ctr">
                <a:solidFill>
                  <a:sysClr val="windowText" lastClr="000000"/>
                </a:solidFill>
                <a:prstDash val="solid"/>
              </a:ln>
              <a:effectLst/>
            </p:spPr>
          </p:cxnSp>
        </p:grpSp>
        <p:grpSp>
          <p:nvGrpSpPr>
            <p:cNvPr id="177" name="Group 1448"/>
            <p:cNvGrpSpPr>
              <a:grpSpLocks/>
            </p:cNvGrpSpPr>
            <p:nvPr/>
          </p:nvGrpSpPr>
          <p:grpSpPr bwMode="auto">
            <a:xfrm>
              <a:off x="8121466" y="3443467"/>
              <a:ext cx="37465" cy="37465"/>
              <a:chOff x="8437682" y="4125433"/>
              <a:chExt cx="37465" cy="37465"/>
            </a:xfrm>
          </p:grpSpPr>
          <p:cxnSp>
            <p:nvCxnSpPr>
              <p:cNvPr id="265" name="Straight Connector 1449"/>
              <p:cNvCxnSpPr/>
              <p:nvPr/>
            </p:nvCxnSpPr>
            <p:spPr>
              <a:xfrm>
                <a:off x="8456865" y="4125808"/>
                <a:ext cx="0" cy="37560"/>
              </a:xfrm>
              <a:prstGeom prst="line">
                <a:avLst/>
              </a:prstGeom>
              <a:noFill/>
              <a:ln w="9525" cap="rnd" cmpd="sng" algn="ctr">
                <a:solidFill>
                  <a:sysClr val="windowText" lastClr="000000"/>
                </a:solidFill>
                <a:prstDash val="solid"/>
              </a:ln>
              <a:effectLst/>
            </p:spPr>
          </p:cxnSp>
          <p:cxnSp>
            <p:nvCxnSpPr>
              <p:cNvPr id="266" name="Straight Connector 1450"/>
              <p:cNvCxnSpPr/>
              <p:nvPr/>
            </p:nvCxnSpPr>
            <p:spPr>
              <a:xfrm rot="16200000">
                <a:off x="8456342" y="4126920"/>
                <a:ext cx="0" cy="36632"/>
              </a:xfrm>
              <a:prstGeom prst="line">
                <a:avLst/>
              </a:prstGeom>
              <a:noFill/>
              <a:ln w="9525" cap="rnd" cmpd="sng" algn="ctr">
                <a:solidFill>
                  <a:sysClr val="windowText" lastClr="000000"/>
                </a:solidFill>
                <a:prstDash val="solid"/>
              </a:ln>
              <a:effectLst/>
            </p:spPr>
          </p:cxnSp>
        </p:grpSp>
        <p:grpSp>
          <p:nvGrpSpPr>
            <p:cNvPr id="178" name="Group 1451"/>
            <p:cNvGrpSpPr>
              <a:grpSpLocks/>
            </p:cNvGrpSpPr>
            <p:nvPr/>
          </p:nvGrpSpPr>
          <p:grpSpPr bwMode="auto">
            <a:xfrm>
              <a:off x="8138043" y="3448033"/>
              <a:ext cx="37465" cy="37465"/>
              <a:chOff x="8437682" y="4125433"/>
              <a:chExt cx="37465" cy="37465"/>
            </a:xfrm>
          </p:grpSpPr>
          <p:cxnSp>
            <p:nvCxnSpPr>
              <p:cNvPr id="263" name="Straight Connector 1452"/>
              <p:cNvCxnSpPr/>
              <p:nvPr/>
            </p:nvCxnSpPr>
            <p:spPr>
              <a:xfrm>
                <a:off x="8457034" y="4125129"/>
                <a:ext cx="0" cy="37559"/>
              </a:xfrm>
              <a:prstGeom prst="line">
                <a:avLst/>
              </a:prstGeom>
              <a:noFill/>
              <a:ln w="9525" cap="rnd" cmpd="sng" algn="ctr">
                <a:solidFill>
                  <a:sysClr val="windowText" lastClr="000000"/>
                </a:solidFill>
                <a:prstDash val="solid"/>
              </a:ln>
              <a:effectLst/>
            </p:spPr>
          </p:cxnSp>
          <p:cxnSp>
            <p:nvCxnSpPr>
              <p:cNvPr id="264" name="Straight Connector 1453"/>
              <p:cNvCxnSpPr/>
              <p:nvPr/>
            </p:nvCxnSpPr>
            <p:spPr>
              <a:xfrm rot="16200000">
                <a:off x="8456511" y="4126240"/>
                <a:ext cx="0" cy="36632"/>
              </a:xfrm>
              <a:prstGeom prst="line">
                <a:avLst/>
              </a:prstGeom>
              <a:noFill/>
              <a:ln w="9525" cap="rnd" cmpd="sng" algn="ctr">
                <a:solidFill>
                  <a:sysClr val="windowText" lastClr="000000"/>
                </a:solidFill>
                <a:prstDash val="solid"/>
              </a:ln>
              <a:effectLst/>
            </p:spPr>
          </p:cxnSp>
        </p:grpSp>
        <p:grpSp>
          <p:nvGrpSpPr>
            <p:cNvPr id="179" name="Group 1454"/>
            <p:cNvGrpSpPr>
              <a:grpSpLocks/>
            </p:cNvGrpSpPr>
            <p:nvPr/>
          </p:nvGrpSpPr>
          <p:grpSpPr bwMode="auto">
            <a:xfrm>
              <a:off x="8185573" y="3476409"/>
              <a:ext cx="37465" cy="37465"/>
              <a:chOff x="8437682" y="4125433"/>
              <a:chExt cx="37465" cy="37465"/>
            </a:xfrm>
          </p:grpSpPr>
          <p:cxnSp>
            <p:nvCxnSpPr>
              <p:cNvPr id="261" name="Straight Connector 1455"/>
              <p:cNvCxnSpPr/>
              <p:nvPr/>
            </p:nvCxnSpPr>
            <p:spPr>
              <a:xfrm>
                <a:off x="8456602" y="4125246"/>
                <a:ext cx="0" cy="37559"/>
              </a:xfrm>
              <a:prstGeom prst="line">
                <a:avLst/>
              </a:prstGeom>
              <a:noFill/>
              <a:ln w="9525" cap="rnd" cmpd="sng" algn="ctr">
                <a:solidFill>
                  <a:sysClr val="windowText" lastClr="000000"/>
                </a:solidFill>
                <a:prstDash val="solid"/>
              </a:ln>
              <a:effectLst/>
            </p:spPr>
          </p:cxnSp>
          <p:cxnSp>
            <p:nvCxnSpPr>
              <p:cNvPr id="262" name="Straight Connector 1456"/>
              <p:cNvCxnSpPr/>
              <p:nvPr/>
            </p:nvCxnSpPr>
            <p:spPr>
              <a:xfrm rot="16200000">
                <a:off x="8456602" y="4125834"/>
                <a:ext cx="0" cy="37679"/>
              </a:xfrm>
              <a:prstGeom prst="line">
                <a:avLst/>
              </a:prstGeom>
              <a:noFill/>
              <a:ln w="9525" cap="rnd" cmpd="sng" algn="ctr">
                <a:solidFill>
                  <a:sysClr val="windowText" lastClr="000000"/>
                </a:solidFill>
                <a:prstDash val="solid"/>
              </a:ln>
              <a:effectLst/>
            </p:spPr>
          </p:cxnSp>
        </p:grpSp>
        <p:grpSp>
          <p:nvGrpSpPr>
            <p:cNvPr id="180" name="Group 1457"/>
            <p:cNvGrpSpPr>
              <a:grpSpLocks/>
            </p:cNvGrpSpPr>
            <p:nvPr/>
          </p:nvGrpSpPr>
          <p:grpSpPr bwMode="auto">
            <a:xfrm>
              <a:off x="8202150" y="3476213"/>
              <a:ext cx="37465" cy="37465"/>
              <a:chOff x="8437682" y="4125433"/>
              <a:chExt cx="37465" cy="37465"/>
            </a:xfrm>
          </p:grpSpPr>
          <p:cxnSp>
            <p:nvCxnSpPr>
              <p:cNvPr id="259" name="Straight Connector 1458"/>
              <p:cNvCxnSpPr/>
              <p:nvPr/>
            </p:nvCxnSpPr>
            <p:spPr>
              <a:xfrm>
                <a:off x="8456771" y="4125442"/>
                <a:ext cx="0" cy="37559"/>
              </a:xfrm>
              <a:prstGeom prst="line">
                <a:avLst/>
              </a:prstGeom>
              <a:noFill/>
              <a:ln w="9525" cap="rnd" cmpd="sng" algn="ctr">
                <a:solidFill>
                  <a:sysClr val="windowText" lastClr="000000"/>
                </a:solidFill>
                <a:prstDash val="solid"/>
              </a:ln>
              <a:effectLst/>
            </p:spPr>
          </p:cxnSp>
          <p:cxnSp>
            <p:nvCxnSpPr>
              <p:cNvPr id="260" name="Straight Connector 1459"/>
              <p:cNvCxnSpPr/>
              <p:nvPr/>
            </p:nvCxnSpPr>
            <p:spPr>
              <a:xfrm rot="16200000">
                <a:off x="8456771" y="4126029"/>
                <a:ext cx="0" cy="37679"/>
              </a:xfrm>
              <a:prstGeom prst="line">
                <a:avLst/>
              </a:prstGeom>
              <a:noFill/>
              <a:ln w="9525" cap="rnd" cmpd="sng" algn="ctr">
                <a:solidFill>
                  <a:sysClr val="windowText" lastClr="000000"/>
                </a:solidFill>
                <a:prstDash val="solid"/>
              </a:ln>
              <a:effectLst/>
            </p:spPr>
          </p:cxnSp>
        </p:grpSp>
        <p:grpSp>
          <p:nvGrpSpPr>
            <p:cNvPr id="181" name="Group 1460"/>
            <p:cNvGrpSpPr>
              <a:grpSpLocks/>
            </p:cNvGrpSpPr>
            <p:nvPr/>
          </p:nvGrpSpPr>
          <p:grpSpPr bwMode="auto">
            <a:xfrm>
              <a:off x="8218727" y="3476017"/>
              <a:ext cx="37465" cy="37465"/>
              <a:chOff x="8437682" y="4125433"/>
              <a:chExt cx="37465" cy="37465"/>
            </a:xfrm>
          </p:grpSpPr>
          <p:cxnSp>
            <p:nvCxnSpPr>
              <p:cNvPr id="257" name="Straight Connector 1461"/>
              <p:cNvCxnSpPr/>
              <p:nvPr/>
            </p:nvCxnSpPr>
            <p:spPr>
              <a:xfrm>
                <a:off x="8456941" y="4125638"/>
                <a:ext cx="0" cy="37559"/>
              </a:xfrm>
              <a:prstGeom prst="line">
                <a:avLst/>
              </a:prstGeom>
              <a:noFill/>
              <a:ln w="9525" cap="rnd" cmpd="sng" algn="ctr">
                <a:solidFill>
                  <a:sysClr val="windowText" lastClr="000000"/>
                </a:solidFill>
                <a:prstDash val="solid"/>
              </a:ln>
              <a:effectLst/>
            </p:spPr>
          </p:cxnSp>
          <p:cxnSp>
            <p:nvCxnSpPr>
              <p:cNvPr id="258" name="Straight Connector 1462"/>
              <p:cNvCxnSpPr/>
              <p:nvPr/>
            </p:nvCxnSpPr>
            <p:spPr>
              <a:xfrm rot="16200000">
                <a:off x="8456418" y="4126748"/>
                <a:ext cx="0" cy="36632"/>
              </a:xfrm>
              <a:prstGeom prst="line">
                <a:avLst/>
              </a:prstGeom>
              <a:noFill/>
              <a:ln w="9525" cap="rnd" cmpd="sng" algn="ctr">
                <a:solidFill>
                  <a:sysClr val="windowText" lastClr="000000"/>
                </a:solidFill>
                <a:prstDash val="solid"/>
              </a:ln>
              <a:effectLst/>
            </p:spPr>
          </p:cxnSp>
        </p:grpSp>
        <p:grpSp>
          <p:nvGrpSpPr>
            <p:cNvPr id="182" name="Group 1463"/>
            <p:cNvGrpSpPr>
              <a:grpSpLocks/>
            </p:cNvGrpSpPr>
            <p:nvPr/>
          </p:nvGrpSpPr>
          <p:grpSpPr bwMode="auto">
            <a:xfrm>
              <a:off x="8237685" y="3475821"/>
              <a:ext cx="37465" cy="37465"/>
              <a:chOff x="8437682" y="4125433"/>
              <a:chExt cx="37465" cy="37465"/>
            </a:xfrm>
          </p:grpSpPr>
          <p:cxnSp>
            <p:nvCxnSpPr>
              <p:cNvPr id="255" name="Straight Connector 1464"/>
              <p:cNvCxnSpPr/>
              <p:nvPr/>
            </p:nvCxnSpPr>
            <p:spPr>
              <a:xfrm>
                <a:off x="8456821" y="4125834"/>
                <a:ext cx="0" cy="37559"/>
              </a:xfrm>
              <a:prstGeom prst="line">
                <a:avLst/>
              </a:prstGeom>
              <a:noFill/>
              <a:ln w="9525" cap="rnd" cmpd="sng" algn="ctr">
                <a:solidFill>
                  <a:sysClr val="windowText" lastClr="000000"/>
                </a:solidFill>
                <a:prstDash val="solid"/>
              </a:ln>
              <a:effectLst/>
            </p:spPr>
          </p:cxnSp>
          <p:cxnSp>
            <p:nvCxnSpPr>
              <p:cNvPr id="256" name="Straight Connector 1465"/>
              <p:cNvCxnSpPr/>
              <p:nvPr/>
            </p:nvCxnSpPr>
            <p:spPr>
              <a:xfrm rot="16200000">
                <a:off x="8456821" y="4126421"/>
                <a:ext cx="0" cy="37679"/>
              </a:xfrm>
              <a:prstGeom prst="line">
                <a:avLst/>
              </a:prstGeom>
              <a:noFill/>
              <a:ln w="9525" cap="rnd" cmpd="sng" algn="ctr">
                <a:solidFill>
                  <a:sysClr val="windowText" lastClr="000000"/>
                </a:solidFill>
                <a:prstDash val="solid"/>
              </a:ln>
              <a:effectLst/>
            </p:spPr>
          </p:cxnSp>
        </p:grpSp>
        <p:grpSp>
          <p:nvGrpSpPr>
            <p:cNvPr id="183" name="Group 1466"/>
            <p:cNvGrpSpPr>
              <a:grpSpLocks/>
            </p:cNvGrpSpPr>
            <p:nvPr/>
          </p:nvGrpSpPr>
          <p:grpSpPr bwMode="auto">
            <a:xfrm>
              <a:off x="8247119" y="3475625"/>
              <a:ext cx="37465" cy="37465"/>
              <a:chOff x="8437682" y="4125433"/>
              <a:chExt cx="37465" cy="37465"/>
            </a:xfrm>
          </p:grpSpPr>
          <p:cxnSp>
            <p:nvCxnSpPr>
              <p:cNvPr id="253" name="Straight Connector 1467"/>
              <p:cNvCxnSpPr/>
              <p:nvPr/>
            </p:nvCxnSpPr>
            <p:spPr>
              <a:xfrm>
                <a:off x="8456807" y="4126030"/>
                <a:ext cx="0" cy="36264"/>
              </a:xfrm>
              <a:prstGeom prst="line">
                <a:avLst/>
              </a:prstGeom>
              <a:noFill/>
              <a:ln w="9525" cap="rnd" cmpd="sng" algn="ctr">
                <a:solidFill>
                  <a:sysClr val="windowText" lastClr="000000"/>
                </a:solidFill>
                <a:prstDash val="solid"/>
              </a:ln>
              <a:effectLst/>
            </p:spPr>
          </p:cxnSp>
          <p:cxnSp>
            <p:nvCxnSpPr>
              <p:cNvPr id="254" name="Straight Connector 1468"/>
              <p:cNvCxnSpPr/>
              <p:nvPr/>
            </p:nvCxnSpPr>
            <p:spPr>
              <a:xfrm rot="16200000">
                <a:off x="8456807" y="4125323"/>
                <a:ext cx="0" cy="37679"/>
              </a:xfrm>
              <a:prstGeom prst="line">
                <a:avLst/>
              </a:prstGeom>
              <a:noFill/>
              <a:ln w="9525" cap="rnd" cmpd="sng" algn="ctr">
                <a:solidFill>
                  <a:sysClr val="windowText" lastClr="000000"/>
                </a:solidFill>
                <a:prstDash val="solid"/>
              </a:ln>
              <a:effectLst/>
            </p:spPr>
          </p:cxnSp>
        </p:grpSp>
        <p:grpSp>
          <p:nvGrpSpPr>
            <p:cNvPr id="184" name="Group 1469"/>
            <p:cNvGrpSpPr>
              <a:grpSpLocks/>
            </p:cNvGrpSpPr>
            <p:nvPr/>
          </p:nvGrpSpPr>
          <p:grpSpPr bwMode="auto">
            <a:xfrm>
              <a:off x="8256553" y="3494477"/>
              <a:ext cx="37465" cy="37465"/>
              <a:chOff x="8437682" y="4125433"/>
              <a:chExt cx="37465" cy="37465"/>
            </a:xfrm>
          </p:grpSpPr>
          <p:cxnSp>
            <p:nvCxnSpPr>
              <p:cNvPr id="251" name="Straight Connector 1470"/>
              <p:cNvCxnSpPr/>
              <p:nvPr/>
            </p:nvCxnSpPr>
            <p:spPr>
              <a:xfrm>
                <a:off x="8456793" y="4125310"/>
                <a:ext cx="0" cy="37559"/>
              </a:xfrm>
              <a:prstGeom prst="line">
                <a:avLst/>
              </a:prstGeom>
              <a:noFill/>
              <a:ln w="9525" cap="rnd" cmpd="sng" algn="ctr">
                <a:solidFill>
                  <a:sysClr val="windowText" lastClr="000000"/>
                </a:solidFill>
                <a:prstDash val="solid"/>
              </a:ln>
              <a:effectLst/>
            </p:spPr>
          </p:cxnSp>
          <p:cxnSp>
            <p:nvCxnSpPr>
              <p:cNvPr id="252" name="Straight Connector 1471"/>
              <p:cNvCxnSpPr/>
              <p:nvPr/>
            </p:nvCxnSpPr>
            <p:spPr>
              <a:xfrm rot="16200000">
                <a:off x="8456793" y="4125897"/>
                <a:ext cx="0" cy="37679"/>
              </a:xfrm>
              <a:prstGeom prst="line">
                <a:avLst/>
              </a:prstGeom>
              <a:noFill/>
              <a:ln w="9525" cap="rnd" cmpd="sng" algn="ctr">
                <a:solidFill>
                  <a:sysClr val="windowText" lastClr="000000"/>
                </a:solidFill>
                <a:prstDash val="solid"/>
              </a:ln>
              <a:effectLst/>
            </p:spPr>
          </p:cxnSp>
        </p:grpSp>
        <p:grpSp>
          <p:nvGrpSpPr>
            <p:cNvPr id="185" name="Group 1472"/>
            <p:cNvGrpSpPr>
              <a:grpSpLocks/>
            </p:cNvGrpSpPr>
            <p:nvPr/>
          </p:nvGrpSpPr>
          <p:grpSpPr bwMode="auto">
            <a:xfrm>
              <a:off x="8263606" y="3494281"/>
              <a:ext cx="37465" cy="37465"/>
              <a:chOff x="8437682" y="4125433"/>
              <a:chExt cx="37465" cy="37465"/>
            </a:xfrm>
          </p:grpSpPr>
          <p:cxnSp>
            <p:nvCxnSpPr>
              <p:cNvPr id="249" name="Straight Connector 1473"/>
              <p:cNvCxnSpPr/>
              <p:nvPr/>
            </p:nvCxnSpPr>
            <p:spPr>
              <a:xfrm>
                <a:off x="8456020" y="4125506"/>
                <a:ext cx="0" cy="37559"/>
              </a:xfrm>
              <a:prstGeom prst="line">
                <a:avLst/>
              </a:prstGeom>
              <a:noFill/>
              <a:ln w="9525" cap="rnd" cmpd="sng" algn="ctr">
                <a:solidFill>
                  <a:sysClr val="windowText" lastClr="000000"/>
                </a:solidFill>
                <a:prstDash val="solid"/>
              </a:ln>
              <a:effectLst/>
            </p:spPr>
          </p:cxnSp>
          <p:cxnSp>
            <p:nvCxnSpPr>
              <p:cNvPr id="250" name="Straight Connector 1474"/>
              <p:cNvCxnSpPr/>
              <p:nvPr/>
            </p:nvCxnSpPr>
            <p:spPr>
              <a:xfrm rot="16200000">
                <a:off x="8456020" y="4126094"/>
                <a:ext cx="0" cy="37679"/>
              </a:xfrm>
              <a:prstGeom prst="line">
                <a:avLst/>
              </a:prstGeom>
              <a:noFill/>
              <a:ln w="9525" cap="rnd" cmpd="sng" algn="ctr">
                <a:solidFill>
                  <a:sysClr val="windowText" lastClr="000000"/>
                </a:solidFill>
                <a:prstDash val="solid"/>
              </a:ln>
              <a:effectLst/>
            </p:spPr>
          </p:cxnSp>
        </p:grpSp>
        <p:grpSp>
          <p:nvGrpSpPr>
            <p:cNvPr id="186" name="Group 1475"/>
            <p:cNvGrpSpPr>
              <a:grpSpLocks/>
            </p:cNvGrpSpPr>
            <p:nvPr/>
          </p:nvGrpSpPr>
          <p:grpSpPr bwMode="auto">
            <a:xfrm>
              <a:off x="8277802" y="3532181"/>
              <a:ext cx="37465" cy="37465"/>
              <a:chOff x="8437682" y="4125433"/>
              <a:chExt cx="37465" cy="37465"/>
            </a:xfrm>
          </p:grpSpPr>
          <p:cxnSp>
            <p:nvCxnSpPr>
              <p:cNvPr id="247" name="Straight Connector 1476"/>
              <p:cNvCxnSpPr/>
              <p:nvPr/>
            </p:nvCxnSpPr>
            <p:spPr>
              <a:xfrm>
                <a:off x="8456476" y="4125165"/>
                <a:ext cx="0" cy="37560"/>
              </a:xfrm>
              <a:prstGeom prst="line">
                <a:avLst/>
              </a:prstGeom>
              <a:noFill/>
              <a:ln w="9525" cap="rnd" cmpd="sng" algn="ctr">
                <a:solidFill>
                  <a:sysClr val="windowText" lastClr="000000"/>
                </a:solidFill>
                <a:prstDash val="solid"/>
              </a:ln>
              <a:effectLst/>
            </p:spPr>
          </p:cxnSp>
          <p:cxnSp>
            <p:nvCxnSpPr>
              <p:cNvPr id="248" name="Straight Connector 1477"/>
              <p:cNvCxnSpPr/>
              <p:nvPr/>
            </p:nvCxnSpPr>
            <p:spPr>
              <a:xfrm rot="16200000">
                <a:off x="8456476" y="4125754"/>
                <a:ext cx="0" cy="37679"/>
              </a:xfrm>
              <a:prstGeom prst="line">
                <a:avLst/>
              </a:prstGeom>
              <a:noFill/>
              <a:ln w="9525" cap="rnd" cmpd="sng" algn="ctr">
                <a:solidFill>
                  <a:sysClr val="windowText" lastClr="000000"/>
                </a:solidFill>
                <a:prstDash val="solid"/>
              </a:ln>
              <a:effectLst/>
            </p:spPr>
          </p:cxnSp>
        </p:grpSp>
        <p:grpSp>
          <p:nvGrpSpPr>
            <p:cNvPr id="187" name="Group 1478"/>
            <p:cNvGrpSpPr>
              <a:grpSpLocks/>
            </p:cNvGrpSpPr>
            <p:nvPr/>
          </p:nvGrpSpPr>
          <p:grpSpPr bwMode="auto">
            <a:xfrm>
              <a:off x="8287236" y="3555795"/>
              <a:ext cx="37465" cy="37465"/>
              <a:chOff x="8437682" y="4125433"/>
              <a:chExt cx="37465" cy="37465"/>
            </a:xfrm>
          </p:grpSpPr>
          <p:cxnSp>
            <p:nvCxnSpPr>
              <p:cNvPr id="245" name="Straight Connector 1479"/>
              <p:cNvCxnSpPr/>
              <p:nvPr/>
            </p:nvCxnSpPr>
            <p:spPr>
              <a:xfrm>
                <a:off x="8456463" y="4124864"/>
                <a:ext cx="0" cy="37560"/>
              </a:xfrm>
              <a:prstGeom prst="line">
                <a:avLst/>
              </a:prstGeom>
              <a:noFill/>
              <a:ln w="9525" cap="rnd" cmpd="sng" algn="ctr">
                <a:solidFill>
                  <a:sysClr val="windowText" lastClr="000000"/>
                </a:solidFill>
                <a:prstDash val="solid"/>
              </a:ln>
              <a:effectLst/>
            </p:spPr>
          </p:cxnSp>
          <p:cxnSp>
            <p:nvCxnSpPr>
              <p:cNvPr id="246" name="Straight Connector 1480"/>
              <p:cNvCxnSpPr/>
              <p:nvPr/>
            </p:nvCxnSpPr>
            <p:spPr>
              <a:xfrm rot="16200000">
                <a:off x="8456463" y="4125453"/>
                <a:ext cx="0" cy="37679"/>
              </a:xfrm>
              <a:prstGeom prst="line">
                <a:avLst/>
              </a:prstGeom>
              <a:noFill/>
              <a:ln w="9525" cap="rnd" cmpd="sng" algn="ctr">
                <a:solidFill>
                  <a:sysClr val="windowText" lastClr="000000"/>
                </a:solidFill>
                <a:prstDash val="solid"/>
              </a:ln>
              <a:effectLst/>
            </p:spPr>
          </p:cxnSp>
        </p:grpSp>
        <p:grpSp>
          <p:nvGrpSpPr>
            <p:cNvPr id="188" name="Group 1481"/>
            <p:cNvGrpSpPr>
              <a:grpSpLocks/>
            </p:cNvGrpSpPr>
            <p:nvPr/>
          </p:nvGrpSpPr>
          <p:grpSpPr bwMode="auto">
            <a:xfrm>
              <a:off x="8301432" y="3579409"/>
              <a:ext cx="37465" cy="37465"/>
              <a:chOff x="8437682" y="4125433"/>
              <a:chExt cx="37465" cy="37465"/>
            </a:xfrm>
          </p:grpSpPr>
          <p:cxnSp>
            <p:nvCxnSpPr>
              <p:cNvPr id="243" name="Straight Connector 1482"/>
              <p:cNvCxnSpPr/>
              <p:nvPr/>
            </p:nvCxnSpPr>
            <p:spPr>
              <a:xfrm>
                <a:off x="8456919" y="4125859"/>
                <a:ext cx="0" cy="37559"/>
              </a:xfrm>
              <a:prstGeom prst="line">
                <a:avLst/>
              </a:prstGeom>
              <a:noFill/>
              <a:ln w="9525" cap="rnd" cmpd="sng" algn="ctr">
                <a:solidFill>
                  <a:sysClr val="windowText" lastClr="000000"/>
                </a:solidFill>
                <a:prstDash val="solid"/>
              </a:ln>
              <a:effectLst/>
            </p:spPr>
          </p:cxnSp>
          <p:cxnSp>
            <p:nvCxnSpPr>
              <p:cNvPr id="244" name="Straight Connector 1483"/>
              <p:cNvCxnSpPr/>
              <p:nvPr/>
            </p:nvCxnSpPr>
            <p:spPr>
              <a:xfrm rot="16200000">
                <a:off x="8456395" y="4126970"/>
                <a:ext cx="0" cy="36632"/>
              </a:xfrm>
              <a:prstGeom prst="line">
                <a:avLst/>
              </a:prstGeom>
              <a:noFill/>
              <a:ln w="9525" cap="rnd" cmpd="sng" algn="ctr">
                <a:solidFill>
                  <a:sysClr val="windowText" lastClr="000000"/>
                </a:solidFill>
                <a:prstDash val="solid"/>
              </a:ln>
              <a:effectLst/>
            </p:spPr>
          </p:cxnSp>
        </p:grpSp>
        <p:grpSp>
          <p:nvGrpSpPr>
            <p:cNvPr id="189" name="Group 1484"/>
            <p:cNvGrpSpPr>
              <a:grpSpLocks/>
            </p:cNvGrpSpPr>
            <p:nvPr/>
          </p:nvGrpSpPr>
          <p:grpSpPr bwMode="auto">
            <a:xfrm>
              <a:off x="8315628" y="3579213"/>
              <a:ext cx="37465" cy="37465"/>
              <a:chOff x="8437682" y="4125433"/>
              <a:chExt cx="37465" cy="37465"/>
            </a:xfrm>
          </p:grpSpPr>
          <p:cxnSp>
            <p:nvCxnSpPr>
              <p:cNvPr id="241" name="Straight Connector 1485"/>
              <p:cNvCxnSpPr/>
              <p:nvPr/>
            </p:nvCxnSpPr>
            <p:spPr>
              <a:xfrm>
                <a:off x="8456329" y="4126055"/>
                <a:ext cx="0" cy="36264"/>
              </a:xfrm>
              <a:prstGeom prst="line">
                <a:avLst/>
              </a:prstGeom>
              <a:noFill/>
              <a:ln w="9525" cap="rnd" cmpd="sng" algn="ctr">
                <a:solidFill>
                  <a:sysClr val="windowText" lastClr="000000"/>
                </a:solidFill>
                <a:prstDash val="solid"/>
              </a:ln>
              <a:effectLst/>
            </p:spPr>
          </p:cxnSp>
          <p:cxnSp>
            <p:nvCxnSpPr>
              <p:cNvPr id="242" name="Straight Connector 1486"/>
              <p:cNvCxnSpPr/>
              <p:nvPr/>
            </p:nvCxnSpPr>
            <p:spPr>
              <a:xfrm rot="16200000">
                <a:off x="8456329" y="4125347"/>
                <a:ext cx="0" cy="37679"/>
              </a:xfrm>
              <a:prstGeom prst="line">
                <a:avLst/>
              </a:prstGeom>
              <a:noFill/>
              <a:ln w="9525" cap="rnd" cmpd="sng" algn="ctr">
                <a:solidFill>
                  <a:sysClr val="windowText" lastClr="000000"/>
                </a:solidFill>
                <a:prstDash val="solid"/>
              </a:ln>
              <a:effectLst/>
            </p:spPr>
          </p:cxnSp>
        </p:grpSp>
        <p:grpSp>
          <p:nvGrpSpPr>
            <p:cNvPr id="190" name="Group 1487"/>
            <p:cNvGrpSpPr>
              <a:grpSpLocks/>
            </p:cNvGrpSpPr>
            <p:nvPr/>
          </p:nvGrpSpPr>
          <p:grpSpPr bwMode="auto">
            <a:xfrm>
              <a:off x="8332205" y="3600446"/>
              <a:ext cx="37465" cy="37465"/>
              <a:chOff x="8437682" y="4125433"/>
              <a:chExt cx="37465" cy="37465"/>
            </a:xfrm>
          </p:grpSpPr>
          <p:cxnSp>
            <p:nvCxnSpPr>
              <p:cNvPr id="239" name="Straight Connector 1488"/>
              <p:cNvCxnSpPr/>
              <p:nvPr/>
            </p:nvCxnSpPr>
            <p:spPr>
              <a:xfrm>
                <a:off x="8456498" y="4125544"/>
                <a:ext cx="0" cy="37559"/>
              </a:xfrm>
              <a:prstGeom prst="line">
                <a:avLst/>
              </a:prstGeom>
              <a:noFill/>
              <a:ln w="9525" cap="rnd" cmpd="sng" algn="ctr">
                <a:solidFill>
                  <a:sysClr val="windowText" lastClr="000000"/>
                </a:solidFill>
                <a:prstDash val="solid"/>
              </a:ln>
              <a:effectLst/>
            </p:spPr>
          </p:cxnSp>
          <p:cxnSp>
            <p:nvCxnSpPr>
              <p:cNvPr id="240" name="Straight Connector 1489"/>
              <p:cNvCxnSpPr/>
              <p:nvPr/>
            </p:nvCxnSpPr>
            <p:spPr>
              <a:xfrm rot="16200000">
                <a:off x="8456498" y="4126131"/>
                <a:ext cx="0" cy="37679"/>
              </a:xfrm>
              <a:prstGeom prst="line">
                <a:avLst/>
              </a:prstGeom>
              <a:noFill/>
              <a:ln w="9525" cap="rnd" cmpd="sng" algn="ctr">
                <a:solidFill>
                  <a:sysClr val="windowText" lastClr="000000"/>
                </a:solidFill>
                <a:prstDash val="solid"/>
              </a:ln>
              <a:effectLst/>
            </p:spPr>
          </p:cxnSp>
        </p:grpSp>
        <p:grpSp>
          <p:nvGrpSpPr>
            <p:cNvPr id="191" name="Group 1490"/>
            <p:cNvGrpSpPr>
              <a:grpSpLocks/>
            </p:cNvGrpSpPr>
            <p:nvPr/>
          </p:nvGrpSpPr>
          <p:grpSpPr bwMode="auto">
            <a:xfrm>
              <a:off x="8348782" y="3602631"/>
              <a:ext cx="37465" cy="37465"/>
              <a:chOff x="8437682" y="4125433"/>
              <a:chExt cx="37465" cy="37465"/>
            </a:xfrm>
          </p:grpSpPr>
          <p:cxnSp>
            <p:nvCxnSpPr>
              <p:cNvPr id="237" name="Straight Connector 1491"/>
              <p:cNvCxnSpPr/>
              <p:nvPr/>
            </p:nvCxnSpPr>
            <p:spPr>
              <a:xfrm>
                <a:off x="8456667" y="4125949"/>
                <a:ext cx="0" cy="37559"/>
              </a:xfrm>
              <a:prstGeom prst="line">
                <a:avLst/>
              </a:prstGeom>
              <a:noFill/>
              <a:ln w="9525" cap="rnd" cmpd="sng" algn="ctr">
                <a:solidFill>
                  <a:sysClr val="windowText" lastClr="000000"/>
                </a:solidFill>
                <a:prstDash val="solid"/>
              </a:ln>
              <a:effectLst/>
            </p:spPr>
          </p:cxnSp>
          <p:cxnSp>
            <p:nvCxnSpPr>
              <p:cNvPr id="238" name="Straight Connector 1492"/>
              <p:cNvCxnSpPr/>
              <p:nvPr/>
            </p:nvCxnSpPr>
            <p:spPr>
              <a:xfrm rot="16200000">
                <a:off x="8456667" y="4126537"/>
                <a:ext cx="0" cy="37679"/>
              </a:xfrm>
              <a:prstGeom prst="line">
                <a:avLst/>
              </a:prstGeom>
              <a:noFill/>
              <a:ln w="9525" cap="rnd" cmpd="sng" algn="ctr">
                <a:solidFill>
                  <a:sysClr val="windowText" lastClr="000000"/>
                </a:solidFill>
                <a:prstDash val="solid"/>
              </a:ln>
              <a:effectLst/>
            </p:spPr>
          </p:cxnSp>
        </p:grpSp>
        <p:grpSp>
          <p:nvGrpSpPr>
            <p:cNvPr id="192" name="Group 1493"/>
            <p:cNvGrpSpPr>
              <a:grpSpLocks/>
            </p:cNvGrpSpPr>
            <p:nvPr/>
          </p:nvGrpSpPr>
          <p:grpSpPr bwMode="auto">
            <a:xfrm>
              <a:off x="8386788" y="3602435"/>
              <a:ext cx="37465" cy="37465"/>
              <a:chOff x="8437682" y="4125433"/>
              <a:chExt cx="37465" cy="37465"/>
            </a:xfrm>
          </p:grpSpPr>
          <p:cxnSp>
            <p:nvCxnSpPr>
              <p:cNvPr id="235" name="Straight Connector 1494"/>
              <p:cNvCxnSpPr/>
              <p:nvPr/>
            </p:nvCxnSpPr>
            <p:spPr>
              <a:xfrm>
                <a:off x="8456339" y="4124850"/>
                <a:ext cx="0" cy="37560"/>
              </a:xfrm>
              <a:prstGeom prst="line">
                <a:avLst/>
              </a:prstGeom>
              <a:noFill/>
              <a:ln w="9525" cap="rnd" cmpd="sng" algn="ctr">
                <a:solidFill>
                  <a:sysClr val="windowText" lastClr="000000"/>
                </a:solidFill>
                <a:prstDash val="solid"/>
              </a:ln>
              <a:effectLst/>
            </p:spPr>
          </p:cxnSp>
          <p:cxnSp>
            <p:nvCxnSpPr>
              <p:cNvPr id="236" name="Straight Connector 1495"/>
              <p:cNvCxnSpPr/>
              <p:nvPr/>
            </p:nvCxnSpPr>
            <p:spPr>
              <a:xfrm rot="16200000">
                <a:off x="8456339" y="4125438"/>
                <a:ext cx="0" cy="37679"/>
              </a:xfrm>
              <a:prstGeom prst="line">
                <a:avLst/>
              </a:prstGeom>
              <a:noFill/>
              <a:ln w="9525" cap="rnd" cmpd="sng" algn="ctr">
                <a:solidFill>
                  <a:sysClr val="windowText" lastClr="000000"/>
                </a:solidFill>
                <a:prstDash val="solid"/>
              </a:ln>
              <a:effectLst/>
            </p:spPr>
          </p:cxnSp>
        </p:grpSp>
        <p:grpSp>
          <p:nvGrpSpPr>
            <p:cNvPr id="193" name="Group 1496"/>
            <p:cNvGrpSpPr>
              <a:grpSpLocks/>
            </p:cNvGrpSpPr>
            <p:nvPr/>
          </p:nvGrpSpPr>
          <p:grpSpPr bwMode="auto">
            <a:xfrm>
              <a:off x="8393841" y="3602239"/>
              <a:ext cx="37465" cy="37465"/>
              <a:chOff x="8437682" y="4125433"/>
              <a:chExt cx="37465" cy="37465"/>
            </a:xfrm>
          </p:grpSpPr>
          <p:cxnSp>
            <p:nvCxnSpPr>
              <p:cNvPr id="233" name="Straight Connector 1497"/>
              <p:cNvCxnSpPr/>
              <p:nvPr/>
            </p:nvCxnSpPr>
            <p:spPr>
              <a:xfrm>
                <a:off x="8456613" y="4125046"/>
                <a:ext cx="0" cy="37560"/>
              </a:xfrm>
              <a:prstGeom prst="line">
                <a:avLst/>
              </a:prstGeom>
              <a:noFill/>
              <a:ln w="9525" cap="rnd" cmpd="sng" algn="ctr">
                <a:solidFill>
                  <a:sysClr val="windowText" lastClr="000000"/>
                </a:solidFill>
                <a:prstDash val="solid"/>
              </a:ln>
              <a:effectLst/>
            </p:spPr>
          </p:cxnSp>
          <p:cxnSp>
            <p:nvCxnSpPr>
              <p:cNvPr id="234" name="Straight Connector 1498"/>
              <p:cNvCxnSpPr/>
              <p:nvPr/>
            </p:nvCxnSpPr>
            <p:spPr>
              <a:xfrm rot="16200000">
                <a:off x="8456613" y="4125635"/>
                <a:ext cx="0" cy="37679"/>
              </a:xfrm>
              <a:prstGeom prst="line">
                <a:avLst/>
              </a:prstGeom>
              <a:noFill/>
              <a:ln w="9525" cap="rnd" cmpd="sng" algn="ctr">
                <a:solidFill>
                  <a:sysClr val="windowText" lastClr="000000"/>
                </a:solidFill>
                <a:prstDash val="solid"/>
              </a:ln>
              <a:effectLst/>
            </p:spPr>
          </p:cxnSp>
        </p:grpSp>
        <p:grpSp>
          <p:nvGrpSpPr>
            <p:cNvPr id="194" name="Group 1499"/>
            <p:cNvGrpSpPr>
              <a:grpSpLocks/>
            </p:cNvGrpSpPr>
            <p:nvPr/>
          </p:nvGrpSpPr>
          <p:grpSpPr bwMode="auto">
            <a:xfrm>
              <a:off x="8417561" y="3602043"/>
              <a:ext cx="37465" cy="37465"/>
              <a:chOff x="8437682" y="4125433"/>
              <a:chExt cx="37465" cy="37465"/>
            </a:xfrm>
          </p:grpSpPr>
          <p:cxnSp>
            <p:nvCxnSpPr>
              <p:cNvPr id="231" name="Straight Connector 1500"/>
              <p:cNvCxnSpPr/>
              <p:nvPr/>
            </p:nvCxnSpPr>
            <p:spPr>
              <a:xfrm>
                <a:off x="8456965" y="4125242"/>
                <a:ext cx="0" cy="37560"/>
              </a:xfrm>
              <a:prstGeom prst="line">
                <a:avLst/>
              </a:prstGeom>
              <a:noFill/>
              <a:ln w="9525" cap="rnd" cmpd="sng" algn="ctr">
                <a:solidFill>
                  <a:sysClr val="windowText" lastClr="000000"/>
                </a:solidFill>
                <a:prstDash val="solid"/>
              </a:ln>
              <a:effectLst/>
            </p:spPr>
          </p:cxnSp>
          <p:cxnSp>
            <p:nvCxnSpPr>
              <p:cNvPr id="232" name="Straight Connector 1501"/>
              <p:cNvCxnSpPr/>
              <p:nvPr/>
            </p:nvCxnSpPr>
            <p:spPr>
              <a:xfrm rot="16200000">
                <a:off x="8456442" y="4126353"/>
                <a:ext cx="0" cy="36632"/>
              </a:xfrm>
              <a:prstGeom prst="line">
                <a:avLst/>
              </a:prstGeom>
              <a:noFill/>
              <a:ln w="9525" cap="rnd" cmpd="sng" algn="ctr">
                <a:solidFill>
                  <a:sysClr val="windowText" lastClr="000000"/>
                </a:solidFill>
                <a:prstDash val="solid"/>
              </a:ln>
              <a:effectLst/>
            </p:spPr>
          </p:cxnSp>
        </p:grpSp>
        <p:grpSp>
          <p:nvGrpSpPr>
            <p:cNvPr id="195" name="Group 1502"/>
            <p:cNvGrpSpPr>
              <a:grpSpLocks/>
            </p:cNvGrpSpPr>
            <p:nvPr/>
          </p:nvGrpSpPr>
          <p:grpSpPr bwMode="auto">
            <a:xfrm>
              <a:off x="8426995" y="3601847"/>
              <a:ext cx="37465" cy="37465"/>
              <a:chOff x="8437682" y="4125433"/>
              <a:chExt cx="37465" cy="37465"/>
            </a:xfrm>
          </p:grpSpPr>
          <p:cxnSp>
            <p:nvCxnSpPr>
              <p:cNvPr id="229" name="Straight Connector 1503"/>
              <p:cNvCxnSpPr/>
              <p:nvPr/>
            </p:nvCxnSpPr>
            <p:spPr>
              <a:xfrm>
                <a:off x="8456951" y="4125438"/>
                <a:ext cx="0" cy="37560"/>
              </a:xfrm>
              <a:prstGeom prst="line">
                <a:avLst/>
              </a:prstGeom>
              <a:noFill/>
              <a:ln w="9525" cap="rnd" cmpd="sng" algn="ctr">
                <a:solidFill>
                  <a:sysClr val="windowText" lastClr="000000"/>
                </a:solidFill>
                <a:prstDash val="solid"/>
              </a:ln>
              <a:effectLst/>
            </p:spPr>
          </p:cxnSp>
          <p:cxnSp>
            <p:nvCxnSpPr>
              <p:cNvPr id="230" name="Straight Connector 1504"/>
              <p:cNvCxnSpPr/>
              <p:nvPr/>
            </p:nvCxnSpPr>
            <p:spPr>
              <a:xfrm rot="16200000">
                <a:off x="8456428" y="4126550"/>
                <a:ext cx="0" cy="36632"/>
              </a:xfrm>
              <a:prstGeom prst="line">
                <a:avLst/>
              </a:prstGeom>
              <a:noFill/>
              <a:ln w="9525" cap="rnd" cmpd="sng" algn="ctr">
                <a:solidFill>
                  <a:sysClr val="windowText" lastClr="000000"/>
                </a:solidFill>
                <a:prstDash val="solid"/>
              </a:ln>
              <a:effectLst/>
            </p:spPr>
          </p:cxnSp>
        </p:grpSp>
        <p:grpSp>
          <p:nvGrpSpPr>
            <p:cNvPr id="196" name="Group 1505"/>
            <p:cNvGrpSpPr>
              <a:grpSpLocks/>
            </p:cNvGrpSpPr>
            <p:nvPr/>
          </p:nvGrpSpPr>
          <p:grpSpPr bwMode="auto">
            <a:xfrm>
              <a:off x="8443572" y="3601651"/>
              <a:ext cx="37465" cy="37465"/>
              <a:chOff x="8437682" y="4125433"/>
              <a:chExt cx="37465" cy="37465"/>
            </a:xfrm>
          </p:grpSpPr>
          <p:cxnSp>
            <p:nvCxnSpPr>
              <p:cNvPr id="227" name="Straight Connector 1506"/>
              <p:cNvCxnSpPr/>
              <p:nvPr/>
            </p:nvCxnSpPr>
            <p:spPr>
              <a:xfrm>
                <a:off x="8456073" y="4125634"/>
                <a:ext cx="0" cy="37560"/>
              </a:xfrm>
              <a:prstGeom prst="line">
                <a:avLst/>
              </a:prstGeom>
              <a:noFill/>
              <a:ln w="9525" cap="rnd" cmpd="sng" algn="ctr">
                <a:solidFill>
                  <a:sysClr val="windowText" lastClr="000000"/>
                </a:solidFill>
                <a:prstDash val="solid"/>
              </a:ln>
              <a:effectLst/>
            </p:spPr>
          </p:cxnSp>
          <p:cxnSp>
            <p:nvCxnSpPr>
              <p:cNvPr id="228" name="Straight Connector 1507"/>
              <p:cNvCxnSpPr/>
              <p:nvPr/>
            </p:nvCxnSpPr>
            <p:spPr>
              <a:xfrm rot="16200000">
                <a:off x="8456073" y="4126222"/>
                <a:ext cx="0" cy="37679"/>
              </a:xfrm>
              <a:prstGeom prst="line">
                <a:avLst/>
              </a:prstGeom>
              <a:noFill/>
              <a:ln w="9525" cap="rnd" cmpd="sng" algn="ctr">
                <a:solidFill>
                  <a:sysClr val="windowText" lastClr="000000"/>
                </a:solidFill>
                <a:prstDash val="solid"/>
              </a:ln>
              <a:effectLst/>
            </p:spPr>
          </p:cxnSp>
        </p:grpSp>
        <p:grpSp>
          <p:nvGrpSpPr>
            <p:cNvPr id="197" name="Group 1508"/>
            <p:cNvGrpSpPr>
              <a:grpSpLocks/>
            </p:cNvGrpSpPr>
            <p:nvPr/>
          </p:nvGrpSpPr>
          <p:grpSpPr bwMode="auto">
            <a:xfrm>
              <a:off x="8453006" y="3603836"/>
              <a:ext cx="37465" cy="37465"/>
              <a:chOff x="8437682" y="4125433"/>
              <a:chExt cx="37465" cy="37465"/>
            </a:xfrm>
          </p:grpSpPr>
          <p:cxnSp>
            <p:nvCxnSpPr>
              <p:cNvPr id="225" name="Straight Connector 1509"/>
              <p:cNvCxnSpPr/>
              <p:nvPr/>
            </p:nvCxnSpPr>
            <p:spPr>
              <a:xfrm>
                <a:off x="8456059" y="4126039"/>
                <a:ext cx="0" cy="36264"/>
              </a:xfrm>
              <a:prstGeom prst="line">
                <a:avLst/>
              </a:prstGeom>
              <a:noFill/>
              <a:ln w="9525" cap="rnd" cmpd="sng" algn="ctr">
                <a:solidFill>
                  <a:sysClr val="windowText" lastClr="000000"/>
                </a:solidFill>
                <a:prstDash val="solid"/>
              </a:ln>
              <a:effectLst/>
            </p:spPr>
          </p:cxnSp>
          <p:cxnSp>
            <p:nvCxnSpPr>
              <p:cNvPr id="226" name="Straight Connector 1510"/>
              <p:cNvCxnSpPr/>
              <p:nvPr/>
            </p:nvCxnSpPr>
            <p:spPr>
              <a:xfrm rot="16200000">
                <a:off x="8456059" y="4125332"/>
                <a:ext cx="0" cy="37679"/>
              </a:xfrm>
              <a:prstGeom prst="line">
                <a:avLst/>
              </a:prstGeom>
              <a:noFill/>
              <a:ln w="9525" cap="rnd" cmpd="sng" algn="ctr">
                <a:solidFill>
                  <a:sysClr val="windowText" lastClr="000000"/>
                </a:solidFill>
                <a:prstDash val="solid"/>
              </a:ln>
              <a:effectLst/>
            </p:spPr>
          </p:cxnSp>
        </p:grpSp>
        <p:grpSp>
          <p:nvGrpSpPr>
            <p:cNvPr id="198" name="Group 1511"/>
            <p:cNvGrpSpPr>
              <a:grpSpLocks/>
            </p:cNvGrpSpPr>
            <p:nvPr/>
          </p:nvGrpSpPr>
          <p:grpSpPr bwMode="auto">
            <a:xfrm>
              <a:off x="8467202" y="3606021"/>
              <a:ext cx="37465" cy="37465"/>
              <a:chOff x="8437682" y="4125433"/>
              <a:chExt cx="37465" cy="37465"/>
            </a:xfrm>
          </p:grpSpPr>
          <p:cxnSp>
            <p:nvCxnSpPr>
              <p:cNvPr id="223" name="Straight Connector 1512"/>
              <p:cNvCxnSpPr/>
              <p:nvPr/>
            </p:nvCxnSpPr>
            <p:spPr>
              <a:xfrm>
                <a:off x="8456516" y="4125150"/>
                <a:ext cx="0" cy="37559"/>
              </a:xfrm>
              <a:prstGeom prst="line">
                <a:avLst/>
              </a:prstGeom>
              <a:noFill/>
              <a:ln w="9525" cap="rnd" cmpd="sng" algn="ctr">
                <a:solidFill>
                  <a:sysClr val="windowText" lastClr="000000"/>
                </a:solidFill>
                <a:prstDash val="solid"/>
              </a:ln>
              <a:effectLst/>
            </p:spPr>
          </p:cxnSp>
          <p:cxnSp>
            <p:nvCxnSpPr>
              <p:cNvPr id="224" name="Straight Connector 1513"/>
              <p:cNvCxnSpPr/>
              <p:nvPr/>
            </p:nvCxnSpPr>
            <p:spPr>
              <a:xfrm rot="16200000">
                <a:off x="8456516" y="4125737"/>
                <a:ext cx="0" cy="37679"/>
              </a:xfrm>
              <a:prstGeom prst="line">
                <a:avLst/>
              </a:prstGeom>
              <a:noFill/>
              <a:ln w="9525" cap="rnd" cmpd="sng" algn="ctr">
                <a:solidFill>
                  <a:sysClr val="windowText" lastClr="000000"/>
                </a:solidFill>
                <a:prstDash val="solid"/>
              </a:ln>
              <a:effectLst/>
            </p:spPr>
          </p:cxnSp>
        </p:grpSp>
        <p:grpSp>
          <p:nvGrpSpPr>
            <p:cNvPr id="199" name="Group 1514"/>
            <p:cNvGrpSpPr>
              <a:grpSpLocks/>
            </p:cNvGrpSpPr>
            <p:nvPr/>
          </p:nvGrpSpPr>
          <p:grpSpPr bwMode="auto">
            <a:xfrm>
              <a:off x="8493303" y="3662969"/>
              <a:ext cx="37465" cy="37465"/>
              <a:chOff x="8437682" y="4125433"/>
              <a:chExt cx="37465" cy="37465"/>
            </a:xfrm>
          </p:grpSpPr>
          <p:cxnSp>
            <p:nvCxnSpPr>
              <p:cNvPr id="221" name="Straight Connector 1515"/>
              <p:cNvCxnSpPr/>
              <p:nvPr/>
            </p:nvCxnSpPr>
            <p:spPr>
              <a:xfrm>
                <a:off x="8456580" y="4125189"/>
                <a:ext cx="0" cy="37559"/>
              </a:xfrm>
              <a:prstGeom prst="line">
                <a:avLst/>
              </a:prstGeom>
              <a:noFill/>
              <a:ln w="9525" cap="rnd" cmpd="sng" algn="ctr">
                <a:solidFill>
                  <a:sysClr val="windowText" lastClr="000000"/>
                </a:solidFill>
                <a:prstDash val="solid"/>
              </a:ln>
              <a:effectLst/>
            </p:spPr>
          </p:cxnSp>
          <p:cxnSp>
            <p:nvCxnSpPr>
              <p:cNvPr id="222" name="Straight Connector 1516"/>
              <p:cNvCxnSpPr/>
              <p:nvPr/>
            </p:nvCxnSpPr>
            <p:spPr>
              <a:xfrm rot="16200000">
                <a:off x="8456580" y="4125777"/>
                <a:ext cx="0" cy="37679"/>
              </a:xfrm>
              <a:prstGeom prst="line">
                <a:avLst/>
              </a:prstGeom>
              <a:noFill/>
              <a:ln w="9525" cap="rnd" cmpd="sng" algn="ctr">
                <a:solidFill>
                  <a:sysClr val="windowText" lastClr="000000"/>
                </a:solidFill>
                <a:prstDash val="solid"/>
              </a:ln>
              <a:effectLst/>
            </p:spPr>
          </p:cxnSp>
        </p:grpSp>
        <p:grpSp>
          <p:nvGrpSpPr>
            <p:cNvPr id="200" name="Group 1517"/>
            <p:cNvGrpSpPr>
              <a:grpSpLocks/>
            </p:cNvGrpSpPr>
            <p:nvPr/>
          </p:nvGrpSpPr>
          <p:grpSpPr bwMode="auto">
            <a:xfrm>
              <a:off x="8505118" y="3662773"/>
              <a:ext cx="37465" cy="37465"/>
              <a:chOff x="8437682" y="4125433"/>
              <a:chExt cx="37465" cy="37465"/>
            </a:xfrm>
          </p:grpSpPr>
          <p:cxnSp>
            <p:nvCxnSpPr>
              <p:cNvPr id="219" name="Straight Connector 1518"/>
              <p:cNvCxnSpPr/>
              <p:nvPr/>
            </p:nvCxnSpPr>
            <p:spPr>
              <a:xfrm>
                <a:off x="8456279" y="4125385"/>
                <a:ext cx="0" cy="37559"/>
              </a:xfrm>
              <a:prstGeom prst="line">
                <a:avLst/>
              </a:prstGeom>
              <a:noFill/>
              <a:ln w="9525" cap="rnd" cmpd="sng" algn="ctr">
                <a:solidFill>
                  <a:sysClr val="windowText" lastClr="000000"/>
                </a:solidFill>
                <a:prstDash val="solid"/>
              </a:ln>
              <a:effectLst/>
            </p:spPr>
          </p:cxnSp>
          <p:cxnSp>
            <p:nvCxnSpPr>
              <p:cNvPr id="220" name="Straight Connector 1519"/>
              <p:cNvCxnSpPr/>
              <p:nvPr/>
            </p:nvCxnSpPr>
            <p:spPr>
              <a:xfrm rot="16200000">
                <a:off x="8456279" y="4125972"/>
                <a:ext cx="0" cy="37679"/>
              </a:xfrm>
              <a:prstGeom prst="line">
                <a:avLst/>
              </a:prstGeom>
              <a:noFill/>
              <a:ln w="9525" cap="rnd" cmpd="sng" algn="ctr">
                <a:solidFill>
                  <a:sysClr val="windowText" lastClr="000000"/>
                </a:solidFill>
                <a:prstDash val="solid"/>
              </a:ln>
              <a:effectLst/>
            </p:spPr>
          </p:cxnSp>
        </p:grpSp>
        <p:grpSp>
          <p:nvGrpSpPr>
            <p:cNvPr id="201" name="Group 1520"/>
            <p:cNvGrpSpPr>
              <a:grpSpLocks/>
            </p:cNvGrpSpPr>
            <p:nvPr/>
          </p:nvGrpSpPr>
          <p:grpSpPr bwMode="auto">
            <a:xfrm>
              <a:off x="8543124" y="3662577"/>
              <a:ext cx="37465" cy="37465"/>
              <a:chOff x="8437682" y="4125433"/>
              <a:chExt cx="37465" cy="37465"/>
            </a:xfrm>
          </p:grpSpPr>
          <p:cxnSp>
            <p:nvCxnSpPr>
              <p:cNvPr id="217" name="Straight Connector 1521"/>
              <p:cNvCxnSpPr/>
              <p:nvPr/>
            </p:nvCxnSpPr>
            <p:spPr>
              <a:xfrm>
                <a:off x="8456997" y="4125581"/>
                <a:ext cx="0" cy="37559"/>
              </a:xfrm>
              <a:prstGeom prst="line">
                <a:avLst/>
              </a:prstGeom>
              <a:noFill/>
              <a:ln w="9525" cap="rnd" cmpd="sng" algn="ctr">
                <a:solidFill>
                  <a:sysClr val="windowText" lastClr="000000"/>
                </a:solidFill>
                <a:prstDash val="solid"/>
              </a:ln>
              <a:effectLst/>
            </p:spPr>
          </p:cxnSp>
          <p:cxnSp>
            <p:nvCxnSpPr>
              <p:cNvPr id="218" name="Straight Connector 1522"/>
              <p:cNvCxnSpPr/>
              <p:nvPr/>
            </p:nvCxnSpPr>
            <p:spPr>
              <a:xfrm rot="16200000">
                <a:off x="8456474" y="4126691"/>
                <a:ext cx="0" cy="36632"/>
              </a:xfrm>
              <a:prstGeom prst="line">
                <a:avLst/>
              </a:prstGeom>
              <a:noFill/>
              <a:ln w="9525" cap="rnd" cmpd="sng" algn="ctr">
                <a:solidFill>
                  <a:sysClr val="windowText" lastClr="000000"/>
                </a:solidFill>
                <a:prstDash val="solid"/>
              </a:ln>
              <a:effectLst/>
            </p:spPr>
          </p:cxnSp>
        </p:grpSp>
        <p:grpSp>
          <p:nvGrpSpPr>
            <p:cNvPr id="202" name="Group 1523"/>
            <p:cNvGrpSpPr>
              <a:grpSpLocks/>
            </p:cNvGrpSpPr>
            <p:nvPr/>
          </p:nvGrpSpPr>
          <p:grpSpPr bwMode="auto">
            <a:xfrm>
              <a:off x="8623988" y="3662381"/>
              <a:ext cx="37465" cy="37465"/>
              <a:chOff x="8437682" y="4125433"/>
              <a:chExt cx="37465" cy="37465"/>
            </a:xfrm>
          </p:grpSpPr>
          <p:cxnSp>
            <p:nvCxnSpPr>
              <p:cNvPr id="215" name="Straight Connector 1524"/>
              <p:cNvCxnSpPr/>
              <p:nvPr/>
            </p:nvCxnSpPr>
            <p:spPr>
              <a:xfrm>
                <a:off x="8456724" y="4125776"/>
                <a:ext cx="0" cy="37559"/>
              </a:xfrm>
              <a:prstGeom prst="line">
                <a:avLst/>
              </a:prstGeom>
              <a:noFill/>
              <a:ln w="9525" cap="rnd" cmpd="sng" algn="ctr">
                <a:solidFill>
                  <a:sysClr val="windowText" lastClr="000000"/>
                </a:solidFill>
                <a:prstDash val="solid"/>
              </a:ln>
              <a:effectLst/>
            </p:spPr>
          </p:cxnSp>
          <p:cxnSp>
            <p:nvCxnSpPr>
              <p:cNvPr id="216" name="Straight Connector 1525"/>
              <p:cNvCxnSpPr/>
              <p:nvPr/>
            </p:nvCxnSpPr>
            <p:spPr>
              <a:xfrm rot="16200000">
                <a:off x="8456724" y="4126364"/>
                <a:ext cx="0" cy="37679"/>
              </a:xfrm>
              <a:prstGeom prst="line">
                <a:avLst/>
              </a:prstGeom>
              <a:noFill/>
              <a:ln w="9525" cap="rnd" cmpd="sng" algn="ctr">
                <a:solidFill>
                  <a:sysClr val="windowText" lastClr="000000"/>
                </a:solidFill>
                <a:prstDash val="solid"/>
              </a:ln>
              <a:effectLst/>
            </p:spPr>
          </p:cxnSp>
        </p:grpSp>
        <p:grpSp>
          <p:nvGrpSpPr>
            <p:cNvPr id="203" name="Group 1526"/>
            <p:cNvGrpSpPr>
              <a:grpSpLocks/>
            </p:cNvGrpSpPr>
            <p:nvPr/>
          </p:nvGrpSpPr>
          <p:grpSpPr bwMode="auto">
            <a:xfrm>
              <a:off x="8740567" y="3776473"/>
              <a:ext cx="37465" cy="37465"/>
              <a:chOff x="8437682" y="4125433"/>
              <a:chExt cx="37465" cy="37465"/>
            </a:xfrm>
          </p:grpSpPr>
          <p:cxnSp>
            <p:nvCxnSpPr>
              <p:cNvPr id="213" name="Straight Connector 1527"/>
              <p:cNvCxnSpPr/>
              <p:nvPr/>
            </p:nvCxnSpPr>
            <p:spPr>
              <a:xfrm>
                <a:off x="8456320" y="4125659"/>
                <a:ext cx="0" cy="37559"/>
              </a:xfrm>
              <a:prstGeom prst="line">
                <a:avLst/>
              </a:prstGeom>
              <a:noFill/>
              <a:ln w="9525" cap="rnd" cmpd="sng" algn="ctr">
                <a:solidFill>
                  <a:sysClr val="windowText" lastClr="000000"/>
                </a:solidFill>
                <a:prstDash val="solid"/>
              </a:ln>
              <a:effectLst/>
            </p:spPr>
          </p:cxnSp>
          <p:cxnSp>
            <p:nvCxnSpPr>
              <p:cNvPr id="214" name="Straight Connector 1528"/>
              <p:cNvCxnSpPr/>
              <p:nvPr/>
            </p:nvCxnSpPr>
            <p:spPr>
              <a:xfrm rot="16200000">
                <a:off x="8456320" y="4126246"/>
                <a:ext cx="0" cy="37679"/>
              </a:xfrm>
              <a:prstGeom prst="line">
                <a:avLst/>
              </a:prstGeom>
              <a:noFill/>
              <a:ln w="9525" cap="rnd" cmpd="sng" algn="ctr">
                <a:solidFill>
                  <a:sysClr val="windowText" lastClr="000000"/>
                </a:solidFill>
                <a:prstDash val="solid"/>
              </a:ln>
              <a:effectLst/>
            </p:spPr>
          </p:cxnSp>
        </p:grpSp>
        <p:grpSp>
          <p:nvGrpSpPr>
            <p:cNvPr id="204" name="Group 1529"/>
            <p:cNvGrpSpPr>
              <a:grpSpLocks/>
            </p:cNvGrpSpPr>
            <p:nvPr/>
          </p:nvGrpSpPr>
          <p:grpSpPr bwMode="auto">
            <a:xfrm>
              <a:off x="8678571" y="3773896"/>
              <a:ext cx="37465" cy="37465"/>
              <a:chOff x="8437682" y="4125433"/>
              <a:chExt cx="37465" cy="37465"/>
            </a:xfrm>
          </p:grpSpPr>
          <p:cxnSp>
            <p:nvCxnSpPr>
              <p:cNvPr id="211" name="Straight Connector 1530"/>
              <p:cNvCxnSpPr/>
              <p:nvPr/>
            </p:nvCxnSpPr>
            <p:spPr>
              <a:xfrm>
                <a:off x="8456565" y="4125646"/>
                <a:ext cx="0" cy="37559"/>
              </a:xfrm>
              <a:prstGeom prst="line">
                <a:avLst/>
              </a:prstGeom>
              <a:noFill/>
              <a:ln w="9525" cap="rnd" cmpd="sng" algn="ctr">
                <a:solidFill>
                  <a:sysClr val="windowText" lastClr="000000"/>
                </a:solidFill>
                <a:prstDash val="solid"/>
              </a:ln>
              <a:effectLst/>
            </p:spPr>
          </p:cxnSp>
          <p:cxnSp>
            <p:nvCxnSpPr>
              <p:cNvPr id="212" name="Straight Connector 1531"/>
              <p:cNvCxnSpPr/>
              <p:nvPr/>
            </p:nvCxnSpPr>
            <p:spPr>
              <a:xfrm rot="16200000">
                <a:off x="8456565" y="4126233"/>
                <a:ext cx="0" cy="37679"/>
              </a:xfrm>
              <a:prstGeom prst="line">
                <a:avLst/>
              </a:prstGeom>
              <a:noFill/>
              <a:ln w="9525" cap="rnd" cmpd="sng" algn="ctr">
                <a:solidFill>
                  <a:sysClr val="windowText" lastClr="000000"/>
                </a:solidFill>
                <a:prstDash val="solid"/>
              </a:ln>
              <a:effectLst/>
            </p:spPr>
          </p:cxnSp>
        </p:grpSp>
        <p:grpSp>
          <p:nvGrpSpPr>
            <p:cNvPr id="205" name="Group 1532"/>
            <p:cNvGrpSpPr>
              <a:grpSpLocks/>
            </p:cNvGrpSpPr>
            <p:nvPr/>
          </p:nvGrpSpPr>
          <p:grpSpPr bwMode="auto">
            <a:xfrm>
              <a:off x="8666576" y="3773700"/>
              <a:ext cx="37465" cy="37465"/>
              <a:chOff x="8437682" y="4125433"/>
              <a:chExt cx="37465" cy="37465"/>
            </a:xfrm>
          </p:grpSpPr>
          <p:cxnSp>
            <p:nvCxnSpPr>
              <p:cNvPr id="209" name="Straight Connector 1533"/>
              <p:cNvCxnSpPr/>
              <p:nvPr/>
            </p:nvCxnSpPr>
            <p:spPr>
              <a:xfrm>
                <a:off x="8456000" y="4125842"/>
                <a:ext cx="0" cy="37559"/>
              </a:xfrm>
              <a:prstGeom prst="line">
                <a:avLst/>
              </a:prstGeom>
              <a:noFill/>
              <a:ln w="9525" cap="rnd" cmpd="sng" algn="ctr">
                <a:solidFill>
                  <a:sysClr val="windowText" lastClr="000000"/>
                </a:solidFill>
                <a:prstDash val="solid"/>
              </a:ln>
              <a:effectLst/>
            </p:spPr>
          </p:cxnSp>
          <p:cxnSp>
            <p:nvCxnSpPr>
              <p:cNvPr id="210" name="Straight Connector 1534"/>
              <p:cNvCxnSpPr/>
              <p:nvPr/>
            </p:nvCxnSpPr>
            <p:spPr>
              <a:xfrm rot="16200000">
                <a:off x="8456000" y="4126429"/>
                <a:ext cx="0" cy="37679"/>
              </a:xfrm>
              <a:prstGeom prst="line">
                <a:avLst/>
              </a:prstGeom>
              <a:noFill/>
              <a:ln w="9525" cap="rnd" cmpd="sng" algn="ctr">
                <a:solidFill>
                  <a:sysClr val="windowText" lastClr="000000"/>
                </a:solidFill>
                <a:prstDash val="solid"/>
              </a:ln>
              <a:effectLst/>
            </p:spPr>
          </p:cxnSp>
        </p:grpSp>
        <p:grpSp>
          <p:nvGrpSpPr>
            <p:cNvPr id="206" name="Group 1535"/>
            <p:cNvGrpSpPr>
              <a:grpSpLocks/>
            </p:cNvGrpSpPr>
            <p:nvPr/>
          </p:nvGrpSpPr>
          <p:grpSpPr bwMode="auto">
            <a:xfrm>
              <a:off x="8654581" y="3773504"/>
              <a:ext cx="37465" cy="37465"/>
              <a:chOff x="8437682" y="4125433"/>
              <a:chExt cx="37465" cy="37465"/>
            </a:xfrm>
          </p:grpSpPr>
          <p:cxnSp>
            <p:nvCxnSpPr>
              <p:cNvPr id="207" name="Straight Connector 1536"/>
              <p:cNvCxnSpPr/>
              <p:nvPr/>
            </p:nvCxnSpPr>
            <p:spPr>
              <a:xfrm>
                <a:off x="8456482" y="4126038"/>
                <a:ext cx="0" cy="36264"/>
              </a:xfrm>
              <a:prstGeom prst="line">
                <a:avLst/>
              </a:prstGeom>
              <a:noFill/>
              <a:ln w="9525" cap="rnd" cmpd="sng" algn="ctr">
                <a:solidFill>
                  <a:sysClr val="windowText" lastClr="000000"/>
                </a:solidFill>
                <a:prstDash val="solid"/>
              </a:ln>
              <a:effectLst/>
            </p:spPr>
          </p:cxnSp>
          <p:cxnSp>
            <p:nvCxnSpPr>
              <p:cNvPr id="208" name="Straight Connector 1537"/>
              <p:cNvCxnSpPr/>
              <p:nvPr/>
            </p:nvCxnSpPr>
            <p:spPr>
              <a:xfrm rot="16200000">
                <a:off x="8456482" y="4125330"/>
                <a:ext cx="0" cy="37679"/>
              </a:xfrm>
              <a:prstGeom prst="line">
                <a:avLst/>
              </a:prstGeom>
              <a:noFill/>
              <a:ln w="9525" cap="rnd" cmpd="sng" algn="ctr">
                <a:solidFill>
                  <a:sysClr val="windowText" lastClr="000000"/>
                </a:solidFill>
                <a:prstDash val="solid"/>
              </a:ln>
              <a:effectLst/>
            </p:spPr>
          </p:cxnSp>
        </p:grpSp>
      </p:grpSp>
      <p:sp>
        <p:nvSpPr>
          <p:cNvPr id="497" name="Footer Placeholder 3"/>
          <p:cNvSpPr txBox="1">
            <a:spLocks noChangeArrowheads="1"/>
          </p:cNvSpPr>
          <p:nvPr/>
        </p:nvSpPr>
        <p:spPr bwMode="auto">
          <a:xfrm>
            <a:off x="64224" y="6561608"/>
            <a:ext cx="6791325"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defPPr>
              <a:defRPr lang="en-US"/>
            </a:defPPr>
            <a:lvl1pPr marR="0" lvl="0" indent="0" defTabSz="914400" fontAlgn="base">
              <a:lnSpc>
                <a:spcPct val="100000"/>
              </a:lnSpc>
              <a:spcBef>
                <a:spcPct val="0"/>
              </a:spcBef>
              <a:spcAft>
                <a:spcPct val="0"/>
              </a:spcAft>
              <a:buClrTx/>
              <a:buSzTx/>
              <a:buFontTx/>
              <a:buNone/>
              <a:tabLst/>
              <a:defRPr kumimoji="0" sz="1000" b="0" i="0" u="none" strike="noStrike" kern="0" cap="none" spc="0" normalizeH="0" baseline="0">
                <a:ln>
                  <a:noFill/>
                </a:ln>
                <a:solidFill>
                  <a:prstClr val="black"/>
                </a:solidFill>
                <a:effectLst/>
                <a:uLnTx/>
                <a:uFillTx/>
                <a:latin typeface="Arial" pitchFamily="34" charset="0"/>
              </a:defRPr>
            </a:lvl1pPr>
            <a:lvl2pPr marL="742950" indent="-285750">
              <a:defRPr>
                <a:latin typeface="Arial" pitchFamily="34" charset="0"/>
              </a:defRPr>
            </a:lvl2pPr>
            <a:lvl3pPr marL="1143000" indent="-228600">
              <a:defRPr>
                <a:latin typeface="Arial" pitchFamily="34" charset="0"/>
              </a:defRPr>
            </a:lvl3pPr>
            <a:lvl4pPr marL="1600200" indent="-228600">
              <a:defRPr>
                <a:latin typeface="Arial" pitchFamily="34" charset="0"/>
              </a:defRPr>
            </a:lvl4pPr>
            <a:lvl5pPr marL="2057400" indent="-228600">
              <a:defRPr>
                <a:latin typeface="Arial" pitchFamily="34" charset="0"/>
              </a:defRPr>
            </a:lvl5pPr>
            <a:lvl6pPr marL="2514600" indent="-228600" fontAlgn="base">
              <a:spcBef>
                <a:spcPct val="0"/>
              </a:spcBef>
              <a:spcAft>
                <a:spcPct val="0"/>
              </a:spcAft>
              <a:defRPr>
                <a:latin typeface="Arial" pitchFamily="34" charset="0"/>
              </a:defRPr>
            </a:lvl6pPr>
            <a:lvl7pPr marL="2971800" indent="-228600" fontAlgn="base">
              <a:spcBef>
                <a:spcPct val="0"/>
              </a:spcBef>
              <a:spcAft>
                <a:spcPct val="0"/>
              </a:spcAft>
              <a:defRPr>
                <a:latin typeface="Arial" pitchFamily="34" charset="0"/>
              </a:defRPr>
            </a:lvl7pPr>
            <a:lvl8pPr marL="3429000" indent="-228600" fontAlgn="base">
              <a:spcBef>
                <a:spcPct val="0"/>
              </a:spcBef>
              <a:spcAft>
                <a:spcPct val="0"/>
              </a:spcAft>
              <a:defRPr>
                <a:latin typeface="Arial" pitchFamily="34" charset="0"/>
              </a:defRPr>
            </a:lvl8pPr>
            <a:lvl9pPr marL="3886200" indent="-228600" fontAlgn="base">
              <a:spcBef>
                <a:spcPct val="0"/>
              </a:spcBef>
              <a:spcAft>
                <a:spcPct val="0"/>
              </a:spcAft>
              <a:defRPr>
                <a:latin typeface="Arial" pitchFamily="34" charset="0"/>
              </a:defRPr>
            </a:lvl9pPr>
          </a:lstStyle>
          <a:p>
            <a:r>
              <a:rPr lang="en-US" altLang="zh-CN" dirty="0"/>
              <a:t>James </a:t>
            </a:r>
            <a:r>
              <a:rPr lang="en-US" altLang="zh-CN" dirty="0" err="1"/>
              <a:t>Chih-Hsin</a:t>
            </a:r>
            <a:r>
              <a:rPr lang="en-US" altLang="zh-CN" dirty="0"/>
              <a:t> Yang, Yi-Long Wu</a:t>
            </a:r>
            <a:r>
              <a:rPr lang="zh-CN" altLang="en-US" dirty="0"/>
              <a:t>，</a:t>
            </a:r>
            <a:r>
              <a:rPr lang="en-US" altLang="en-US" dirty="0"/>
              <a:t> Lancet </a:t>
            </a:r>
            <a:r>
              <a:rPr lang="en-US" altLang="en-US" dirty="0" err="1"/>
              <a:t>Oncol</a:t>
            </a:r>
            <a:r>
              <a:rPr lang="en-US" altLang="en-US" dirty="0"/>
              <a:t> </a:t>
            </a:r>
            <a:r>
              <a:rPr lang="zh-CN" altLang="en-US" dirty="0"/>
              <a:t>，</a:t>
            </a:r>
            <a:r>
              <a:rPr lang="en-US" altLang="zh-CN" dirty="0"/>
              <a:t>Vol 16 February 2015</a:t>
            </a:r>
            <a:r>
              <a:rPr lang="zh-CN" altLang="en-US" dirty="0"/>
              <a:t>，</a:t>
            </a:r>
            <a:r>
              <a:rPr lang="en-US" altLang="zh-CN" dirty="0"/>
              <a:t>p146</a:t>
            </a:r>
          </a:p>
        </p:txBody>
      </p:sp>
      <p:cxnSp>
        <p:nvCxnSpPr>
          <p:cNvPr id="498" name="直接连接符 497"/>
          <p:cNvCxnSpPr/>
          <p:nvPr/>
        </p:nvCxnSpPr>
        <p:spPr>
          <a:xfrm>
            <a:off x="2269286" y="3679379"/>
            <a:ext cx="2664296" cy="0"/>
          </a:xfrm>
          <a:prstGeom prst="line">
            <a:avLst/>
          </a:prstGeom>
          <a:noFill/>
          <a:ln w="19050" cap="rnd" cmpd="sng" algn="ctr">
            <a:solidFill>
              <a:srgbClr val="1CBECA"/>
            </a:solidFill>
            <a:prstDash val="dash"/>
          </a:ln>
          <a:effectLst/>
        </p:spPr>
      </p:cxnSp>
      <p:cxnSp>
        <p:nvCxnSpPr>
          <p:cNvPr id="499" name="直接连接符 498"/>
          <p:cNvCxnSpPr/>
          <p:nvPr/>
        </p:nvCxnSpPr>
        <p:spPr>
          <a:xfrm flipH="1">
            <a:off x="4717558" y="3679379"/>
            <a:ext cx="8384" cy="1656184"/>
          </a:xfrm>
          <a:prstGeom prst="line">
            <a:avLst/>
          </a:prstGeom>
          <a:noFill/>
          <a:ln w="19050" cap="rnd" cmpd="sng" algn="ctr">
            <a:solidFill>
              <a:srgbClr val="1CBECA"/>
            </a:solidFill>
            <a:prstDash val="dash"/>
          </a:ln>
          <a:effectLst/>
        </p:spPr>
      </p:cxnSp>
      <p:cxnSp>
        <p:nvCxnSpPr>
          <p:cNvPr id="500" name="直接连接符 499"/>
          <p:cNvCxnSpPr/>
          <p:nvPr/>
        </p:nvCxnSpPr>
        <p:spPr>
          <a:xfrm flipH="1">
            <a:off x="4997750" y="3679379"/>
            <a:ext cx="8384" cy="1656184"/>
          </a:xfrm>
          <a:prstGeom prst="line">
            <a:avLst/>
          </a:prstGeom>
          <a:noFill/>
          <a:ln w="19050" cap="rnd" cmpd="sng" algn="ctr">
            <a:solidFill>
              <a:srgbClr val="1CBECA"/>
            </a:solidFill>
            <a:prstDash val="dash"/>
          </a:ln>
          <a:effectLst/>
        </p:spPr>
      </p:cxnSp>
      <p:grpSp>
        <p:nvGrpSpPr>
          <p:cNvPr id="501" name="组合 500"/>
          <p:cNvGrpSpPr/>
          <p:nvPr/>
        </p:nvGrpSpPr>
        <p:grpSpPr>
          <a:xfrm>
            <a:off x="5036187" y="2887379"/>
            <a:ext cx="792000" cy="792000"/>
            <a:chOff x="4987210" y="4293184"/>
            <a:chExt cx="792000" cy="792000"/>
          </a:xfrm>
        </p:grpSpPr>
        <p:sp>
          <p:nvSpPr>
            <p:cNvPr id="502" name="MH_Other_10"/>
            <p:cNvSpPr/>
            <p:nvPr>
              <p:custDataLst>
                <p:tags r:id="rId6"/>
              </p:custDataLst>
            </p:nvPr>
          </p:nvSpPr>
          <p:spPr>
            <a:xfrm flipH="1">
              <a:off x="4987210" y="4293184"/>
              <a:ext cx="792000" cy="792000"/>
            </a:xfrm>
            <a:prstGeom prst="wedgeEllipseCallout">
              <a:avLst>
                <a:gd name="adj1" fmla="val 51063"/>
                <a:gd name="adj2" fmla="val 48142"/>
              </a:avLst>
            </a:prstGeom>
            <a:solidFill>
              <a:srgbClr val="EEECE1"/>
            </a:solidFill>
            <a:ln w="3175" cap="flat" cmpd="sng" algn="ctr">
              <a:noFill/>
              <a:prstDash val="solid"/>
            </a:ln>
            <a:effectLst/>
            <a:scene3d>
              <a:camera prst="orthographicFront">
                <a:rot lat="0" lon="0" rev="0"/>
              </a:camera>
              <a:lightRig rig="contrasting" dir="t">
                <a:rot lat="0" lon="0" rev="7800000"/>
              </a:lightRig>
            </a:scene3d>
            <a:sp3d>
              <a:bevelT w="139700" h="139700"/>
            </a:sp3d>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Arial"/>
                <a:ea typeface="微软雅黑" panose="020B0503020204020204" pitchFamily="34" charset="-122"/>
                <a:cs typeface="+mn-cs"/>
              </a:endParaRPr>
            </a:p>
          </p:txBody>
        </p:sp>
        <p:sp>
          <p:nvSpPr>
            <p:cNvPr id="503" name="MH_Other_11"/>
            <p:cNvSpPr/>
            <p:nvPr>
              <p:custDataLst>
                <p:tags r:id="rId7"/>
              </p:custDataLst>
            </p:nvPr>
          </p:nvSpPr>
          <p:spPr>
            <a:xfrm>
              <a:off x="5060110" y="4363610"/>
              <a:ext cx="651149" cy="651149"/>
            </a:xfrm>
            <a:prstGeom prst="ellipse">
              <a:avLst/>
            </a:prstGeom>
            <a:solidFill>
              <a:srgbClr val="1FBECA"/>
            </a:solidFill>
            <a:ln w="25400" cap="flat" cmpd="sng" algn="ctr">
              <a:noFill/>
              <a:prstDash val="solid"/>
            </a:ln>
            <a:effectLst>
              <a:innerShdw dist="76200" dir="13500000">
                <a:prstClr val="black">
                  <a:alpha val="12000"/>
                </a:prstClr>
              </a:innerShdw>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a:ln>
                  <a:noFill/>
                </a:ln>
                <a:solidFill>
                  <a:prstClr val="white"/>
                </a:solidFill>
                <a:effectLst/>
                <a:uLnTx/>
                <a:uFillTx/>
                <a:latin typeface="Arial"/>
                <a:ea typeface="微软雅黑" panose="020B0503020204020204" pitchFamily="34" charset="-122"/>
                <a:cs typeface="+mn-cs"/>
              </a:endParaRPr>
            </a:p>
          </p:txBody>
        </p:sp>
        <p:sp>
          <p:nvSpPr>
            <p:cNvPr id="504" name="ZoneTexte 345"/>
            <p:cNvSpPr txBox="1"/>
            <p:nvPr/>
          </p:nvSpPr>
          <p:spPr>
            <a:xfrm>
              <a:off x="5090013" y="4456440"/>
              <a:ext cx="567784" cy="458587"/>
            </a:xfrm>
            <a:prstGeom prst="rect">
              <a:avLst/>
            </a:prstGeom>
            <a:noFill/>
          </p:spPr>
          <p:txBody>
            <a:bodyPr wrap="none" rtlCol="0" anchor="ctr">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1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pitchFamily="34" charset="-122"/>
                  <a:ea typeface="微软雅黑" panose="020B0503020204020204" pitchFamily="34" charset="-122"/>
                  <a:cs typeface="+mn-cs"/>
                </a:rPr>
                <a:t>27.3</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pitchFamily="34" charset="-122"/>
                  <a:ea typeface="微软雅黑" panose="020B0503020204020204" pitchFamily="34" charset="-122"/>
                  <a:cs typeface="+mn-cs"/>
                </a:rPr>
                <a:t>个月</a:t>
              </a:r>
              <a:endParaRPr kumimoji="0" lang="fr-FR" sz="1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pitchFamily="34" charset="-122"/>
                <a:ea typeface="微软雅黑" panose="020B0503020204020204" pitchFamily="34" charset="-122"/>
                <a:cs typeface="+mn-cs"/>
              </a:endParaRPr>
            </a:p>
          </p:txBody>
        </p:sp>
      </p:grpSp>
      <p:grpSp>
        <p:nvGrpSpPr>
          <p:cNvPr id="505" name="组合 504"/>
          <p:cNvGrpSpPr/>
          <p:nvPr/>
        </p:nvGrpSpPr>
        <p:grpSpPr>
          <a:xfrm rot="17128470">
            <a:off x="3795086" y="3626665"/>
            <a:ext cx="792000" cy="792000"/>
            <a:chOff x="3667746" y="4272033"/>
            <a:chExt cx="792000" cy="792000"/>
          </a:xfrm>
        </p:grpSpPr>
        <p:sp>
          <p:nvSpPr>
            <p:cNvPr id="506" name="MH_Other_10"/>
            <p:cNvSpPr/>
            <p:nvPr>
              <p:custDataLst>
                <p:tags r:id="rId4"/>
              </p:custDataLst>
            </p:nvPr>
          </p:nvSpPr>
          <p:spPr>
            <a:xfrm flipH="1">
              <a:off x="3667746" y="4272033"/>
              <a:ext cx="792000" cy="792000"/>
            </a:xfrm>
            <a:prstGeom prst="wedgeEllipseCallout">
              <a:avLst>
                <a:gd name="adj1" fmla="val -55310"/>
                <a:gd name="adj2" fmla="val 46846"/>
              </a:avLst>
            </a:prstGeom>
            <a:solidFill>
              <a:srgbClr val="EEECE1"/>
            </a:solidFill>
            <a:ln w="3175" cap="flat" cmpd="sng" algn="ctr">
              <a:noFill/>
              <a:prstDash val="solid"/>
            </a:ln>
            <a:effectLst/>
            <a:scene3d>
              <a:camera prst="orthographicFront">
                <a:rot lat="0" lon="0" rev="0"/>
              </a:camera>
              <a:lightRig rig="contrasting" dir="t">
                <a:rot lat="0" lon="0" rev="7800000"/>
              </a:lightRig>
            </a:scene3d>
            <a:sp3d>
              <a:bevelT w="139700" h="139700"/>
            </a:sp3d>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Arial"/>
                <a:ea typeface="微软雅黑" panose="020B0503020204020204" pitchFamily="34" charset="-122"/>
                <a:cs typeface="+mn-cs"/>
              </a:endParaRPr>
            </a:p>
          </p:txBody>
        </p:sp>
        <p:sp>
          <p:nvSpPr>
            <p:cNvPr id="507" name="MH_Other_11"/>
            <p:cNvSpPr/>
            <p:nvPr>
              <p:custDataLst>
                <p:tags r:id="rId5"/>
              </p:custDataLst>
            </p:nvPr>
          </p:nvSpPr>
          <p:spPr>
            <a:xfrm>
              <a:off x="3740646" y="4342459"/>
              <a:ext cx="651149" cy="651149"/>
            </a:xfrm>
            <a:prstGeom prst="ellipse">
              <a:avLst/>
            </a:prstGeom>
            <a:solidFill>
              <a:sysClr val="window" lastClr="FFFFFF">
                <a:lumMod val="75000"/>
              </a:sysClr>
            </a:solidFill>
            <a:ln w="25400" cap="flat" cmpd="sng" algn="ctr">
              <a:noFill/>
              <a:prstDash val="solid"/>
            </a:ln>
            <a:effectLst>
              <a:innerShdw dist="76200" dir="13500000">
                <a:prstClr val="black">
                  <a:alpha val="12000"/>
                </a:prstClr>
              </a:innerShdw>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a:ln>
                  <a:noFill/>
                </a:ln>
                <a:solidFill>
                  <a:prstClr val="white"/>
                </a:solidFill>
                <a:effectLst/>
                <a:uLnTx/>
                <a:uFillTx/>
                <a:latin typeface="Arial"/>
                <a:ea typeface="微软雅黑" panose="020B0503020204020204" pitchFamily="34" charset="-122"/>
                <a:cs typeface="+mn-cs"/>
              </a:endParaRPr>
            </a:p>
          </p:txBody>
        </p:sp>
        <p:sp>
          <p:nvSpPr>
            <p:cNvPr id="508" name="ZoneTexte 345"/>
            <p:cNvSpPr txBox="1"/>
            <p:nvPr/>
          </p:nvSpPr>
          <p:spPr>
            <a:xfrm rot="4471530">
              <a:off x="3791716" y="4436707"/>
              <a:ext cx="567784" cy="458587"/>
            </a:xfrm>
            <a:prstGeom prst="rect">
              <a:avLst/>
            </a:prstGeom>
            <a:noFill/>
          </p:spPr>
          <p:txBody>
            <a:bodyPr wrap="none" rtlCol="0" anchor="ctr">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fr-FR" sz="1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pitchFamily="34" charset="-122"/>
                  <a:ea typeface="微软雅黑" panose="020B0503020204020204" pitchFamily="34" charset="-122"/>
                  <a:cs typeface="+mn-cs"/>
                </a:rPr>
                <a:t>24.3</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pitchFamily="34" charset="-122"/>
                  <a:ea typeface="微软雅黑" panose="020B0503020204020204" pitchFamily="34" charset="-122"/>
                  <a:cs typeface="+mn-cs"/>
                </a:rPr>
                <a:t>个月</a:t>
              </a:r>
              <a:endParaRPr kumimoji="0" lang="fr-FR" sz="14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pitchFamily="34" charset="-122"/>
                <a:ea typeface="微软雅黑" panose="020B0503020204020204" pitchFamily="34" charset="-122"/>
                <a:cs typeface="+mn-cs"/>
              </a:endParaRPr>
            </a:p>
          </p:txBody>
        </p:sp>
      </p:grpSp>
      <p:graphicFrame>
        <p:nvGraphicFramePr>
          <p:cNvPr id="509" name="表格 508"/>
          <p:cNvGraphicFramePr>
            <a:graphicFrameLocks noGrp="1"/>
          </p:cNvGraphicFramePr>
          <p:nvPr>
            <p:extLst/>
          </p:nvPr>
        </p:nvGraphicFramePr>
        <p:xfrm>
          <a:off x="5862364" y="2083195"/>
          <a:ext cx="2301757" cy="1315454"/>
        </p:xfrm>
        <a:graphic>
          <a:graphicData uri="http://schemas.openxmlformats.org/drawingml/2006/table">
            <a:tbl>
              <a:tblPr firstRow="1" bandRow="1"/>
              <a:tblGrid>
                <a:gridCol w="1023146">
                  <a:extLst>
                    <a:ext uri="{9D8B030D-6E8A-4147-A177-3AD203B41FA5}">
                      <a16:colId xmlns:a16="http://schemas.microsoft.com/office/drawing/2014/main" val="20000"/>
                    </a:ext>
                  </a:extLst>
                </a:gridCol>
                <a:gridCol w="444497">
                  <a:extLst>
                    <a:ext uri="{9D8B030D-6E8A-4147-A177-3AD203B41FA5}">
                      <a16:colId xmlns:a16="http://schemas.microsoft.com/office/drawing/2014/main" val="20001"/>
                    </a:ext>
                  </a:extLst>
                </a:gridCol>
                <a:gridCol w="834114">
                  <a:extLst>
                    <a:ext uri="{9D8B030D-6E8A-4147-A177-3AD203B41FA5}">
                      <a16:colId xmlns:a16="http://schemas.microsoft.com/office/drawing/2014/main" val="20002"/>
                    </a:ext>
                  </a:extLst>
                </a:gridCol>
              </a:tblGrid>
              <a:tr h="177924">
                <a:tc gridSpan="2">
                  <a:txBody>
                    <a:bodyPr/>
                    <a:lstStyle>
                      <a:lvl1pPr marL="0" algn="l" defTabSz="1218652" rtl="0" eaLnBrk="1" latinLnBrk="0" hangingPunct="1">
                        <a:defRPr sz="2400" b="1" kern="1200">
                          <a:solidFill>
                            <a:schemeClr val="lt1"/>
                          </a:solidFill>
                          <a:latin typeface="Arial"/>
                        </a:defRPr>
                      </a:lvl1pPr>
                      <a:lvl2pPr marL="609326" algn="l" defTabSz="1218652" rtl="0" eaLnBrk="1" latinLnBrk="0" hangingPunct="1">
                        <a:defRPr sz="2400" b="1" kern="1200">
                          <a:solidFill>
                            <a:schemeClr val="lt1"/>
                          </a:solidFill>
                          <a:latin typeface="Arial"/>
                        </a:defRPr>
                      </a:lvl2pPr>
                      <a:lvl3pPr marL="1218652" algn="l" defTabSz="1218652" rtl="0" eaLnBrk="1" latinLnBrk="0" hangingPunct="1">
                        <a:defRPr sz="2400" b="1" kern="1200">
                          <a:solidFill>
                            <a:schemeClr val="lt1"/>
                          </a:solidFill>
                          <a:latin typeface="Arial"/>
                        </a:defRPr>
                      </a:lvl3pPr>
                      <a:lvl4pPr marL="1827977" algn="l" defTabSz="1218652" rtl="0" eaLnBrk="1" latinLnBrk="0" hangingPunct="1">
                        <a:defRPr sz="2400" b="1" kern="1200">
                          <a:solidFill>
                            <a:schemeClr val="lt1"/>
                          </a:solidFill>
                          <a:latin typeface="Arial"/>
                        </a:defRPr>
                      </a:lvl4pPr>
                      <a:lvl5pPr marL="2437303" algn="l" defTabSz="1218652" rtl="0" eaLnBrk="1" latinLnBrk="0" hangingPunct="1">
                        <a:defRPr sz="2400" b="1" kern="1200">
                          <a:solidFill>
                            <a:schemeClr val="lt1"/>
                          </a:solidFill>
                          <a:latin typeface="Arial"/>
                        </a:defRPr>
                      </a:lvl5pPr>
                      <a:lvl6pPr marL="3046629" algn="l" defTabSz="1218652" rtl="0" eaLnBrk="1" latinLnBrk="0" hangingPunct="1">
                        <a:defRPr sz="2400" b="1" kern="1200">
                          <a:solidFill>
                            <a:schemeClr val="lt1"/>
                          </a:solidFill>
                          <a:latin typeface="Arial"/>
                        </a:defRPr>
                      </a:lvl6pPr>
                      <a:lvl7pPr marL="3655955" algn="l" defTabSz="1218652" rtl="0" eaLnBrk="1" latinLnBrk="0" hangingPunct="1">
                        <a:defRPr sz="2400" b="1" kern="1200">
                          <a:solidFill>
                            <a:schemeClr val="lt1"/>
                          </a:solidFill>
                          <a:latin typeface="Arial"/>
                        </a:defRPr>
                      </a:lvl7pPr>
                      <a:lvl8pPr marL="4265280" algn="l" defTabSz="1218652" rtl="0" eaLnBrk="1" latinLnBrk="0" hangingPunct="1">
                        <a:defRPr sz="2400" b="1" kern="1200">
                          <a:solidFill>
                            <a:schemeClr val="lt1"/>
                          </a:solidFill>
                          <a:latin typeface="Arial"/>
                        </a:defRPr>
                      </a:lvl8pPr>
                      <a:lvl9pPr marL="4874605" algn="l" defTabSz="1218652" rtl="0" eaLnBrk="1" latinLnBrk="0" hangingPunct="1">
                        <a:defRPr sz="2400" b="1" kern="1200">
                          <a:solidFill>
                            <a:schemeClr val="lt1"/>
                          </a:solidFill>
                          <a:latin typeface="Arial"/>
                        </a:defRPr>
                      </a:lvl9pPr>
                    </a:lstStyle>
                    <a:p>
                      <a:endParaRPr lang="zh-CN" altLang="en-US" sz="900" b="1" dirty="0">
                        <a:latin typeface="Microsoft YaHei" panose="020B0503020204020204" pitchFamily="34" charset="-122"/>
                        <a:ea typeface="Microsoft YaHei" panose="020B0503020204020204" pitchFamily="34"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endParaRPr lang="zh-CN" altLang="en-US"/>
                    </a:p>
                  </a:txBody>
                  <a:tcPr/>
                </a:tc>
                <a:tc>
                  <a:txBody>
                    <a:bodyPr/>
                    <a:lstStyle>
                      <a:lvl1pPr marL="0" algn="l" defTabSz="1218652" rtl="0" eaLnBrk="1" latinLnBrk="0" hangingPunct="1">
                        <a:defRPr sz="2400" b="1" kern="1200">
                          <a:solidFill>
                            <a:schemeClr val="lt1"/>
                          </a:solidFill>
                          <a:latin typeface="Arial"/>
                        </a:defRPr>
                      </a:lvl1pPr>
                      <a:lvl2pPr marL="609326" algn="l" defTabSz="1218652" rtl="0" eaLnBrk="1" latinLnBrk="0" hangingPunct="1">
                        <a:defRPr sz="2400" b="1" kern="1200">
                          <a:solidFill>
                            <a:schemeClr val="lt1"/>
                          </a:solidFill>
                          <a:latin typeface="Arial"/>
                        </a:defRPr>
                      </a:lvl2pPr>
                      <a:lvl3pPr marL="1218652" algn="l" defTabSz="1218652" rtl="0" eaLnBrk="1" latinLnBrk="0" hangingPunct="1">
                        <a:defRPr sz="2400" b="1" kern="1200">
                          <a:solidFill>
                            <a:schemeClr val="lt1"/>
                          </a:solidFill>
                          <a:latin typeface="Arial"/>
                        </a:defRPr>
                      </a:lvl3pPr>
                      <a:lvl4pPr marL="1827977" algn="l" defTabSz="1218652" rtl="0" eaLnBrk="1" latinLnBrk="0" hangingPunct="1">
                        <a:defRPr sz="2400" b="1" kern="1200">
                          <a:solidFill>
                            <a:schemeClr val="lt1"/>
                          </a:solidFill>
                          <a:latin typeface="Arial"/>
                        </a:defRPr>
                      </a:lvl4pPr>
                      <a:lvl5pPr marL="2437303" algn="l" defTabSz="1218652" rtl="0" eaLnBrk="1" latinLnBrk="0" hangingPunct="1">
                        <a:defRPr sz="2400" b="1" kern="1200">
                          <a:solidFill>
                            <a:schemeClr val="lt1"/>
                          </a:solidFill>
                          <a:latin typeface="Arial"/>
                        </a:defRPr>
                      </a:lvl5pPr>
                      <a:lvl6pPr marL="3046629" algn="l" defTabSz="1218652" rtl="0" eaLnBrk="1" latinLnBrk="0" hangingPunct="1">
                        <a:defRPr sz="2400" b="1" kern="1200">
                          <a:solidFill>
                            <a:schemeClr val="lt1"/>
                          </a:solidFill>
                          <a:latin typeface="Arial"/>
                        </a:defRPr>
                      </a:lvl6pPr>
                      <a:lvl7pPr marL="3655955" algn="l" defTabSz="1218652" rtl="0" eaLnBrk="1" latinLnBrk="0" hangingPunct="1">
                        <a:defRPr sz="2400" b="1" kern="1200">
                          <a:solidFill>
                            <a:schemeClr val="lt1"/>
                          </a:solidFill>
                          <a:latin typeface="Arial"/>
                        </a:defRPr>
                      </a:lvl7pPr>
                      <a:lvl8pPr marL="4265280" algn="l" defTabSz="1218652" rtl="0" eaLnBrk="1" latinLnBrk="0" hangingPunct="1">
                        <a:defRPr sz="2400" b="1" kern="1200">
                          <a:solidFill>
                            <a:schemeClr val="lt1"/>
                          </a:solidFill>
                          <a:latin typeface="Arial"/>
                        </a:defRPr>
                      </a:lvl8pPr>
                      <a:lvl9pPr marL="4874605" algn="l" defTabSz="1218652" rtl="0" eaLnBrk="1" latinLnBrk="0" hangingPunct="1">
                        <a:defRPr sz="2400" b="1" kern="1200">
                          <a:solidFill>
                            <a:schemeClr val="lt1"/>
                          </a:solidFill>
                          <a:latin typeface="Arial"/>
                        </a:defRPr>
                      </a:lvl9pPr>
                    </a:lstStyle>
                    <a:p>
                      <a:pPr algn="ctr"/>
                      <a:r>
                        <a:rPr lang="zh-CN" altLang="en-US" sz="900" b="1" dirty="0">
                          <a:solidFill>
                            <a:schemeClr val="tx1"/>
                          </a:solidFill>
                          <a:latin typeface="Microsoft YaHei" panose="020B0503020204020204" pitchFamily="34" charset="-122"/>
                          <a:ea typeface="Microsoft YaHei" panose="020B0503020204020204" pitchFamily="34" charset="-122"/>
                        </a:rPr>
                        <a:t>中位数（月）</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0"/>
                  </a:ext>
                </a:extLst>
              </a:tr>
              <a:tr h="165348">
                <a:tc gridSpan="2">
                  <a:txBody>
                    <a:bodyPr/>
                    <a:lstStyle>
                      <a:lvl1pPr marL="0" algn="l" defTabSz="1218652" rtl="0" eaLnBrk="1" latinLnBrk="0" hangingPunct="1">
                        <a:defRPr sz="2400" kern="1200">
                          <a:solidFill>
                            <a:schemeClr val="dk1"/>
                          </a:solidFill>
                          <a:latin typeface="Arial"/>
                        </a:defRPr>
                      </a:lvl1pPr>
                      <a:lvl2pPr marL="609326" algn="l" defTabSz="1218652" rtl="0" eaLnBrk="1" latinLnBrk="0" hangingPunct="1">
                        <a:defRPr sz="2400" kern="1200">
                          <a:solidFill>
                            <a:schemeClr val="dk1"/>
                          </a:solidFill>
                          <a:latin typeface="Arial"/>
                        </a:defRPr>
                      </a:lvl2pPr>
                      <a:lvl3pPr marL="1218652" algn="l" defTabSz="1218652" rtl="0" eaLnBrk="1" latinLnBrk="0" hangingPunct="1">
                        <a:defRPr sz="2400" kern="1200">
                          <a:solidFill>
                            <a:schemeClr val="dk1"/>
                          </a:solidFill>
                          <a:latin typeface="Arial"/>
                        </a:defRPr>
                      </a:lvl3pPr>
                      <a:lvl4pPr marL="1827977" algn="l" defTabSz="1218652" rtl="0" eaLnBrk="1" latinLnBrk="0" hangingPunct="1">
                        <a:defRPr sz="2400" kern="1200">
                          <a:solidFill>
                            <a:schemeClr val="dk1"/>
                          </a:solidFill>
                          <a:latin typeface="Arial"/>
                        </a:defRPr>
                      </a:lvl4pPr>
                      <a:lvl5pPr marL="2437303" algn="l" defTabSz="1218652" rtl="0" eaLnBrk="1" latinLnBrk="0" hangingPunct="1">
                        <a:defRPr sz="2400" kern="1200">
                          <a:solidFill>
                            <a:schemeClr val="dk1"/>
                          </a:solidFill>
                          <a:latin typeface="Arial"/>
                        </a:defRPr>
                      </a:lvl5pPr>
                      <a:lvl6pPr marL="3046629" algn="l" defTabSz="1218652" rtl="0" eaLnBrk="1" latinLnBrk="0" hangingPunct="1">
                        <a:defRPr sz="2400" kern="1200">
                          <a:solidFill>
                            <a:schemeClr val="dk1"/>
                          </a:solidFill>
                          <a:latin typeface="Arial"/>
                        </a:defRPr>
                      </a:lvl6pPr>
                      <a:lvl7pPr marL="3655955" algn="l" defTabSz="1218652" rtl="0" eaLnBrk="1" latinLnBrk="0" hangingPunct="1">
                        <a:defRPr sz="2400" kern="1200">
                          <a:solidFill>
                            <a:schemeClr val="dk1"/>
                          </a:solidFill>
                          <a:latin typeface="Arial"/>
                        </a:defRPr>
                      </a:lvl7pPr>
                      <a:lvl8pPr marL="4265280" algn="l" defTabSz="1218652" rtl="0" eaLnBrk="1" latinLnBrk="0" hangingPunct="1">
                        <a:defRPr sz="2400" kern="1200">
                          <a:solidFill>
                            <a:schemeClr val="dk1"/>
                          </a:solidFill>
                          <a:latin typeface="Arial"/>
                        </a:defRPr>
                      </a:lvl8pPr>
                      <a:lvl9pPr marL="4874605" algn="l" defTabSz="1218652" rtl="0" eaLnBrk="1" latinLnBrk="0" hangingPunct="1">
                        <a:defRPr sz="2400" kern="1200">
                          <a:solidFill>
                            <a:schemeClr val="dk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000" b="1" dirty="0">
                          <a:solidFill>
                            <a:srgbClr val="1CBECA"/>
                          </a:solidFill>
                          <a:latin typeface="Microsoft YaHei" panose="020B0503020204020204" pitchFamily="34" charset="-122"/>
                          <a:ea typeface="Microsoft YaHei" panose="020B0503020204020204" pitchFamily="34" charset="-122"/>
                        </a:rPr>
                        <a:t>—— </a:t>
                      </a:r>
                      <a:r>
                        <a:rPr lang="zh-CN" altLang="en-US" sz="1000" b="1" dirty="0">
                          <a:solidFill>
                            <a:srgbClr val="1CBECA"/>
                          </a:solidFill>
                          <a:latin typeface="Microsoft YaHei" panose="020B0503020204020204" pitchFamily="34" charset="-122"/>
                          <a:ea typeface="Microsoft YaHei" panose="020B0503020204020204" pitchFamily="34" charset="-122"/>
                        </a:rPr>
                        <a:t>吉泰瑞 </a:t>
                      </a:r>
                      <a:r>
                        <a:rPr lang="en-US" altLang="zh-CN" sz="1000" b="1" dirty="0">
                          <a:solidFill>
                            <a:srgbClr val="1CBECA"/>
                          </a:solidFill>
                          <a:latin typeface="Microsoft YaHei" panose="020B0503020204020204" pitchFamily="34" charset="-122"/>
                          <a:ea typeface="Microsoft YaHei" panose="020B0503020204020204" pitchFamily="34" charset="-122"/>
                        </a:rPr>
                        <a:t>(n=419)</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endParaRPr lang="zh-CN" altLang="en-US"/>
                    </a:p>
                  </a:txBody>
                  <a:tcPr/>
                </a:tc>
                <a:tc>
                  <a:txBody>
                    <a:bodyPr/>
                    <a:lstStyle>
                      <a:lvl1pPr marL="0" algn="l" defTabSz="1218652" rtl="0" eaLnBrk="1" latinLnBrk="0" hangingPunct="1">
                        <a:defRPr sz="2400" kern="1200">
                          <a:solidFill>
                            <a:schemeClr val="dk1"/>
                          </a:solidFill>
                          <a:latin typeface="Arial"/>
                        </a:defRPr>
                      </a:lvl1pPr>
                      <a:lvl2pPr marL="609326" algn="l" defTabSz="1218652" rtl="0" eaLnBrk="1" latinLnBrk="0" hangingPunct="1">
                        <a:defRPr sz="2400" kern="1200">
                          <a:solidFill>
                            <a:schemeClr val="dk1"/>
                          </a:solidFill>
                          <a:latin typeface="Arial"/>
                        </a:defRPr>
                      </a:lvl2pPr>
                      <a:lvl3pPr marL="1218652" algn="l" defTabSz="1218652" rtl="0" eaLnBrk="1" latinLnBrk="0" hangingPunct="1">
                        <a:defRPr sz="2400" kern="1200">
                          <a:solidFill>
                            <a:schemeClr val="dk1"/>
                          </a:solidFill>
                          <a:latin typeface="Arial"/>
                        </a:defRPr>
                      </a:lvl3pPr>
                      <a:lvl4pPr marL="1827977" algn="l" defTabSz="1218652" rtl="0" eaLnBrk="1" latinLnBrk="0" hangingPunct="1">
                        <a:defRPr sz="2400" kern="1200">
                          <a:solidFill>
                            <a:schemeClr val="dk1"/>
                          </a:solidFill>
                          <a:latin typeface="Arial"/>
                        </a:defRPr>
                      </a:lvl4pPr>
                      <a:lvl5pPr marL="2437303" algn="l" defTabSz="1218652" rtl="0" eaLnBrk="1" latinLnBrk="0" hangingPunct="1">
                        <a:defRPr sz="2400" kern="1200">
                          <a:solidFill>
                            <a:schemeClr val="dk1"/>
                          </a:solidFill>
                          <a:latin typeface="Arial"/>
                        </a:defRPr>
                      </a:lvl5pPr>
                      <a:lvl6pPr marL="3046629" algn="l" defTabSz="1218652" rtl="0" eaLnBrk="1" latinLnBrk="0" hangingPunct="1">
                        <a:defRPr sz="2400" kern="1200">
                          <a:solidFill>
                            <a:schemeClr val="dk1"/>
                          </a:solidFill>
                          <a:latin typeface="Arial"/>
                        </a:defRPr>
                      </a:lvl6pPr>
                      <a:lvl7pPr marL="3655955" algn="l" defTabSz="1218652" rtl="0" eaLnBrk="1" latinLnBrk="0" hangingPunct="1">
                        <a:defRPr sz="2400" kern="1200">
                          <a:solidFill>
                            <a:schemeClr val="dk1"/>
                          </a:solidFill>
                          <a:latin typeface="Arial"/>
                        </a:defRPr>
                      </a:lvl7pPr>
                      <a:lvl8pPr marL="4265280" algn="l" defTabSz="1218652" rtl="0" eaLnBrk="1" latinLnBrk="0" hangingPunct="1">
                        <a:defRPr sz="2400" kern="1200">
                          <a:solidFill>
                            <a:schemeClr val="dk1"/>
                          </a:solidFill>
                          <a:latin typeface="Arial"/>
                        </a:defRPr>
                      </a:lvl8pPr>
                      <a:lvl9pPr marL="4874605" algn="l" defTabSz="1218652" rtl="0" eaLnBrk="1" latinLnBrk="0" hangingPunct="1">
                        <a:defRPr sz="2400" kern="1200">
                          <a:solidFill>
                            <a:schemeClr val="dk1"/>
                          </a:solidFill>
                          <a:latin typeface="Arial"/>
                        </a:defRPr>
                      </a:lvl9pPr>
                    </a:lstStyle>
                    <a:p>
                      <a:pPr algn="ctr"/>
                      <a:r>
                        <a:rPr lang="en-US" altLang="zh-CN" sz="1000" b="1" dirty="0">
                          <a:solidFill>
                            <a:schemeClr val="tx1"/>
                          </a:solidFill>
                          <a:latin typeface="Microsoft YaHei" panose="020B0503020204020204" pitchFamily="34" charset="-122"/>
                          <a:ea typeface="Microsoft YaHei" panose="020B0503020204020204" pitchFamily="34" charset="-122"/>
                        </a:rPr>
                        <a:t>27.3</a:t>
                      </a:r>
                      <a:endParaRPr lang="zh-CN" altLang="en-US" sz="1000" b="1" dirty="0">
                        <a:solidFill>
                          <a:schemeClr val="tx1"/>
                        </a:solidFill>
                        <a:latin typeface="Microsoft YaHei" panose="020B0503020204020204" pitchFamily="34" charset="-122"/>
                        <a:ea typeface="Microsoft YaHei" panose="020B0503020204020204" pitchFamily="34"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385814">
                <a:tc gridSpan="2">
                  <a:txBody>
                    <a:bodyPr/>
                    <a:lstStyle>
                      <a:lvl1pPr marL="0" algn="l" defTabSz="1218652" rtl="0" eaLnBrk="1" latinLnBrk="0" hangingPunct="1">
                        <a:defRPr sz="2400" kern="1200">
                          <a:solidFill>
                            <a:schemeClr val="dk1"/>
                          </a:solidFill>
                          <a:latin typeface="Arial"/>
                        </a:defRPr>
                      </a:lvl1pPr>
                      <a:lvl2pPr marL="609326" algn="l" defTabSz="1218652" rtl="0" eaLnBrk="1" latinLnBrk="0" hangingPunct="1">
                        <a:defRPr sz="2400" kern="1200">
                          <a:solidFill>
                            <a:schemeClr val="dk1"/>
                          </a:solidFill>
                          <a:latin typeface="Arial"/>
                        </a:defRPr>
                      </a:lvl2pPr>
                      <a:lvl3pPr marL="1218652" algn="l" defTabSz="1218652" rtl="0" eaLnBrk="1" latinLnBrk="0" hangingPunct="1">
                        <a:defRPr sz="2400" kern="1200">
                          <a:solidFill>
                            <a:schemeClr val="dk1"/>
                          </a:solidFill>
                          <a:latin typeface="Arial"/>
                        </a:defRPr>
                      </a:lvl3pPr>
                      <a:lvl4pPr marL="1827977" algn="l" defTabSz="1218652" rtl="0" eaLnBrk="1" latinLnBrk="0" hangingPunct="1">
                        <a:defRPr sz="2400" kern="1200">
                          <a:solidFill>
                            <a:schemeClr val="dk1"/>
                          </a:solidFill>
                          <a:latin typeface="Arial"/>
                        </a:defRPr>
                      </a:lvl4pPr>
                      <a:lvl5pPr marL="2437303" algn="l" defTabSz="1218652" rtl="0" eaLnBrk="1" latinLnBrk="0" hangingPunct="1">
                        <a:defRPr sz="2400" kern="1200">
                          <a:solidFill>
                            <a:schemeClr val="dk1"/>
                          </a:solidFill>
                          <a:latin typeface="Arial"/>
                        </a:defRPr>
                      </a:lvl5pPr>
                      <a:lvl6pPr marL="3046629" algn="l" defTabSz="1218652" rtl="0" eaLnBrk="1" latinLnBrk="0" hangingPunct="1">
                        <a:defRPr sz="2400" kern="1200">
                          <a:solidFill>
                            <a:schemeClr val="dk1"/>
                          </a:solidFill>
                          <a:latin typeface="Arial"/>
                        </a:defRPr>
                      </a:lvl6pPr>
                      <a:lvl7pPr marL="3655955" algn="l" defTabSz="1218652" rtl="0" eaLnBrk="1" latinLnBrk="0" hangingPunct="1">
                        <a:defRPr sz="2400" kern="1200">
                          <a:solidFill>
                            <a:schemeClr val="dk1"/>
                          </a:solidFill>
                          <a:latin typeface="Arial"/>
                        </a:defRPr>
                      </a:lvl7pPr>
                      <a:lvl8pPr marL="4265280" algn="l" defTabSz="1218652" rtl="0" eaLnBrk="1" latinLnBrk="0" hangingPunct="1">
                        <a:defRPr sz="2400" kern="1200">
                          <a:solidFill>
                            <a:schemeClr val="dk1"/>
                          </a:solidFill>
                          <a:latin typeface="Arial"/>
                        </a:defRPr>
                      </a:lvl8pPr>
                      <a:lvl9pPr marL="4874605" algn="l" defTabSz="1218652" rtl="0" eaLnBrk="1" latinLnBrk="0" hangingPunct="1">
                        <a:defRPr sz="2400" kern="1200">
                          <a:solidFill>
                            <a:schemeClr val="dk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000" b="1" dirty="0">
                          <a:solidFill>
                            <a:srgbClr val="595959"/>
                          </a:solidFill>
                          <a:latin typeface="Microsoft YaHei" panose="020B0503020204020204" pitchFamily="34" charset="-122"/>
                          <a:ea typeface="Microsoft YaHei" panose="020B0503020204020204" pitchFamily="34" charset="-122"/>
                          <a:cs typeface="Arial" pitchFamily="34" charset="0"/>
                        </a:rPr>
                        <a:t>—— </a:t>
                      </a:r>
                      <a:r>
                        <a:rPr lang="zh-CN" altLang="en-US" sz="1000" b="1" dirty="0">
                          <a:solidFill>
                            <a:srgbClr val="595959"/>
                          </a:solidFill>
                          <a:latin typeface="Microsoft YaHei" panose="020B0503020204020204" pitchFamily="34" charset="-122"/>
                          <a:ea typeface="Microsoft YaHei" panose="020B0503020204020204" pitchFamily="34" charset="-122"/>
                          <a:cs typeface="Arial" pitchFamily="34" charset="0"/>
                        </a:rPr>
                        <a:t>化疗</a:t>
                      </a:r>
                      <a:r>
                        <a:rPr lang="zh-CN" altLang="en-US" sz="1000" b="1" baseline="0" dirty="0">
                          <a:solidFill>
                            <a:srgbClr val="595959"/>
                          </a:solidFill>
                          <a:latin typeface="Microsoft YaHei" panose="020B0503020204020204" pitchFamily="34" charset="-122"/>
                          <a:ea typeface="Microsoft YaHei" panose="020B0503020204020204" pitchFamily="34" charset="-122"/>
                          <a:cs typeface="Arial" pitchFamily="34" charset="0"/>
                        </a:rPr>
                        <a:t> </a:t>
                      </a:r>
                      <a:r>
                        <a:rPr lang="en-US" altLang="zh-CN" sz="1000" b="1" dirty="0">
                          <a:solidFill>
                            <a:srgbClr val="595959"/>
                          </a:solidFill>
                          <a:latin typeface="Microsoft YaHei" panose="020B0503020204020204" pitchFamily="34" charset="-122"/>
                          <a:ea typeface="Microsoft YaHei" panose="020B0503020204020204" pitchFamily="34" charset="-122"/>
                          <a:cs typeface="Arial" pitchFamily="34" charset="0"/>
                        </a:rPr>
                        <a:t>(n=21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endParaRPr lang="zh-CN" altLang="en-US"/>
                    </a:p>
                  </a:txBody>
                  <a:tcPr/>
                </a:tc>
                <a:tc>
                  <a:txBody>
                    <a:bodyPr/>
                    <a:lstStyle>
                      <a:lvl1pPr marL="0" algn="l" defTabSz="1218652" rtl="0" eaLnBrk="1" latinLnBrk="0" hangingPunct="1">
                        <a:defRPr sz="2400" kern="1200">
                          <a:solidFill>
                            <a:schemeClr val="dk1"/>
                          </a:solidFill>
                          <a:latin typeface="Arial"/>
                        </a:defRPr>
                      </a:lvl1pPr>
                      <a:lvl2pPr marL="609326" algn="l" defTabSz="1218652" rtl="0" eaLnBrk="1" latinLnBrk="0" hangingPunct="1">
                        <a:defRPr sz="2400" kern="1200">
                          <a:solidFill>
                            <a:schemeClr val="dk1"/>
                          </a:solidFill>
                          <a:latin typeface="Arial"/>
                        </a:defRPr>
                      </a:lvl2pPr>
                      <a:lvl3pPr marL="1218652" algn="l" defTabSz="1218652" rtl="0" eaLnBrk="1" latinLnBrk="0" hangingPunct="1">
                        <a:defRPr sz="2400" kern="1200">
                          <a:solidFill>
                            <a:schemeClr val="dk1"/>
                          </a:solidFill>
                          <a:latin typeface="Arial"/>
                        </a:defRPr>
                      </a:lvl3pPr>
                      <a:lvl4pPr marL="1827977" algn="l" defTabSz="1218652" rtl="0" eaLnBrk="1" latinLnBrk="0" hangingPunct="1">
                        <a:defRPr sz="2400" kern="1200">
                          <a:solidFill>
                            <a:schemeClr val="dk1"/>
                          </a:solidFill>
                          <a:latin typeface="Arial"/>
                        </a:defRPr>
                      </a:lvl4pPr>
                      <a:lvl5pPr marL="2437303" algn="l" defTabSz="1218652" rtl="0" eaLnBrk="1" latinLnBrk="0" hangingPunct="1">
                        <a:defRPr sz="2400" kern="1200">
                          <a:solidFill>
                            <a:schemeClr val="dk1"/>
                          </a:solidFill>
                          <a:latin typeface="Arial"/>
                        </a:defRPr>
                      </a:lvl5pPr>
                      <a:lvl6pPr marL="3046629" algn="l" defTabSz="1218652" rtl="0" eaLnBrk="1" latinLnBrk="0" hangingPunct="1">
                        <a:defRPr sz="2400" kern="1200">
                          <a:solidFill>
                            <a:schemeClr val="dk1"/>
                          </a:solidFill>
                          <a:latin typeface="Arial"/>
                        </a:defRPr>
                      </a:lvl6pPr>
                      <a:lvl7pPr marL="3655955" algn="l" defTabSz="1218652" rtl="0" eaLnBrk="1" latinLnBrk="0" hangingPunct="1">
                        <a:defRPr sz="2400" kern="1200">
                          <a:solidFill>
                            <a:schemeClr val="dk1"/>
                          </a:solidFill>
                          <a:latin typeface="Arial"/>
                        </a:defRPr>
                      </a:lvl7pPr>
                      <a:lvl8pPr marL="4265280" algn="l" defTabSz="1218652" rtl="0" eaLnBrk="1" latinLnBrk="0" hangingPunct="1">
                        <a:defRPr sz="2400" kern="1200">
                          <a:solidFill>
                            <a:schemeClr val="dk1"/>
                          </a:solidFill>
                          <a:latin typeface="Arial"/>
                        </a:defRPr>
                      </a:lvl8pPr>
                      <a:lvl9pPr marL="4874605" algn="l" defTabSz="1218652" rtl="0" eaLnBrk="1" latinLnBrk="0" hangingPunct="1">
                        <a:defRPr sz="2400" kern="1200">
                          <a:solidFill>
                            <a:schemeClr val="dk1"/>
                          </a:solidFill>
                          <a:latin typeface="Arial"/>
                        </a:defRPr>
                      </a:lvl9pPr>
                    </a:lstStyle>
                    <a:p>
                      <a:pPr algn="ctr"/>
                      <a:r>
                        <a:rPr lang="en-US" altLang="zh-CN" sz="1000" b="1" dirty="0">
                          <a:solidFill>
                            <a:schemeClr val="tx1"/>
                          </a:solidFill>
                          <a:latin typeface="Microsoft YaHei" panose="020B0503020204020204" pitchFamily="34" charset="-122"/>
                          <a:ea typeface="Microsoft YaHei" panose="020B0503020204020204" pitchFamily="34" charset="-122"/>
                        </a:rPr>
                        <a:t>24.3</a:t>
                      </a:r>
                      <a:endParaRPr lang="zh-CN" altLang="en-US" sz="1000" b="1" dirty="0">
                        <a:solidFill>
                          <a:schemeClr val="tx1"/>
                        </a:solidFill>
                        <a:latin typeface="Microsoft YaHei" panose="020B0503020204020204" pitchFamily="34" charset="-122"/>
                        <a:ea typeface="Microsoft YaHei" panose="020B0503020204020204" pitchFamily="34" charset="-122"/>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2"/>
                  </a:ext>
                </a:extLst>
              </a:tr>
              <a:tr h="370840">
                <a:tc>
                  <a:txBody>
                    <a:bodyPr/>
                    <a:lstStyle>
                      <a:lvl1pPr marL="0" algn="l" defTabSz="1218652" rtl="0" eaLnBrk="1" latinLnBrk="0" hangingPunct="1">
                        <a:defRPr sz="2400" kern="1200">
                          <a:solidFill>
                            <a:schemeClr val="dk1"/>
                          </a:solidFill>
                          <a:latin typeface="Arial"/>
                        </a:defRPr>
                      </a:lvl1pPr>
                      <a:lvl2pPr marL="609326" algn="l" defTabSz="1218652" rtl="0" eaLnBrk="1" latinLnBrk="0" hangingPunct="1">
                        <a:defRPr sz="2400" kern="1200">
                          <a:solidFill>
                            <a:schemeClr val="dk1"/>
                          </a:solidFill>
                          <a:latin typeface="Arial"/>
                        </a:defRPr>
                      </a:lvl2pPr>
                      <a:lvl3pPr marL="1218652" algn="l" defTabSz="1218652" rtl="0" eaLnBrk="1" latinLnBrk="0" hangingPunct="1">
                        <a:defRPr sz="2400" kern="1200">
                          <a:solidFill>
                            <a:schemeClr val="dk1"/>
                          </a:solidFill>
                          <a:latin typeface="Arial"/>
                        </a:defRPr>
                      </a:lvl3pPr>
                      <a:lvl4pPr marL="1827977" algn="l" defTabSz="1218652" rtl="0" eaLnBrk="1" latinLnBrk="0" hangingPunct="1">
                        <a:defRPr sz="2400" kern="1200">
                          <a:solidFill>
                            <a:schemeClr val="dk1"/>
                          </a:solidFill>
                          <a:latin typeface="Arial"/>
                        </a:defRPr>
                      </a:lvl4pPr>
                      <a:lvl5pPr marL="2437303" algn="l" defTabSz="1218652" rtl="0" eaLnBrk="1" latinLnBrk="0" hangingPunct="1">
                        <a:defRPr sz="2400" kern="1200">
                          <a:solidFill>
                            <a:schemeClr val="dk1"/>
                          </a:solidFill>
                          <a:latin typeface="Arial"/>
                        </a:defRPr>
                      </a:lvl5pPr>
                      <a:lvl6pPr marL="3046629" algn="l" defTabSz="1218652" rtl="0" eaLnBrk="1" latinLnBrk="0" hangingPunct="1">
                        <a:defRPr sz="2400" kern="1200">
                          <a:solidFill>
                            <a:schemeClr val="dk1"/>
                          </a:solidFill>
                          <a:latin typeface="Arial"/>
                        </a:defRPr>
                      </a:lvl6pPr>
                      <a:lvl7pPr marL="3655955" algn="l" defTabSz="1218652" rtl="0" eaLnBrk="1" latinLnBrk="0" hangingPunct="1">
                        <a:defRPr sz="2400" kern="1200">
                          <a:solidFill>
                            <a:schemeClr val="dk1"/>
                          </a:solidFill>
                          <a:latin typeface="Arial"/>
                        </a:defRPr>
                      </a:lvl7pPr>
                      <a:lvl8pPr marL="4265280" algn="l" defTabSz="1218652" rtl="0" eaLnBrk="1" latinLnBrk="0" hangingPunct="1">
                        <a:defRPr sz="2400" kern="1200">
                          <a:solidFill>
                            <a:schemeClr val="dk1"/>
                          </a:solidFill>
                          <a:latin typeface="Arial"/>
                        </a:defRPr>
                      </a:lvl8pPr>
                      <a:lvl9pPr marL="4874605" algn="l" defTabSz="1218652" rtl="0" eaLnBrk="1" latinLnBrk="0" hangingPunct="1">
                        <a:defRPr sz="24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zh-CN" sz="1000" b="1" i="0" u="none" strike="noStrike" cap="none" normalizeH="0" baseline="0" dirty="0">
                          <a:ln>
                            <a:noFill/>
                          </a:ln>
                          <a:solidFill>
                            <a:srgbClr val="595959"/>
                          </a:solidFill>
                          <a:effectLst/>
                          <a:latin typeface="Microsoft YaHei" panose="020B0503020204020204" pitchFamily="34" charset="-122"/>
                          <a:ea typeface="Microsoft YaHei" panose="020B0503020204020204" pitchFamily="34" charset="-122"/>
                          <a:cs typeface="Arial" pitchFamily="34" charset="0"/>
                        </a:rPr>
                        <a:t>HR (95%C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zh-CN" sz="1000" b="1" i="0" u="none" strike="noStrike" cap="none" normalizeH="0" baseline="0" dirty="0">
                          <a:ln>
                            <a:noFill/>
                          </a:ln>
                          <a:solidFill>
                            <a:srgbClr val="595959"/>
                          </a:solidFill>
                          <a:effectLst/>
                          <a:latin typeface="Microsoft YaHei" panose="020B0503020204020204" pitchFamily="34" charset="-122"/>
                          <a:ea typeface="Microsoft YaHei" panose="020B0503020204020204" pitchFamily="34" charset="-122"/>
                          <a:cs typeface="Arial" pitchFamily="34" charset="0"/>
                        </a:rPr>
                        <a:t> </a:t>
                      </a:r>
                      <a:r>
                        <a:rPr lang="en-US" altLang="zh-CN" sz="1000" b="1" dirty="0">
                          <a:latin typeface="Microsoft YaHei" panose="020B0503020204020204" pitchFamily="34" charset="-122"/>
                          <a:ea typeface="Microsoft YaHei" panose="020B0503020204020204" pitchFamily="34" charset="-122"/>
                        </a:rPr>
                        <a:t>P </a:t>
                      </a:r>
                      <a:r>
                        <a:rPr lang="zh-CN" altLang="en-US" sz="1000" b="1" dirty="0">
                          <a:latin typeface="Microsoft YaHei" panose="020B0503020204020204" pitchFamily="34" charset="-122"/>
                          <a:ea typeface="Microsoft YaHei" panose="020B0503020204020204" pitchFamily="34" charset="-122"/>
                        </a:rPr>
                        <a:t>值</a:t>
                      </a:r>
                      <a:endParaRPr kumimoji="0" lang="en-GB" altLang="zh-CN" sz="1000" b="1" i="0" u="none" strike="noStrike" cap="none" normalizeH="0" baseline="0" dirty="0">
                        <a:ln>
                          <a:noFill/>
                        </a:ln>
                        <a:solidFill>
                          <a:srgbClr val="595959"/>
                        </a:solidFill>
                        <a:effectLst/>
                        <a:latin typeface="Microsoft YaHei" panose="020B0503020204020204" pitchFamily="34" charset="-122"/>
                        <a:ea typeface="Microsoft YaHei" panose="020B0503020204020204" pitchFamily="34" charset="-122"/>
                        <a:cs typeface="Arial"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gridSpan="2">
                  <a:txBody>
                    <a:bodyPr/>
                    <a:lstStyle>
                      <a:lvl1pPr marL="0" algn="l" defTabSz="1218652" rtl="0" eaLnBrk="1" latinLnBrk="0" hangingPunct="1">
                        <a:defRPr sz="2400" kern="1200">
                          <a:solidFill>
                            <a:schemeClr val="dk1"/>
                          </a:solidFill>
                          <a:latin typeface="Arial"/>
                        </a:defRPr>
                      </a:lvl1pPr>
                      <a:lvl2pPr marL="609326" algn="l" defTabSz="1218652" rtl="0" eaLnBrk="1" latinLnBrk="0" hangingPunct="1">
                        <a:defRPr sz="2400" kern="1200">
                          <a:solidFill>
                            <a:schemeClr val="dk1"/>
                          </a:solidFill>
                          <a:latin typeface="Arial"/>
                        </a:defRPr>
                      </a:lvl2pPr>
                      <a:lvl3pPr marL="1218652" algn="l" defTabSz="1218652" rtl="0" eaLnBrk="1" latinLnBrk="0" hangingPunct="1">
                        <a:defRPr sz="2400" kern="1200">
                          <a:solidFill>
                            <a:schemeClr val="dk1"/>
                          </a:solidFill>
                          <a:latin typeface="Arial"/>
                        </a:defRPr>
                      </a:lvl3pPr>
                      <a:lvl4pPr marL="1827977" algn="l" defTabSz="1218652" rtl="0" eaLnBrk="1" latinLnBrk="0" hangingPunct="1">
                        <a:defRPr sz="2400" kern="1200">
                          <a:solidFill>
                            <a:schemeClr val="dk1"/>
                          </a:solidFill>
                          <a:latin typeface="Arial"/>
                        </a:defRPr>
                      </a:lvl4pPr>
                      <a:lvl5pPr marL="2437303" algn="l" defTabSz="1218652" rtl="0" eaLnBrk="1" latinLnBrk="0" hangingPunct="1">
                        <a:defRPr sz="2400" kern="1200">
                          <a:solidFill>
                            <a:schemeClr val="dk1"/>
                          </a:solidFill>
                          <a:latin typeface="Arial"/>
                        </a:defRPr>
                      </a:lvl5pPr>
                      <a:lvl6pPr marL="3046629" algn="l" defTabSz="1218652" rtl="0" eaLnBrk="1" latinLnBrk="0" hangingPunct="1">
                        <a:defRPr sz="2400" kern="1200">
                          <a:solidFill>
                            <a:schemeClr val="dk1"/>
                          </a:solidFill>
                          <a:latin typeface="Arial"/>
                        </a:defRPr>
                      </a:lvl6pPr>
                      <a:lvl7pPr marL="3655955" algn="l" defTabSz="1218652" rtl="0" eaLnBrk="1" latinLnBrk="0" hangingPunct="1">
                        <a:defRPr sz="2400" kern="1200">
                          <a:solidFill>
                            <a:schemeClr val="dk1"/>
                          </a:solidFill>
                          <a:latin typeface="Arial"/>
                        </a:defRPr>
                      </a:lvl7pPr>
                      <a:lvl8pPr marL="4265280" algn="l" defTabSz="1218652" rtl="0" eaLnBrk="1" latinLnBrk="0" hangingPunct="1">
                        <a:defRPr sz="2400" kern="1200">
                          <a:solidFill>
                            <a:schemeClr val="dk1"/>
                          </a:solidFill>
                          <a:latin typeface="Arial"/>
                        </a:defRPr>
                      </a:lvl8pPr>
                      <a:lvl9pPr marL="4874605" algn="l" defTabSz="1218652" rtl="0" eaLnBrk="1" latinLnBrk="0" hangingPunct="1">
                        <a:defRPr sz="2400" kern="1200">
                          <a:solidFill>
                            <a:schemeClr val="dk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zh-CN" sz="1000" b="1" i="0" u="none" strike="noStrike" cap="none" normalizeH="0" baseline="0" dirty="0">
                          <a:ln>
                            <a:noFill/>
                          </a:ln>
                          <a:solidFill>
                            <a:srgbClr val="595959"/>
                          </a:solidFill>
                          <a:effectLst/>
                          <a:latin typeface="Microsoft YaHei" panose="020B0503020204020204" pitchFamily="34" charset="-122"/>
                          <a:ea typeface="Microsoft YaHei" panose="020B0503020204020204" pitchFamily="34" charset="-122"/>
                          <a:cs typeface="Arial" pitchFamily="34" charset="0"/>
                        </a:rPr>
                        <a:t>0.81</a:t>
                      </a:r>
                      <a:r>
                        <a:rPr kumimoji="0" lang="en-GB" altLang="zh-CN" sz="1000" b="0" i="0" u="none" strike="noStrike" cap="none" normalizeH="0" baseline="0" dirty="0">
                          <a:ln>
                            <a:noFill/>
                          </a:ln>
                          <a:solidFill>
                            <a:srgbClr val="595959"/>
                          </a:solidFill>
                          <a:effectLst/>
                          <a:latin typeface="Microsoft YaHei" panose="020B0503020204020204" pitchFamily="34" charset="-122"/>
                          <a:ea typeface="Microsoft YaHei" panose="020B0503020204020204" pitchFamily="34" charset="-122"/>
                          <a:cs typeface="Arial" pitchFamily="34" charset="0"/>
                        </a:rPr>
                        <a:t> (0.66-0.99)</a:t>
                      </a:r>
                    </a:p>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zh-CN" sz="1000" b="0" i="0" u="none" strike="noStrike" cap="none" normalizeH="0" baseline="0" dirty="0">
                          <a:ln>
                            <a:noFill/>
                          </a:ln>
                          <a:solidFill>
                            <a:srgbClr val="595959"/>
                          </a:solidFill>
                          <a:effectLst/>
                          <a:latin typeface="Microsoft YaHei" panose="020B0503020204020204" pitchFamily="34" charset="-122"/>
                          <a:ea typeface="Microsoft YaHei" panose="020B0503020204020204" pitchFamily="34" charset="-122"/>
                          <a:cs typeface="Arial" pitchFamily="34" charset="0"/>
                        </a:rPr>
                        <a:t> </a:t>
                      </a:r>
                      <a:r>
                        <a:rPr kumimoji="0" lang="en-GB" altLang="zh-CN" sz="1400" b="1" i="1" u="none" strike="noStrike" cap="none" normalizeH="0" baseline="0" dirty="0">
                          <a:ln>
                            <a:noFill/>
                          </a:ln>
                          <a:solidFill>
                            <a:srgbClr val="FF0000"/>
                          </a:solidFill>
                          <a:effectLst/>
                          <a:latin typeface="Microsoft YaHei" panose="020B0503020204020204" pitchFamily="34" charset="-122"/>
                          <a:ea typeface="Microsoft YaHei" panose="020B0503020204020204" pitchFamily="34" charset="-122"/>
                          <a:cs typeface="Arial" pitchFamily="34" charset="0"/>
                        </a:rPr>
                        <a:t>P=</a:t>
                      </a:r>
                      <a:r>
                        <a:rPr kumimoji="0" lang="en-GB" altLang="zh-CN" sz="1400" b="1" i="0" u="none" strike="noStrike" cap="none" normalizeH="0" baseline="0" dirty="0">
                          <a:ln>
                            <a:noFill/>
                          </a:ln>
                          <a:solidFill>
                            <a:srgbClr val="FF0000"/>
                          </a:solidFill>
                          <a:effectLst/>
                          <a:latin typeface="Microsoft YaHei" panose="020B0503020204020204" pitchFamily="34" charset="-122"/>
                          <a:ea typeface="Microsoft YaHei" panose="020B0503020204020204" pitchFamily="34" charset="-122"/>
                          <a:cs typeface="Arial" pitchFamily="34" charset="0"/>
                        </a:rPr>
                        <a:t>0.037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zh-CN" sz="1200" b="0" i="0" u="none" strike="noStrike" cap="none" normalizeH="0" baseline="0" dirty="0">
                        <a:ln>
                          <a:noFill/>
                        </a:ln>
                        <a:solidFill>
                          <a:srgbClr val="595959"/>
                        </a:solidFill>
                        <a:effectLst/>
                        <a:latin typeface="微软雅黑" panose="020B0503020204020204" pitchFamily="34" charset="-122"/>
                        <a:ea typeface="微软雅黑" panose="020B0503020204020204" pitchFamily="34" charset="-122"/>
                        <a:cs typeface="Arial"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
        <p:nvSpPr>
          <p:cNvPr id="512" name="Footer Placeholder 3"/>
          <p:cNvSpPr txBox="1">
            <a:spLocks noChangeArrowheads="1"/>
          </p:cNvSpPr>
          <p:nvPr/>
        </p:nvSpPr>
        <p:spPr bwMode="auto">
          <a:xfrm>
            <a:off x="49142" y="6889305"/>
            <a:ext cx="3344862"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000" b="0" i="0" u="none" strike="noStrike" kern="0" cap="none" spc="0" normalizeH="0" baseline="0" noProof="0" dirty="0">
                <a:ln>
                  <a:noFill/>
                </a:ln>
                <a:solidFill>
                  <a:prstClr val="black"/>
                </a:solidFill>
                <a:effectLst/>
                <a:uLnTx/>
                <a:uFillTx/>
                <a:latin typeface="Arial" pitchFamily="34" charset="0"/>
                <a:ea typeface="+mn-ea"/>
                <a:cs typeface="+mn-cs"/>
              </a:rPr>
              <a:t>Yang et al. Lancet Oncol. 2015; </a:t>
            </a:r>
            <a:r>
              <a:rPr kumimoji="0" lang="en-GB" altLang="zh-CN" sz="1000" b="0" i="0" u="none" strike="noStrike" kern="0" cap="none" spc="0" normalizeH="0" baseline="0" noProof="0" dirty="0">
                <a:ln>
                  <a:noFill/>
                </a:ln>
                <a:solidFill>
                  <a:prstClr val="black"/>
                </a:solidFill>
                <a:effectLst/>
                <a:uLnTx/>
                <a:uFillTx/>
                <a:latin typeface="Arial" pitchFamily="34" charset="0"/>
                <a:ea typeface="宋体" pitchFamily="2" charset="-122"/>
                <a:cs typeface="+mn-cs"/>
              </a:rPr>
              <a:t>16:141-51</a:t>
            </a:r>
            <a:r>
              <a:rPr kumimoji="0" lang="en-US" altLang="en-US" sz="1000" b="0" i="0" u="none" strike="noStrike" kern="0" cap="none" spc="0" normalizeH="0" baseline="0" noProof="0" dirty="0">
                <a:ln>
                  <a:noFill/>
                </a:ln>
                <a:solidFill>
                  <a:prstClr val="black"/>
                </a:solidFill>
                <a:effectLst/>
                <a:uLnTx/>
                <a:uFillTx/>
                <a:latin typeface="Arial" pitchFamily="34" charset="0"/>
                <a:ea typeface="+mn-ea"/>
                <a:cs typeface="+mn-cs"/>
              </a:rPr>
              <a:t>.</a:t>
            </a:r>
            <a:r>
              <a:rPr kumimoji="0" lang="en-US" altLang="zh-CN" sz="1000" b="0" i="0" u="none" strike="noStrike" kern="0" cap="none" spc="0" normalizeH="0" baseline="0" noProof="0" dirty="0">
                <a:ln>
                  <a:noFill/>
                </a:ln>
                <a:solidFill>
                  <a:prstClr val="black"/>
                </a:solidFill>
                <a:effectLst/>
                <a:uLnTx/>
                <a:uFillTx/>
                <a:latin typeface="Arial" pitchFamily="34" charset="0"/>
                <a:ea typeface="宋体" pitchFamily="2" charset="-122"/>
                <a:cs typeface="+mn-cs"/>
              </a:rPr>
              <a:t>  </a:t>
            </a:r>
          </a:p>
        </p:txBody>
      </p:sp>
    </p:spTree>
    <p:extLst>
      <p:ext uri="{BB962C8B-B14F-4D97-AF65-F5344CB8AC3E}">
        <p14:creationId xmlns:p14="http://schemas.microsoft.com/office/powerpoint/2010/main" val="32798991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30214" y="394784"/>
            <a:ext cx="8550275" cy="445507"/>
          </a:xfrm>
        </p:spPr>
        <p:txBody>
          <a:bodyPr/>
          <a:lstStyle/>
          <a:p>
            <a:r>
              <a:rPr lang="zh-CN" altLang="en-US" b="1" dirty="0">
                <a:latin typeface="Microsoft YaHei" panose="020B0503020204020204" pitchFamily="34" charset="-122"/>
                <a:ea typeface="Microsoft YaHei" panose="020B0503020204020204" pitchFamily="34" charset="-122"/>
              </a:rPr>
              <a:t>在此之前，一代</a:t>
            </a:r>
            <a:r>
              <a:rPr lang="en-US" altLang="zh-CN" b="1" dirty="0">
                <a:latin typeface="Microsoft YaHei" panose="020B0503020204020204" pitchFamily="34" charset="-122"/>
                <a:ea typeface="Microsoft YaHei" panose="020B0503020204020204" pitchFamily="34" charset="-122"/>
              </a:rPr>
              <a:t>EGFR-TKI</a:t>
            </a:r>
            <a:r>
              <a:rPr lang="zh-CN" altLang="en-US" b="1" dirty="0">
                <a:latin typeface="Microsoft YaHei" panose="020B0503020204020204" pitchFamily="34" charset="-122"/>
                <a:ea typeface="Microsoft YaHei" panose="020B0503020204020204" pitchFamily="34" charset="-122"/>
              </a:rPr>
              <a:t>对比化疗从未获得</a:t>
            </a:r>
            <a:r>
              <a:rPr lang="en-US" altLang="zh-CN" b="1" dirty="0">
                <a:latin typeface="Microsoft YaHei" panose="020B0503020204020204" pitchFamily="34" charset="-122"/>
                <a:ea typeface="Microsoft YaHei" panose="020B0503020204020204" pitchFamily="34" charset="-122"/>
              </a:rPr>
              <a:t>OS</a:t>
            </a:r>
            <a:r>
              <a:rPr lang="zh-CN" altLang="en-US" b="1" dirty="0">
                <a:latin typeface="Microsoft YaHei" panose="020B0503020204020204" pitchFamily="34" charset="-122"/>
                <a:ea typeface="Microsoft YaHei" panose="020B0503020204020204" pitchFamily="34" charset="-122"/>
              </a:rPr>
              <a:t>获益</a:t>
            </a:r>
            <a:endParaRPr lang="en-US" b="1" dirty="0">
              <a:latin typeface="Microsoft YaHei" panose="020B0503020204020204" pitchFamily="34" charset="-122"/>
              <a:ea typeface="Microsoft YaHei" panose="020B0503020204020204" pitchFamily="34" charset="-122"/>
            </a:endParaRPr>
          </a:p>
        </p:txBody>
      </p:sp>
      <p:graphicFrame>
        <p:nvGraphicFramePr>
          <p:cNvPr id="8" name="表格 7"/>
          <p:cNvGraphicFramePr>
            <a:graphicFrameLocks noGrp="1"/>
          </p:cNvGraphicFramePr>
          <p:nvPr>
            <p:extLst/>
          </p:nvPr>
        </p:nvGraphicFramePr>
        <p:xfrm>
          <a:off x="849087" y="1787380"/>
          <a:ext cx="7511141" cy="3313632"/>
        </p:xfrm>
        <a:graphic>
          <a:graphicData uri="http://schemas.openxmlformats.org/drawingml/2006/table">
            <a:tbl>
              <a:tblPr firstRow="1" bandRow="1">
                <a:tableStyleId>{5C22544A-7EE6-4342-B048-85BDC9FD1C3A}</a:tableStyleId>
              </a:tblPr>
              <a:tblGrid>
                <a:gridCol w="1631517">
                  <a:extLst>
                    <a:ext uri="{9D8B030D-6E8A-4147-A177-3AD203B41FA5}">
                      <a16:colId xmlns:a16="http://schemas.microsoft.com/office/drawing/2014/main" val="1213556555"/>
                    </a:ext>
                  </a:extLst>
                </a:gridCol>
                <a:gridCol w="1015852">
                  <a:extLst>
                    <a:ext uri="{9D8B030D-6E8A-4147-A177-3AD203B41FA5}">
                      <a16:colId xmlns:a16="http://schemas.microsoft.com/office/drawing/2014/main" val="2495166087"/>
                    </a:ext>
                  </a:extLst>
                </a:gridCol>
                <a:gridCol w="1215943">
                  <a:extLst>
                    <a:ext uri="{9D8B030D-6E8A-4147-A177-3AD203B41FA5}">
                      <a16:colId xmlns:a16="http://schemas.microsoft.com/office/drawing/2014/main" val="1439734222"/>
                    </a:ext>
                  </a:extLst>
                </a:gridCol>
                <a:gridCol w="1215943">
                  <a:extLst>
                    <a:ext uri="{9D8B030D-6E8A-4147-A177-3AD203B41FA5}">
                      <a16:colId xmlns:a16="http://schemas.microsoft.com/office/drawing/2014/main" val="1207362695"/>
                    </a:ext>
                  </a:extLst>
                </a:gridCol>
                <a:gridCol w="1215943">
                  <a:extLst>
                    <a:ext uri="{9D8B030D-6E8A-4147-A177-3AD203B41FA5}">
                      <a16:colId xmlns:a16="http://schemas.microsoft.com/office/drawing/2014/main" val="3464895157"/>
                    </a:ext>
                  </a:extLst>
                </a:gridCol>
                <a:gridCol w="1215943">
                  <a:extLst>
                    <a:ext uri="{9D8B030D-6E8A-4147-A177-3AD203B41FA5}">
                      <a16:colId xmlns:a16="http://schemas.microsoft.com/office/drawing/2014/main" val="3993679992"/>
                    </a:ext>
                  </a:extLst>
                </a:gridCol>
              </a:tblGrid>
              <a:tr h="414204">
                <a:tc>
                  <a:txBody>
                    <a:bodyPr/>
                    <a:lstStyle/>
                    <a:p>
                      <a:pPr algn="ctr"/>
                      <a:r>
                        <a:rPr lang="zh-CN" altLang="en-US" sz="1600" dirty="0">
                          <a:latin typeface="Microsoft YaHei" panose="020B0503020204020204" pitchFamily="34" charset="-122"/>
                          <a:ea typeface="Microsoft YaHei" panose="020B0503020204020204" pitchFamily="34" charset="-122"/>
                        </a:rPr>
                        <a:t>研究</a:t>
                      </a:r>
                      <a:endParaRPr lang="en-US" sz="1600" dirty="0">
                        <a:latin typeface="Microsoft YaHei" panose="020B0503020204020204" pitchFamily="34" charset="-122"/>
                        <a:ea typeface="Microsoft YaHei" panose="020B0503020204020204" pitchFamily="34" charset="-122"/>
                      </a:endParaRPr>
                    </a:p>
                  </a:txBody>
                  <a:tcPr anchor="ctr"/>
                </a:tc>
                <a:tc>
                  <a:txBody>
                    <a:bodyPr/>
                    <a:lstStyle/>
                    <a:p>
                      <a:pPr algn="ctr"/>
                      <a:r>
                        <a:rPr lang="zh-CN" altLang="en-US" sz="1600" dirty="0">
                          <a:latin typeface="Microsoft YaHei" panose="020B0503020204020204" pitchFamily="34" charset="-122"/>
                          <a:ea typeface="Microsoft YaHei" panose="020B0503020204020204" pitchFamily="34" charset="-122"/>
                        </a:rPr>
                        <a:t>治疗组</a:t>
                      </a:r>
                      <a:endParaRPr lang="en-US" sz="1600" dirty="0">
                        <a:latin typeface="Microsoft YaHei" panose="020B0503020204020204" pitchFamily="34" charset="-122"/>
                        <a:ea typeface="Microsoft YaHei" panose="020B0503020204020204" pitchFamily="34" charset="-122"/>
                      </a:endParaRPr>
                    </a:p>
                  </a:txBody>
                  <a:tcPr anchor="ctr"/>
                </a:tc>
                <a:tc gridSpan="4">
                  <a:txBody>
                    <a:bodyPr/>
                    <a:lstStyle/>
                    <a:p>
                      <a:pPr algn="ctr"/>
                      <a:r>
                        <a:rPr lang="en-US" sz="1600" dirty="0"/>
                        <a:t>OS</a:t>
                      </a:r>
                    </a:p>
                  </a:txBody>
                  <a:tcPr anchor="ctr"/>
                </a:tc>
                <a:tc hMerge="1">
                  <a:txBody>
                    <a:bodyPr/>
                    <a:lstStyle/>
                    <a:p>
                      <a:endParaRPr lang="en-US" sz="1400" dirty="0"/>
                    </a:p>
                  </a:txBody>
                  <a:tcPr/>
                </a:tc>
                <a:tc hMerge="1">
                  <a:txBody>
                    <a:bodyPr/>
                    <a:lstStyle/>
                    <a:p>
                      <a:endParaRPr lang="en-US" sz="1400" dirty="0"/>
                    </a:p>
                  </a:txBody>
                  <a:tcPr/>
                </a:tc>
                <a:tc hMerge="1">
                  <a:txBody>
                    <a:bodyPr/>
                    <a:lstStyle/>
                    <a:p>
                      <a:endParaRPr lang="en-US" sz="1400" dirty="0"/>
                    </a:p>
                  </a:txBody>
                  <a:tcPr/>
                </a:tc>
                <a:extLst>
                  <a:ext uri="{0D108BD9-81ED-4DB2-BD59-A6C34878D82A}">
                    <a16:rowId xmlns:a16="http://schemas.microsoft.com/office/drawing/2014/main" val="3647727732"/>
                  </a:ext>
                </a:extLst>
              </a:tr>
              <a:tr h="414204">
                <a:tc>
                  <a:txBody>
                    <a:bodyPr/>
                    <a:lstStyle/>
                    <a:p>
                      <a:pPr algn="ctr"/>
                      <a:endParaRPr lang="en-US" sz="1600" dirty="0"/>
                    </a:p>
                  </a:txBody>
                  <a:tcPr anchor="ctr"/>
                </a:tc>
                <a:tc>
                  <a:txBody>
                    <a:bodyPr/>
                    <a:lstStyle/>
                    <a:p>
                      <a:pPr algn="ctr"/>
                      <a:endParaRPr lang="en-US" sz="1600"/>
                    </a:p>
                  </a:txBody>
                  <a:tcPr anchor="ctr"/>
                </a:tc>
                <a:tc>
                  <a:txBody>
                    <a:bodyPr/>
                    <a:lstStyle/>
                    <a:p>
                      <a:pPr algn="ctr"/>
                      <a:r>
                        <a:rPr lang="en-US" sz="1600" dirty="0"/>
                        <a:t>TKI</a:t>
                      </a:r>
                    </a:p>
                  </a:txBody>
                  <a:tcPr anchor="ctr"/>
                </a:tc>
                <a:tc>
                  <a:txBody>
                    <a:bodyPr/>
                    <a:lstStyle/>
                    <a:p>
                      <a:pPr algn="ctr"/>
                      <a:r>
                        <a:rPr lang="en-US" sz="1600" dirty="0"/>
                        <a:t>Chemo</a:t>
                      </a:r>
                    </a:p>
                  </a:txBody>
                  <a:tcPr anchor="ctr"/>
                </a:tc>
                <a:tc>
                  <a:txBody>
                    <a:bodyPr/>
                    <a:lstStyle/>
                    <a:p>
                      <a:pPr algn="ctr"/>
                      <a:r>
                        <a:rPr lang="en-US" sz="1600" dirty="0"/>
                        <a:t>P-Value</a:t>
                      </a:r>
                    </a:p>
                  </a:txBody>
                  <a:tcPr anchor="ctr"/>
                </a:tc>
                <a:tc>
                  <a:txBody>
                    <a:bodyPr/>
                    <a:lstStyle/>
                    <a:p>
                      <a:pPr algn="ctr"/>
                      <a:r>
                        <a:rPr lang="en-US" sz="1600" dirty="0"/>
                        <a:t>HR</a:t>
                      </a:r>
                    </a:p>
                  </a:txBody>
                  <a:tcPr anchor="ctr"/>
                </a:tc>
                <a:extLst>
                  <a:ext uri="{0D108BD9-81ED-4DB2-BD59-A6C34878D82A}">
                    <a16:rowId xmlns:a16="http://schemas.microsoft.com/office/drawing/2014/main" val="175061108"/>
                  </a:ext>
                </a:extLst>
              </a:tr>
              <a:tr h="414204">
                <a:tc>
                  <a:txBody>
                    <a:bodyPr/>
                    <a:lstStyle/>
                    <a:p>
                      <a:pPr algn="ctr"/>
                      <a:r>
                        <a:rPr lang="en-US" altLang="zh-CN" sz="1600" dirty="0"/>
                        <a:t>IPASS</a:t>
                      </a:r>
                      <a:r>
                        <a:rPr lang="en-US" altLang="zh-CN" sz="1600" baseline="30000" dirty="0"/>
                        <a:t>1</a:t>
                      </a:r>
                      <a:endParaRPr lang="en-US" sz="1600" baseline="30000" dirty="0"/>
                    </a:p>
                  </a:txBody>
                  <a:tcPr anchor="ctr"/>
                </a:tc>
                <a:tc>
                  <a:txBody>
                    <a:bodyPr/>
                    <a:lstStyle/>
                    <a:p>
                      <a:pPr algn="ctr"/>
                      <a:r>
                        <a:rPr lang="en-US" sz="1600" dirty="0" err="1"/>
                        <a:t>Gefitinib</a:t>
                      </a:r>
                      <a:endParaRPr lang="en-US" sz="1600" dirty="0"/>
                    </a:p>
                  </a:txBody>
                  <a:tcPr anchor="ctr"/>
                </a:tc>
                <a:tc>
                  <a:txBody>
                    <a:bodyPr/>
                    <a:lstStyle/>
                    <a:p>
                      <a:pPr algn="ctr"/>
                      <a:r>
                        <a:rPr lang="en-US" sz="1600" dirty="0"/>
                        <a:t>21.6</a:t>
                      </a:r>
                    </a:p>
                  </a:txBody>
                  <a:tcPr anchor="ctr"/>
                </a:tc>
                <a:tc>
                  <a:txBody>
                    <a:bodyPr/>
                    <a:lstStyle/>
                    <a:p>
                      <a:pPr algn="ctr"/>
                      <a:r>
                        <a:rPr lang="en-US" sz="1600" dirty="0"/>
                        <a:t>21.9</a:t>
                      </a:r>
                    </a:p>
                  </a:txBody>
                  <a:tcPr anchor="ctr"/>
                </a:tc>
                <a:tc>
                  <a:txBody>
                    <a:bodyPr/>
                    <a:lstStyle/>
                    <a:p>
                      <a:pPr algn="ctr"/>
                      <a:r>
                        <a:rPr lang="en-US" sz="1600" dirty="0"/>
                        <a:t>0.990</a:t>
                      </a:r>
                    </a:p>
                  </a:txBody>
                  <a:tcPr anchor="ctr"/>
                </a:tc>
                <a:tc>
                  <a:txBody>
                    <a:bodyPr/>
                    <a:lstStyle/>
                    <a:p>
                      <a:pPr algn="ctr"/>
                      <a:r>
                        <a:rPr lang="en-US" sz="1600" dirty="0"/>
                        <a:t>1.000</a:t>
                      </a:r>
                    </a:p>
                  </a:txBody>
                  <a:tcPr anchor="ctr"/>
                </a:tc>
                <a:extLst>
                  <a:ext uri="{0D108BD9-81ED-4DB2-BD59-A6C34878D82A}">
                    <a16:rowId xmlns:a16="http://schemas.microsoft.com/office/drawing/2014/main" val="2794871644"/>
                  </a:ext>
                </a:extLst>
              </a:tr>
              <a:tr h="414204">
                <a:tc>
                  <a:txBody>
                    <a:bodyPr/>
                    <a:lstStyle/>
                    <a:p>
                      <a:pPr algn="ctr"/>
                      <a:r>
                        <a:rPr lang="en-US" altLang="zh-CN" sz="1600" dirty="0"/>
                        <a:t>NEJ002</a:t>
                      </a:r>
                      <a:r>
                        <a:rPr lang="en-US" altLang="zh-CN" sz="1600" baseline="30000" dirty="0"/>
                        <a:t>2</a:t>
                      </a:r>
                      <a:endParaRPr lang="en-US" sz="1600" baseline="30000" dirty="0"/>
                    </a:p>
                  </a:txBody>
                  <a:tcPr anchor="ctr"/>
                </a:tc>
                <a:tc>
                  <a:txBody>
                    <a:bodyPr/>
                    <a:lstStyle/>
                    <a:p>
                      <a:pPr algn="ctr"/>
                      <a:r>
                        <a:rPr lang="en-US" sz="1600" dirty="0" err="1"/>
                        <a:t>Gefitinib</a:t>
                      </a:r>
                      <a:endParaRPr lang="en-US" sz="1600" dirty="0"/>
                    </a:p>
                  </a:txBody>
                  <a:tcPr anchor="ctr"/>
                </a:tc>
                <a:tc>
                  <a:txBody>
                    <a:bodyPr/>
                    <a:lstStyle/>
                    <a:p>
                      <a:pPr algn="ctr"/>
                      <a:r>
                        <a:rPr lang="en-US" sz="1600" dirty="0"/>
                        <a:t>27.7</a:t>
                      </a:r>
                    </a:p>
                  </a:txBody>
                  <a:tcPr anchor="ctr"/>
                </a:tc>
                <a:tc>
                  <a:txBody>
                    <a:bodyPr/>
                    <a:lstStyle/>
                    <a:p>
                      <a:pPr algn="ctr"/>
                      <a:r>
                        <a:rPr lang="en-US" sz="1600" dirty="0"/>
                        <a:t>26.6</a:t>
                      </a:r>
                    </a:p>
                  </a:txBody>
                  <a:tcPr anchor="ctr"/>
                </a:tc>
                <a:tc>
                  <a:txBody>
                    <a:bodyPr/>
                    <a:lstStyle/>
                    <a:p>
                      <a:pPr algn="ctr"/>
                      <a:r>
                        <a:rPr lang="en-US" sz="1600" dirty="0"/>
                        <a:t>0.483</a:t>
                      </a:r>
                    </a:p>
                  </a:txBody>
                  <a:tcPr anchor="ctr"/>
                </a:tc>
                <a:tc>
                  <a:txBody>
                    <a:bodyPr/>
                    <a:lstStyle/>
                    <a:p>
                      <a:pPr algn="ctr"/>
                      <a:r>
                        <a:rPr lang="en-US" sz="1600" dirty="0"/>
                        <a:t>0.887</a:t>
                      </a:r>
                    </a:p>
                  </a:txBody>
                  <a:tcPr anchor="ctr"/>
                </a:tc>
                <a:extLst>
                  <a:ext uri="{0D108BD9-81ED-4DB2-BD59-A6C34878D82A}">
                    <a16:rowId xmlns:a16="http://schemas.microsoft.com/office/drawing/2014/main" val="98481497"/>
                  </a:ext>
                </a:extLst>
              </a:tr>
              <a:tr h="414204">
                <a:tc>
                  <a:txBody>
                    <a:bodyPr/>
                    <a:lstStyle/>
                    <a:p>
                      <a:pPr algn="ctr"/>
                      <a:r>
                        <a:rPr lang="en-US" sz="1600" dirty="0"/>
                        <a:t>WJTOG3405</a:t>
                      </a:r>
                      <a:r>
                        <a:rPr lang="en-US" sz="1600" baseline="30000" dirty="0"/>
                        <a:t>3</a:t>
                      </a:r>
                    </a:p>
                  </a:txBody>
                  <a:tcPr anchor="ctr"/>
                </a:tc>
                <a:tc>
                  <a:txBody>
                    <a:bodyPr/>
                    <a:lstStyle/>
                    <a:p>
                      <a:pPr algn="ctr"/>
                      <a:r>
                        <a:rPr lang="en-US" sz="1600" dirty="0" err="1"/>
                        <a:t>Gefitinib</a:t>
                      </a:r>
                      <a:endParaRPr lang="en-US" sz="1600" dirty="0"/>
                    </a:p>
                  </a:txBody>
                  <a:tcPr anchor="ctr"/>
                </a:tc>
                <a:tc>
                  <a:txBody>
                    <a:bodyPr/>
                    <a:lstStyle/>
                    <a:p>
                      <a:pPr marL="0" algn="ctr" defTabSz="914400" rtl="0" eaLnBrk="1" latinLnBrk="0" hangingPunct="1"/>
                      <a:r>
                        <a:rPr lang="en-US" sz="1600" kern="1200" dirty="0">
                          <a:solidFill>
                            <a:schemeClr val="dk1"/>
                          </a:solidFill>
                          <a:latin typeface="+mn-lt"/>
                          <a:ea typeface="+mn-ea"/>
                          <a:cs typeface="+mn-cs"/>
                        </a:rPr>
                        <a:t>34.9</a:t>
                      </a:r>
                    </a:p>
                  </a:txBody>
                  <a:tcPr anchor="ctr"/>
                </a:tc>
                <a:tc>
                  <a:txBody>
                    <a:bodyPr/>
                    <a:lstStyle/>
                    <a:p>
                      <a:pPr marL="0" algn="ctr" defTabSz="914400" rtl="0" eaLnBrk="1" latinLnBrk="0" hangingPunct="1"/>
                      <a:r>
                        <a:rPr lang="en-US" sz="1600" kern="1200" dirty="0">
                          <a:solidFill>
                            <a:schemeClr val="dk1"/>
                          </a:solidFill>
                          <a:latin typeface="+mn-lt"/>
                          <a:ea typeface="+mn-ea"/>
                          <a:cs typeface="+mn-cs"/>
                        </a:rPr>
                        <a:t>37.3</a:t>
                      </a:r>
                    </a:p>
                  </a:txBody>
                  <a:tcPr anchor="ctr"/>
                </a:tc>
                <a:tc>
                  <a:txBody>
                    <a:bodyPr/>
                    <a:lstStyle/>
                    <a:p>
                      <a:pPr marL="0" algn="ctr" defTabSz="914400" rtl="0" eaLnBrk="1" latinLnBrk="0" hangingPunct="1"/>
                      <a:r>
                        <a:rPr lang="en-US" sz="1600" kern="1200" dirty="0">
                          <a:solidFill>
                            <a:schemeClr val="dk1"/>
                          </a:solidFill>
                          <a:latin typeface="+mn-lt"/>
                          <a:ea typeface="+mn-ea"/>
                          <a:cs typeface="+mn-cs"/>
                        </a:rPr>
                        <a:t>0.2070</a:t>
                      </a:r>
                    </a:p>
                  </a:txBody>
                  <a:tcPr anchor="ctr"/>
                </a:tc>
                <a:tc>
                  <a:txBody>
                    <a:bodyPr/>
                    <a:lstStyle/>
                    <a:p>
                      <a:pPr marL="0" algn="ctr" defTabSz="914400" rtl="0" eaLnBrk="1" latinLnBrk="0" hangingPunct="1"/>
                      <a:r>
                        <a:rPr lang="en-US" sz="1600" kern="1200" dirty="0">
                          <a:solidFill>
                            <a:schemeClr val="dk1"/>
                          </a:solidFill>
                          <a:latin typeface="+mn-lt"/>
                          <a:ea typeface="+mn-ea"/>
                          <a:cs typeface="+mn-cs"/>
                        </a:rPr>
                        <a:t>1.252</a:t>
                      </a:r>
                    </a:p>
                  </a:txBody>
                  <a:tcPr anchor="ctr"/>
                </a:tc>
                <a:extLst>
                  <a:ext uri="{0D108BD9-81ED-4DB2-BD59-A6C34878D82A}">
                    <a16:rowId xmlns:a16="http://schemas.microsoft.com/office/drawing/2014/main" val="2587745561"/>
                  </a:ext>
                </a:extLst>
              </a:tr>
              <a:tr h="414204">
                <a:tc>
                  <a:txBody>
                    <a:bodyPr/>
                    <a:lstStyle/>
                    <a:p>
                      <a:pPr algn="ctr"/>
                      <a:r>
                        <a:rPr lang="en-US" sz="1600" dirty="0"/>
                        <a:t>OPTIMAL</a:t>
                      </a:r>
                      <a:r>
                        <a:rPr lang="en-US" sz="1600" baseline="30000" dirty="0"/>
                        <a:t>4</a:t>
                      </a:r>
                    </a:p>
                  </a:txBody>
                  <a:tcPr anchor="ctr"/>
                </a:tc>
                <a:tc>
                  <a:txBody>
                    <a:bodyPr/>
                    <a:lstStyle/>
                    <a:p>
                      <a:pPr algn="ctr"/>
                      <a:r>
                        <a:rPr lang="en-US" sz="1600" dirty="0" err="1"/>
                        <a:t>Erlotinib</a:t>
                      </a:r>
                      <a:endParaRPr lang="en-US" sz="1600" dirty="0"/>
                    </a:p>
                  </a:txBody>
                  <a:tcPr anchor="ctr"/>
                </a:tc>
                <a:tc>
                  <a:txBody>
                    <a:bodyPr/>
                    <a:lstStyle/>
                    <a:p>
                      <a:pPr algn="ctr"/>
                      <a:r>
                        <a:rPr lang="en-US" sz="1600" dirty="0"/>
                        <a:t>22.8</a:t>
                      </a:r>
                    </a:p>
                  </a:txBody>
                  <a:tcPr anchor="ctr"/>
                </a:tc>
                <a:tc>
                  <a:txBody>
                    <a:bodyPr/>
                    <a:lstStyle/>
                    <a:p>
                      <a:pPr algn="ctr"/>
                      <a:r>
                        <a:rPr lang="en-US" sz="1600" dirty="0"/>
                        <a:t>27.2</a:t>
                      </a:r>
                    </a:p>
                  </a:txBody>
                  <a:tcPr anchor="ctr"/>
                </a:tc>
                <a:tc>
                  <a:txBody>
                    <a:bodyPr/>
                    <a:lstStyle/>
                    <a:p>
                      <a:pPr algn="ctr"/>
                      <a:r>
                        <a:rPr lang="en-US" sz="1600" dirty="0"/>
                        <a:t>0.2663</a:t>
                      </a:r>
                    </a:p>
                  </a:txBody>
                  <a:tcPr anchor="ctr"/>
                </a:tc>
                <a:tc>
                  <a:txBody>
                    <a:bodyPr/>
                    <a:lstStyle/>
                    <a:p>
                      <a:pPr algn="ctr"/>
                      <a:r>
                        <a:rPr lang="en-US" sz="1600" dirty="0"/>
                        <a:t>1.19</a:t>
                      </a:r>
                    </a:p>
                  </a:txBody>
                  <a:tcPr anchor="ctr"/>
                </a:tc>
                <a:extLst>
                  <a:ext uri="{0D108BD9-81ED-4DB2-BD59-A6C34878D82A}">
                    <a16:rowId xmlns:a16="http://schemas.microsoft.com/office/drawing/2014/main" val="2391457188"/>
                  </a:ext>
                </a:extLst>
              </a:tr>
              <a:tr h="414204">
                <a:tc>
                  <a:txBody>
                    <a:bodyPr/>
                    <a:lstStyle/>
                    <a:p>
                      <a:pPr algn="ctr"/>
                      <a:r>
                        <a:rPr lang="en-US" sz="1600" dirty="0"/>
                        <a:t>EURTAC</a:t>
                      </a:r>
                      <a:r>
                        <a:rPr lang="en-US" sz="1600" baseline="30000" dirty="0"/>
                        <a:t>5</a:t>
                      </a:r>
                    </a:p>
                  </a:txBody>
                  <a:tcPr anchor="ctr"/>
                </a:tc>
                <a:tc>
                  <a:txBody>
                    <a:bodyPr/>
                    <a:lstStyle/>
                    <a:p>
                      <a:pPr algn="ctr"/>
                      <a:r>
                        <a:rPr lang="en-US" sz="1600" dirty="0" err="1"/>
                        <a:t>Erlotinib</a:t>
                      </a:r>
                      <a:endParaRPr lang="en-US" sz="1600" dirty="0"/>
                    </a:p>
                  </a:txBody>
                  <a:tcPr anchor="ctr"/>
                </a:tc>
                <a:tc>
                  <a:txBody>
                    <a:bodyPr/>
                    <a:lstStyle/>
                    <a:p>
                      <a:pPr algn="ctr"/>
                      <a:r>
                        <a:rPr lang="en-US" sz="1600" dirty="0"/>
                        <a:t>22.9</a:t>
                      </a:r>
                    </a:p>
                  </a:txBody>
                  <a:tcPr anchor="ctr"/>
                </a:tc>
                <a:tc>
                  <a:txBody>
                    <a:bodyPr/>
                    <a:lstStyle/>
                    <a:p>
                      <a:pPr algn="ctr"/>
                      <a:r>
                        <a:rPr lang="en-US" sz="1600" dirty="0"/>
                        <a:t>19.6</a:t>
                      </a:r>
                    </a:p>
                  </a:txBody>
                  <a:tcPr anchor="ctr"/>
                </a:tc>
                <a:tc>
                  <a:txBody>
                    <a:bodyPr/>
                    <a:lstStyle/>
                    <a:p>
                      <a:pPr algn="ctr"/>
                      <a:r>
                        <a:rPr lang="en-US" sz="1600" dirty="0"/>
                        <a:t>0.68</a:t>
                      </a:r>
                    </a:p>
                  </a:txBody>
                  <a:tcPr anchor="ctr"/>
                </a:tc>
                <a:tc>
                  <a:txBody>
                    <a:bodyPr/>
                    <a:lstStyle/>
                    <a:p>
                      <a:pPr algn="ctr"/>
                      <a:r>
                        <a:rPr lang="en-US" sz="1600" dirty="0"/>
                        <a:t>0.92</a:t>
                      </a:r>
                    </a:p>
                  </a:txBody>
                  <a:tcPr anchor="ctr"/>
                </a:tc>
                <a:extLst>
                  <a:ext uri="{0D108BD9-81ED-4DB2-BD59-A6C34878D82A}">
                    <a16:rowId xmlns:a16="http://schemas.microsoft.com/office/drawing/2014/main" val="2094633164"/>
                  </a:ext>
                </a:extLst>
              </a:tr>
              <a:tr h="414204">
                <a:tc>
                  <a:txBody>
                    <a:bodyPr/>
                    <a:lstStyle/>
                    <a:p>
                      <a:pPr algn="ctr"/>
                      <a:r>
                        <a:rPr lang="en-US" sz="1600" baseline="0" dirty="0"/>
                        <a:t>CONVINCE</a:t>
                      </a:r>
                      <a:r>
                        <a:rPr lang="en-US" sz="1600" baseline="30000" dirty="0"/>
                        <a:t>6</a:t>
                      </a:r>
                    </a:p>
                  </a:txBody>
                  <a:tcPr anchor="ctr"/>
                </a:tc>
                <a:tc>
                  <a:txBody>
                    <a:bodyPr/>
                    <a:lstStyle/>
                    <a:p>
                      <a:pPr algn="ctr"/>
                      <a:r>
                        <a:rPr lang="en-US" sz="1600" dirty="0" err="1"/>
                        <a:t>Icotinib</a:t>
                      </a:r>
                      <a:endParaRPr lang="en-US" sz="1600" dirty="0"/>
                    </a:p>
                  </a:txBody>
                  <a:tcPr anchor="ctr"/>
                </a:tc>
                <a:tc>
                  <a:txBody>
                    <a:bodyPr/>
                    <a:lstStyle/>
                    <a:p>
                      <a:pPr algn="ctr"/>
                      <a:r>
                        <a:rPr lang="en-US" sz="1600" dirty="0"/>
                        <a:t>30.5</a:t>
                      </a:r>
                    </a:p>
                  </a:txBody>
                  <a:tcPr anchor="ctr"/>
                </a:tc>
                <a:tc>
                  <a:txBody>
                    <a:bodyPr/>
                    <a:lstStyle/>
                    <a:p>
                      <a:pPr algn="ctr"/>
                      <a:r>
                        <a:rPr lang="en-US" sz="1600" dirty="0"/>
                        <a:t>32.1</a:t>
                      </a:r>
                    </a:p>
                  </a:txBody>
                  <a:tcPr anchor="ctr"/>
                </a:tc>
                <a:tc>
                  <a:txBody>
                    <a:bodyPr/>
                    <a:lstStyle/>
                    <a:p>
                      <a:pPr algn="ctr"/>
                      <a:r>
                        <a:rPr lang="en-US" sz="1600" dirty="0"/>
                        <a:t>0.885</a:t>
                      </a:r>
                    </a:p>
                  </a:txBody>
                  <a:tcPr anchor="ctr"/>
                </a:tc>
                <a:tc>
                  <a:txBody>
                    <a:bodyPr/>
                    <a:lstStyle/>
                    <a:p>
                      <a:pPr algn="ctr"/>
                      <a:r>
                        <a:rPr lang="en-US" sz="1600" dirty="0"/>
                        <a:t>-</a:t>
                      </a:r>
                    </a:p>
                  </a:txBody>
                  <a:tcPr anchor="ctr"/>
                </a:tc>
                <a:extLst>
                  <a:ext uri="{0D108BD9-81ED-4DB2-BD59-A6C34878D82A}">
                    <a16:rowId xmlns:a16="http://schemas.microsoft.com/office/drawing/2014/main" val="2119326309"/>
                  </a:ext>
                </a:extLst>
              </a:tr>
            </a:tbl>
          </a:graphicData>
        </a:graphic>
      </p:graphicFrame>
      <p:sp>
        <p:nvSpPr>
          <p:cNvPr id="9" name="文本框 8"/>
          <p:cNvSpPr txBox="1"/>
          <p:nvPr/>
        </p:nvSpPr>
        <p:spPr>
          <a:xfrm>
            <a:off x="169683" y="5842337"/>
            <a:ext cx="6741295" cy="1015663"/>
          </a:xfrm>
          <a:prstGeom prst="rect">
            <a:avLst/>
          </a:prstGeom>
          <a:noFill/>
        </p:spPr>
        <p:txBody>
          <a:bodyPr wrap="square" rtlCol="0">
            <a:spAutoFit/>
          </a:bodyPr>
          <a:lstStyle/>
          <a:p>
            <a:pPr lvl="0" defTabSz="914400">
              <a:defRPr/>
            </a:pPr>
            <a:r>
              <a:rPr lang="en-US" altLang="zh-CN" sz="1000" dirty="0">
                <a:latin typeface="Arial" pitchFamily="34" charset="0"/>
                <a:ea typeface="微软雅黑" panose="020B0503020204020204" pitchFamily="34" charset="-122"/>
                <a:cs typeface="Arial" panose="020B0604020202020204" pitchFamily="34" charset="0"/>
              </a:rPr>
              <a:t>1. F</a:t>
            </a:r>
            <a:r>
              <a:rPr lang="en-US" altLang="zh-CN" sz="1000" dirty="0" err="1">
                <a:latin typeface="Arial" pitchFamily="34" charset="0"/>
                <a:ea typeface="微软雅黑" panose="020B0503020204020204" pitchFamily="34" charset="-122"/>
                <a:cs typeface="Arial" panose="020B0604020202020204" pitchFamily="34" charset="0"/>
              </a:rPr>
              <a:t>ukuoka</a:t>
            </a:r>
            <a:r>
              <a:rPr lang="en-US" altLang="zh-CN" sz="1000" dirty="0">
                <a:latin typeface="Arial" pitchFamily="34" charset="0"/>
                <a:ea typeface="微软雅黑" panose="020B0503020204020204" pitchFamily="34" charset="-122"/>
                <a:cs typeface="Arial" panose="020B0604020202020204" pitchFamily="34" charset="0"/>
              </a:rPr>
              <a:t> M, et.al,</a:t>
            </a:r>
            <a:r>
              <a:rPr lang="en-GB" altLang="en-US" sz="1000" dirty="0">
                <a:latin typeface="Arial" pitchFamily="34" charset="0"/>
                <a:ea typeface="微软雅黑" panose="020B0503020204020204" pitchFamily="34" charset="-122"/>
                <a:cs typeface="Arial" panose="020B0604020202020204" pitchFamily="34" charset="0"/>
              </a:rPr>
              <a:t> J </a:t>
            </a:r>
            <a:r>
              <a:rPr lang="en-GB" altLang="en-US" sz="1000" dirty="0" err="1">
                <a:latin typeface="Arial" pitchFamily="34" charset="0"/>
                <a:ea typeface="微软雅黑" panose="020B0503020204020204" pitchFamily="34" charset="-122"/>
                <a:cs typeface="Arial" panose="020B0604020202020204" pitchFamily="34" charset="0"/>
              </a:rPr>
              <a:t>Clin</a:t>
            </a:r>
            <a:r>
              <a:rPr lang="en-GB" altLang="en-US" sz="1000" dirty="0">
                <a:latin typeface="Arial" pitchFamily="34" charset="0"/>
                <a:ea typeface="微软雅黑" panose="020B0503020204020204" pitchFamily="34" charset="-122"/>
                <a:cs typeface="Arial" panose="020B0604020202020204" pitchFamily="34" charset="0"/>
              </a:rPr>
              <a:t> </a:t>
            </a:r>
            <a:r>
              <a:rPr lang="en-GB" altLang="en-US" sz="1000" dirty="0" err="1">
                <a:latin typeface="Arial" pitchFamily="34" charset="0"/>
                <a:ea typeface="微软雅黑" panose="020B0503020204020204" pitchFamily="34" charset="-122"/>
                <a:cs typeface="Arial" panose="020B0604020202020204" pitchFamily="34" charset="0"/>
              </a:rPr>
              <a:t>Oncol</a:t>
            </a:r>
            <a:r>
              <a:rPr lang="en-GB" altLang="en-US" sz="1000" dirty="0">
                <a:latin typeface="Arial" pitchFamily="34" charset="0"/>
                <a:ea typeface="微软雅黑" panose="020B0503020204020204" pitchFamily="34" charset="-122"/>
                <a:cs typeface="Arial" panose="020B0604020202020204" pitchFamily="34" charset="0"/>
              </a:rPr>
              <a:t>., 2011 Jul 20:vol29, No.21</a:t>
            </a:r>
            <a:endParaRPr lang="en-US" altLang="zh-CN" sz="1000" noProof="0" dirty="0">
              <a:latin typeface="Arial"/>
            </a:endParaRPr>
          </a:p>
          <a:p>
            <a:pPr lvl="0" defTabSz="914400">
              <a:defRPr/>
            </a:pPr>
            <a:r>
              <a:rPr lang="en-US" altLang="zh-CN" sz="1000" dirty="0">
                <a:solidFill>
                  <a:prstClr val="black"/>
                </a:solidFill>
                <a:latin typeface="Arial" pitchFamily="34" charset="0"/>
                <a:ea typeface="微软雅黑" panose="020B0503020204020204" pitchFamily="34" charset="-122"/>
                <a:cs typeface="Arial" panose="020B0604020202020204" pitchFamily="34" charset="0"/>
              </a:rPr>
              <a:t>2. A. Inoue1,et al., Annals of Oncology 24: 54–59, 2013</a:t>
            </a:r>
            <a:endParaRPr lang="en-US" sz="1000" dirty="0">
              <a:solidFill>
                <a:prstClr val="black"/>
              </a:solidFill>
              <a:latin typeface="Arial" pitchFamily="34" charset="0"/>
              <a:ea typeface="微软雅黑" panose="020B0503020204020204" pitchFamily="34" charset="-122"/>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3. Yoshioka H, et. al, Ann </a:t>
            </a:r>
            <a:r>
              <a:rPr kumimoji="0" lang="en-US" sz="1000" b="0" i="0" u="none" strike="noStrike" kern="1200" cap="none" spc="0" normalizeH="0" baseline="0" noProof="0" dirty="0" err="1">
                <a:ln>
                  <a:noFill/>
                </a:ln>
                <a:solidFill>
                  <a:prstClr val="black"/>
                </a:solidFill>
                <a:effectLst/>
                <a:uLnTx/>
                <a:uFillTx/>
                <a:latin typeface="Arial"/>
                <a:ea typeface="+mn-ea"/>
                <a:cs typeface="+mn-cs"/>
              </a:rPr>
              <a:t>Oncol</a:t>
            </a:r>
            <a:r>
              <a:rPr kumimoji="0" lang="en-US" sz="1000" b="0" i="0" u="none" strike="noStrike" kern="1200" cap="none" spc="0" normalizeH="0" baseline="0" noProof="0" dirty="0">
                <a:ln>
                  <a:noFill/>
                </a:ln>
                <a:solidFill>
                  <a:prstClr val="black"/>
                </a:solidFill>
                <a:effectLst/>
                <a:uLnTx/>
                <a:uFillTx/>
                <a:latin typeface="Arial"/>
                <a:ea typeface="+mn-ea"/>
                <a:cs typeface="+mn-cs"/>
              </a:rPr>
              <a:t>. 2019 Sep 25. [</a:t>
            </a:r>
            <a:r>
              <a:rPr kumimoji="0" lang="en-US" sz="1000" b="0" i="0" u="none" strike="noStrike" kern="1200" cap="none" spc="0" normalizeH="0" baseline="0" noProof="0" dirty="0" err="1">
                <a:ln>
                  <a:noFill/>
                </a:ln>
                <a:solidFill>
                  <a:prstClr val="black"/>
                </a:solidFill>
                <a:effectLst/>
                <a:uLnTx/>
                <a:uFillTx/>
                <a:latin typeface="Arial"/>
                <a:ea typeface="+mn-ea"/>
                <a:cs typeface="+mn-cs"/>
              </a:rPr>
              <a:t>Epub</a:t>
            </a:r>
            <a:r>
              <a:rPr kumimoji="0" lang="en-US" sz="1000" b="0" i="0" u="none" strike="noStrike" kern="1200" cap="none" spc="0" normalizeH="0" baseline="0" noProof="0" dirty="0">
                <a:ln>
                  <a:noFill/>
                </a:ln>
                <a:solidFill>
                  <a:prstClr val="black"/>
                </a:solidFill>
                <a:effectLst/>
                <a:uLnTx/>
                <a:uFillTx/>
                <a:latin typeface="Arial"/>
                <a:ea typeface="+mn-ea"/>
                <a:cs typeface="+mn-cs"/>
              </a:rPr>
              <a:t> ahead of pri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4. </a:t>
            </a:r>
            <a:r>
              <a:rPr kumimoji="0" lang="en-US" altLang="zh-CN" sz="10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Zhou C, et. Al., </a:t>
            </a:r>
            <a:r>
              <a:rPr kumimoji="0" lang="it-IT" altLang="zh-CN" sz="1000" b="0" i="0" u="none" strike="noStrike" kern="1200" cap="none" spc="0" normalizeH="0" baseline="0" noProof="0" dirty="0">
                <a:ln>
                  <a:noFill/>
                </a:ln>
                <a:solidFill>
                  <a:prstClr val="black"/>
                </a:solidFill>
                <a:effectLst/>
                <a:uLnTx/>
                <a:uFillTx/>
                <a:latin typeface="Arial"/>
                <a:ea typeface="黑体" panose="02010609060101010101" pitchFamily="49" charset="-122"/>
                <a:cs typeface="+mn-cs"/>
              </a:rPr>
              <a:t>Ann Oncol. 2015 Sep;26(9):1877-83.</a:t>
            </a:r>
            <a:endParaRPr kumimoji="0" lang="en-US" sz="10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prstClr val="black"/>
                </a:solidFill>
                <a:effectLst/>
                <a:uLnTx/>
                <a:uFillTx/>
                <a:latin typeface="Arial"/>
                <a:ea typeface="+mn-ea"/>
                <a:cs typeface="+mn-cs"/>
              </a:rPr>
              <a:t>5. Larry Leon et. al, 2014 ESMO 1273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prstClr val="black"/>
                </a:solidFill>
                <a:effectLst/>
                <a:uLnTx/>
                <a:uFillTx/>
                <a:latin typeface="Arial"/>
                <a:ea typeface="+mn-ea"/>
                <a:cs typeface="+mn-cs"/>
              </a:rPr>
              <a:t>6. Shi YK, et al, Ann </a:t>
            </a:r>
            <a:r>
              <a:rPr kumimoji="0" lang="en-US" sz="1000" i="0" u="none" strike="noStrike" kern="1200" cap="none" spc="0" normalizeH="0" baseline="0" noProof="0" dirty="0" err="1">
                <a:ln>
                  <a:noFill/>
                </a:ln>
                <a:solidFill>
                  <a:prstClr val="black"/>
                </a:solidFill>
                <a:effectLst/>
                <a:uLnTx/>
                <a:uFillTx/>
                <a:latin typeface="Arial"/>
                <a:ea typeface="+mn-ea"/>
                <a:cs typeface="+mn-cs"/>
              </a:rPr>
              <a:t>Oncol</a:t>
            </a:r>
            <a:r>
              <a:rPr kumimoji="0" lang="en-US" sz="1000" i="0" u="none" strike="noStrike" kern="1200" cap="none" spc="0" normalizeH="0" baseline="0" noProof="0" dirty="0">
                <a:ln>
                  <a:noFill/>
                </a:ln>
                <a:solidFill>
                  <a:prstClr val="black"/>
                </a:solidFill>
                <a:effectLst/>
                <a:uLnTx/>
                <a:uFillTx/>
                <a:latin typeface="Arial"/>
                <a:ea typeface="+mn-ea"/>
                <a:cs typeface="+mn-cs"/>
              </a:rPr>
              <a:t>. 2017 Oct 1;28(10):2443-2450.</a:t>
            </a:r>
          </a:p>
        </p:txBody>
      </p:sp>
    </p:spTree>
    <p:extLst>
      <p:ext uri="{BB962C8B-B14F-4D97-AF65-F5344CB8AC3E}">
        <p14:creationId xmlns:p14="http://schemas.microsoft.com/office/powerpoint/2010/main" val="10036725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a:xfrm>
            <a:off x="443277" y="375216"/>
            <a:ext cx="8550275" cy="406265"/>
          </a:xfrm>
        </p:spPr>
        <p:txBody>
          <a:bodyPr/>
          <a:lstStyle/>
          <a:p>
            <a:r>
              <a:rPr lang="zh-CN" altLang="en-US" sz="2400" b="1" dirty="0">
                <a:latin typeface="Microsoft YaHei" panose="020B0503020204020204" pitchFamily="34" charset="-122"/>
                <a:ea typeface="Microsoft YaHei" panose="020B0503020204020204" pitchFamily="34" charset="-122"/>
              </a:rPr>
              <a:t>主要内容</a:t>
            </a:r>
            <a:endParaRPr lang="en-US" sz="2400" b="1" dirty="0">
              <a:latin typeface="Microsoft YaHei" panose="020B0503020204020204" pitchFamily="34" charset="-122"/>
              <a:ea typeface="Microsoft YaHei" panose="020B0503020204020204" pitchFamily="34" charset="-122"/>
            </a:endParaRPr>
          </a:p>
        </p:txBody>
      </p:sp>
      <p:cxnSp>
        <p:nvCxnSpPr>
          <p:cNvPr id="8" name="直接连接符 7"/>
          <p:cNvCxnSpPr/>
          <p:nvPr/>
        </p:nvCxnSpPr>
        <p:spPr>
          <a:xfrm>
            <a:off x="443277" y="1998617"/>
            <a:ext cx="0" cy="3487783"/>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6" name="文本框 5"/>
          <p:cNvSpPr txBox="1"/>
          <p:nvPr/>
        </p:nvSpPr>
        <p:spPr>
          <a:xfrm>
            <a:off x="443277" y="1998617"/>
            <a:ext cx="8700723" cy="4247317"/>
          </a:xfrm>
          <a:prstGeom prst="rect">
            <a:avLst/>
          </a:prstGeom>
          <a:noFill/>
        </p:spPr>
        <p:txBody>
          <a:bodyPr wrap="square" rtlCol="0">
            <a:spAutoFit/>
          </a:bodyPr>
          <a:lstStyle/>
          <a:p>
            <a:pPr marL="285750" marR="0" lvl="0" indent="-285750" algn="l" defTabSz="914400" rtl="0" eaLnBrk="1" fontAlgn="auto" latinLnBrk="0" hangingPunct="1">
              <a:lnSpc>
                <a:spcPct val="150000"/>
              </a:lnSpc>
              <a:spcBef>
                <a:spcPts val="0"/>
              </a:spcBef>
              <a:spcAft>
                <a:spcPts val="0"/>
              </a:spcAft>
              <a:buClr>
                <a:srgbClr val="C3B600"/>
              </a:buClr>
              <a:buSzTx/>
              <a:buFont typeface="Wingdings" panose="05000000000000000000" pitchFamily="2" charset="2"/>
              <a:buChar char="§"/>
              <a:tabLst/>
              <a:defRPr/>
            </a:pPr>
            <a:r>
              <a:rPr kumimoji="0" lang="zh-CN" altLang="en-US"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吉泰瑞</a:t>
            </a:r>
            <a:r>
              <a:rPr kumimoji="0" lang="en-US" altLang="zh-CN" sz="2000" b="0" i="0" u="none" strike="noStrike" kern="1200" cap="none" spc="0" normalizeH="0" baseline="3000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a:t>
            </a:r>
            <a:r>
              <a:rPr kumimoji="0" lang="zh-CN" altLang="en-US"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首个证实在一线治疗</a:t>
            </a:r>
            <a:r>
              <a:rPr kumimoji="0" lang="en-US" altLang="zh-CN"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EGFR</a:t>
            </a:r>
            <a:r>
              <a:rPr kumimoji="0" lang="zh-CN" altLang="en-US"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常见突变患者中有</a:t>
            </a:r>
            <a:r>
              <a:rPr kumimoji="0" lang="en-US" altLang="zh-CN"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OS</a:t>
            </a:r>
            <a:r>
              <a:rPr kumimoji="0" lang="zh-CN" altLang="en-US"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获益的</a:t>
            </a:r>
            <a:r>
              <a:rPr kumimoji="0" lang="en-US" altLang="zh-CN"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EGFR-TKI</a:t>
            </a:r>
          </a:p>
          <a:p>
            <a:pPr marL="285750" marR="0" lvl="0" indent="-285750" algn="l" defTabSz="914400" rtl="0" eaLnBrk="1" fontAlgn="auto" latinLnBrk="0" hangingPunct="1">
              <a:lnSpc>
                <a:spcPct val="150000"/>
              </a:lnSpc>
              <a:spcBef>
                <a:spcPts val="0"/>
              </a:spcBef>
              <a:spcAft>
                <a:spcPts val="0"/>
              </a:spcAft>
              <a:buClr>
                <a:srgbClr val="C3B600"/>
              </a:buClr>
              <a:buSzTx/>
              <a:buFont typeface="Wingdings" panose="05000000000000000000" pitchFamily="2" charset="2"/>
              <a:buChar char="§"/>
              <a:tabLst/>
              <a:defRPr/>
            </a:pPr>
            <a:endParaRPr kumimoji="0" 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endParaRPr>
          </a:p>
          <a:p>
            <a:pPr marL="285750" lvl="0" indent="-285750" defTabSz="914400">
              <a:lnSpc>
                <a:spcPct val="150000"/>
              </a:lnSpc>
              <a:buClr>
                <a:srgbClr val="C3B600"/>
              </a:buClr>
              <a:buFont typeface="Wingdings" panose="05000000000000000000" pitchFamily="2" charset="2"/>
              <a:buChar char="§"/>
              <a:defRPr/>
            </a:pPr>
            <a:r>
              <a:rPr kumimoji="0" lang="zh-CN" alt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吉泰瑞</a:t>
            </a:r>
            <a:r>
              <a:rPr kumimoji="0" lang="en-US" altLang="zh-CN" sz="2000" b="0" i="0" u="none" strike="noStrike" kern="1200" cap="none" spc="0" normalizeH="0" baseline="30000" noProof="0" dirty="0">
                <a:ln>
                  <a:noFill/>
                </a:ln>
                <a:effectLst/>
                <a:uLnTx/>
                <a:uFillTx/>
                <a:latin typeface="Microsoft YaHei" panose="020B0503020204020204" pitchFamily="34" charset="-122"/>
                <a:ea typeface="Microsoft YaHei" panose="020B0503020204020204" pitchFamily="34" charset="-122"/>
                <a:cs typeface="+mn-cs"/>
              </a:rPr>
              <a:t>®</a:t>
            </a:r>
            <a:r>
              <a:rPr lang="zh-CN" altLang="en-US" sz="2000" dirty="0">
                <a:latin typeface="Microsoft YaHei" panose="020B0503020204020204" pitchFamily="34" charset="-122"/>
                <a:ea typeface="Microsoft YaHei" panose="020B0503020204020204" pitchFamily="34" charset="-122"/>
              </a:rPr>
              <a:t>一线治疗较</a:t>
            </a:r>
            <a:r>
              <a:rPr kumimoji="0" lang="zh-CN" alt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一代</a:t>
            </a:r>
            <a:r>
              <a:rPr kumimoji="0" lang="en-US" altLang="zh-CN"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TKI</a:t>
            </a:r>
            <a:r>
              <a:rPr kumimoji="0" lang="zh-CN" alt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显著延长</a:t>
            </a:r>
            <a:r>
              <a:rPr kumimoji="0" lang="en-US" altLang="zh-CN"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EGFR</a:t>
            </a:r>
            <a:r>
              <a:rPr kumimoji="0" lang="zh-CN" alt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常见突变患者</a:t>
            </a:r>
            <a:r>
              <a:rPr kumimoji="0" lang="en-US" altLang="zh-CN"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PFS</a:t>
            </a:r>
          </a:p>
          <a:p>
            <a:pPr marL="285750" marR="0" lvl="0" indent="-285750" algn="l" defTabSz="914400" rtl="0" eaLnBrk="1" fontAlgn="auto" latinLnBrk="0" hangingPunct="1">
              <a:lnSpc>
                <a:spcPct val="150000"/>
              </a:lnSpc>
              <a:spcBef>
                <a:spcPts val="0"/>
              </a:spcBef>
              <a:spcAft>
                <a:spcPts val="0"/>
              </a:spcAft>
              <a:buClr>
                <a:srgbClr val="C3B600"/>
              </a:buClr>
              <a:buSzTx/>
              <a:buFont typeface="Wingdings" panose="05000000000000000000" pitchFamily="2" charset="2"/>
              <a:buChar char="§"/>
              <a:tabLst/>
              <a:defRPr/>
            </a:pPr>
            <a:endParaRPr kumimoji="0" lang="en-US" altLang="zh-CN"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endParaRPr>
          </a:p>
          <a:p>
            <a:pPr marL="285750" marR="0" lvl="0" indent="-285750" algn="l" defTabSz="914400" rtl="0" eaLnBrk="1" fontAlgn="auto" latinLnBrk="0" hangingPunct="1">
              <a:lnSpc>
                <a:spcPct val="150000"/>
              </a:lnSpc>
              <a:spcBef>
                <a:spcPts val="0"/>
              </a:spcBef>
              <a:spcAft>
                <a:spcPts val="0"/>
              </a:spcAft>
              <a:buClr>
                <a:srgbClr val="C3B600"/>
              </a:buClr>
              <a:buSzTx/>
              <a:buFont typeface="Wingdings" panose="05000000000000000000" pitchFamily="2" charset="2"/>
              <a:buChar char="§"/>
              <a:tabLst/>
              <a:defRPr/>
            </a:pPr>
            <a:r>
              <a:rPr kumimoji="0" lang="zh-CN" altLang="en-US"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吉泰瑞</a:t>
            </a:r>
            <a:r>
              <a:rPr kumimoji="0" lang="en-US" altLang="zh-CN" sz="2000" b="0" i="0" u="none" strike="noStrike" kern="1200" cap="none" spc="0" normalizeH="0" baseline="3000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a:t>
            </a:r>
            <a:r>
              <a:rPr kumimoji="0" lang="zh-CN" altLang="en-US"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rPr>
              <a:t>一线治疗让患者有更多接受后续治疗的机会，带来长生存的希望</a:t>
            </a:r>
            <a:endParaRPr kumimoji="0" lang="en-US" altLang="zh-CN"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endParaRPr>
          </a:p>
          <a:p>
            <a:pPr marL="285750" marR="0" lvl="0" indent="-285750" algn="l" defTabSz="914400" rtl="0" eaLnBrk="1" fontAlgn="auto" latinLnBrk="0" hangingPunct="1">
              <a:lnSpc>
                <a:spcPct val="150000"/>
              </a:lnSpc>
              <a:spcBef>
                <a:spcPts val="0"/>
              </a:spcBef>
              <a:spcAft>
                <a:spcPts val="0"/>
              </a:spcAft>
              <a:buClr>
                <a:srgbClr val="C3B600"/>
              </a:buClr>
              <a:buSzTx/>
              <a:buFont typeface="Wingdings" panose="05000000000000000000" pitchFamily="2" charset="2"/>
              <a:buChar char="§"/>
              <a:tabLst/>
              <a:defRPr/>
            </a:pPr>
            <a:endParaRPr kumimoji="0" lang="en-US" altLang="zh-CN" sz="2000" b="0" i="0" u="none" strike="noStrike" kern="1200" cap="none" spc="0" normalizeH="0" baseline="0" noProof="0" dirty="0">
              <a:ln>
                <a:noFill/>
              </a:ln>
              <a:solidFill>
                <a:schemeClr val="bg1">
                  <a:lumMod val="50000"/>
                </a:schemeClr>
              </a:solidFill>
              <a:effectLst/>
              <a:uLnTx/>
              <a:uFillTx/>
              <a:latin typeface="Microsoft YaHei" panose="020B0503020204020204" pitchFamily="34" charset="-122"/>
              <a:ea typeface="Microsoft YaHei" panose="020B0503020204020204" pitchFamily="34" charset="-122"/>
              <a:cs typeface="+mn-cs"/>
            </a:endParaRPr>
          </a:p>
          <a:p>
            <a:pPr marL="285750" indent="-285750" defTabSz="914400">
              <a:lnSpc>
                <a:spcPct val="150000"/>
              </a:lnSpc>
              <a:buClr>
                <a:srgbClr val="C3B600"/>
              </a:buClr>
              <a:buFont typeface="Wingdings" panose="05000000000000000000" pitchFamily="2" charset="2"/>
              <a:buChar char="§"/>
              <a:defRPr/>
            </a:pPr>
            <a:r>
              <a:rPr lang="zh-CN" altLang="en-US" sz="2000" dirty="0">
                <a:solidFill>
                  <a:schemeClr val="bg1">
                    <a:lumMod val="50000"/>
                  </a:schemeClr>
                </a:solidFill>
                <a:latin typeface="Microsoft YaHei" panose="020B0503020204020204" pitchFamily="34" charset="-122"/>
                <a:ea typeface="Microsoft YaHei" panose="020B0503020204020204" pitchFamily="34" charset="-122"/>
              </a:rPr>
              <a:t>吉泰瑞</a:t>
            </a:r>
            <a:r>
              <a:rPr lang="en-US" altLang="zh-CN" sz="2000" dirty="0">
                <a:solidFill>
                  <a:schemeClr val="bg1">
                    <a:lumMod val="50000"/>
                  </a:schemeClr>
                </a:solidFill>
                <a:latin typeface="Microsoft YaHei" panose="020B0503020204020204" pitchFamily="34" charset="-122"/>
                <a:ea typeface="Microsoft YaHei" panose="020B0503020204020204" pitchFamily="34" charset="-122"/>
              </a:rPr>
              <a:t>®</a:t>
            </a:r>
            <a:r>
              <a:rPr lang="zh-CN" altLang="en-US" sz="2000" dirty="0">
                <a:solidFill>
                  <a:schemeClr val="bg1">
                    <a:lumMod val="50000"/>
                  </a:schemeClr>
                </a:solidFill>
                <a:latin typeface="Microsoft YaHei" panose="020B0503020204020204" pitchFamily="34" charset="-122"/>
                <a:ea typeface="Microsoft YaHei" panose="020B0503020204020204" pitchFamily="34" charset="-122"/>
              </a:rPr>
              <a:t>一线治疗是</a:t>
            </a:r>
            <a:r>
              <a:rPr lang="en-US" altLang="zh-CN" sz="2000" dirty="0">
                <a:solidFill>
                  <a:schemeClr val="bg1">
                    <a:lumMod val="50000"/>
                  </a:schemeClr>
                </a:solidFill>
                <a:latin typeface="Microsoft YaHei" panose="020B0503020204020204" pitchFamily="34" charset="-122"/>
                <a:ea typeface="Microsoft YaHei" panose="020B0503020204020204" pitchFamily="34" charset="-122"/>
              </a:rPr>
              <a:t>EGFR</a:t>
            </a:r>
            <a:r>
              <a:rPr lang="zh-CN" altLang="en-US" sz="2000" dirty="0">
                <a:solidFill>
                  <a:schemeClr val="bg1">
                    <a:lumMod val="50000"/>
                  </a:schemeClr>
                </a:solidFill>
                <a:latin typeface="Microsoft YaHei" panose="020B0503020204020204" pitchFamily="34" charset="-122"/>
                <a:ea typeface="Microsoft YaHei" panose="020B0503020204020204" pitchFamily="34" charset="-122"/>
              </a:rPr>
              <a:t>突变患者经济的治疗选择</a:t>
            </a:r>
            <a:endParaRPr lang="en-US" altLang="zh-CN" sz="2000" dirty="0">
              <a:solidFill>
                <a:schemeClr val="bg1">
                  <a:lumMod val="50000"/>
                </a:schemeClr>
              </a:solidFill>
              <a:latin typeface="Microsoft YaHei" panose="020B0503020204020204" pitchFamily="34" charset="-122"/>
              <a:ea typeface="Microsoft YaHei" panose="020B0503020204020204" pitchFamily="34" charset="-122"/>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2000" b="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endParaRPr>
          </a:p>
        </p:txBody>
      </p:sp>
    </p:spTree>
    <p:extLst>
      <p:ext uri="{BB962C8B-B14F-4D97-AF65-F5344CB8AC3E}">
        <p14:creationId xmlns:p14="http://schemas.microsoft.com/office/powerpoint/2010/main" val="28742360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65" name="think-cell Slide" r:id="rId6" imgW="270" imgH="270" progId="TCLayout.ActiveDocument.1">
                  <p:embed/>
                </p:oleObj>
              </mc:Choice>
              <mc:Fallback>
                <p:oleObj name="think-cell Slide" r:id="rId6" imgW="270" imgH="270" progId="TCLayout.ActiveDocument.1">
                  <p:embed/>
                  <p:pic>
                    <p:nvPicPr>
                      <p:cNvPr id="3" name="对象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3"/>
            </p:custDataLst>
          </p:nvPr>
        </p:nvSpPr>
        <p:spPr>
          <a:xfrm>
            <a:off x="33176" y="-105291"/>
            <a:ext cx="92398" cy="369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altLang="zh-CN" sz="2400" b="1" i="0" u="none" strike="noStrike" kern="1200" cap="none" spc="0" normalizeH="0" baseline="0" noProof="0" dirty="0" err="1">
              <a:ln>
                <a:noFill/>
              </a:ln>
              <a:solidFill>
                <a:prstClr val="white"/>
              </a:solidFill>
              <a:effectLst/>
              <a:uLnTx/>
              <a:uFillTx/>
              <a:latin typeface="微软雅黑"/>
              <a:ea typeface="微软雅黑"/>
              <a:cs typeface="Arial"/>
              <a:sym typeface="微软雅黑"/>
            </a:endParaRPr>
          </a:p>
        </p:txBody>
      </p:sp>
      <p:sp>
        <p:nvSpPr>
          <p:cNvPr id="29" name="Rectangle 24"/>
          <p:cNvSpPr>
            <a:spLocks noChangeArrowheads="1"/>
          </p:cNvSpPr>
          <p:nvPr/>
        </p:nvSpPr>
        <p:spPr bwMode="auto">
          <a:xfrm>
            <a:off x="270632" y="1637974"/>
            <a:ext cx="2249968" cy="1726615"/>
          </a:xfrm>
          <a:prstGeom prst="roundRect">
            <a:avLst/>
          </a:prstGeom>
          <a:solidFill>
            <a:schemeClr val="bg1">
              <a:lumMod val="9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zh-CN" altLang="en-US" sz="16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未符合入组标准或未入组</a:t>
            </a:r>
            <a:endParaRPr kumimoji="0" lang="en-US" altLang="zh-CN" sz="16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endParaRP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zh-CN" sz="16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n=252)</a:t>
            </a:r>
          </a:p>
          <a:p>
            <a:pPr marL="0" marR="0" lvl="0" indent="0" algn="ctr" defTabSz="914400" rtl="0" eaLnBrk="1" fontAlgn="base" latinLnBrk="0" hangingPunct="1">
              <a:lnSpc>
                <a:spcPct val="90000"/>
              </a:lnSpc>
              <a:spcBef>
                <a:spcPct val="0"/>
              </a:spcBef>
              <a:spcAft>
                <a:spcPct val="0"/>
              </a:spcAft>
              <a:buClrTx/>
              <a:buSzTx/>
              <a:buFontTx/>
              <a:buNone/>
              <a:tabLst/>
              <a:defRPr/>
            </a:pPr>
            <a:endParaRPr kumimoji="0" lang="en-GB"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pitchFamily="34" charset="0"/>
            </a:endParaRPr>
          </a:p>
        </p:txBody>
      </p:sp>
      <p:sp>
        <p:nvSpPr>
          <p:cNvPr id="65539" name="Title 2"/>
          <p:cNvSpPr>
            <a:spLocks noGrp="1"/>
          </p:cNvSpPr>
          <p:nvPr>
            <p:ph type="title"/>
          </p:nvPr>
        </p:nvSpPr>
        <p:spPr>
          <a:xfrm>
            <a:off x="329599" y="513976"/>
            <a:ext cx="7640929" cy="386579"/>
          </a:xfrm>
        </p:spPr>
        <p:txBody>
          <a:bodyPr/>
          <a:lstStyle/>
          <a:p>
            <a:r>
              <a:rPr lang="en-GB" altLang="zh-CN" sz="2400" b="1" dirty="0">
                <a:latin typeface="微软雅黑" panose="020B0503020204020204" pitchFamily="34" charset="-122"/>
                <a:ea typeface="微软雅黑" panose="020B0503020204020204" pitchFamily="34" charset="-122"/>
              </a:rPr>
              <a:t>LUX-Lung 7: </a:t>
            </a:r>
            <a:r>
              <a:rPr lang="zh-CN" altLang="en-US" sz="2400" b="1" dirty="0">
                <a:latin typeface="微软雅黑" panose="020B0503020204020204" pitchFamily="34" charset="-122"/>
                <a:ea typeface="微软雅黑" panose="020B0503020204020204" pitchFamily="34" charset="-122"/>
              </a:rPr>
              <a:t>首个在</a:t>
            </a:r>
            <a:r>
              <a:rPr lang="en-US" altLang="zh-CN" sz="2400" b="1" dirty="0">
                <a:latin typeface="微软雅黑" panose="020B0503020204020204" pitchFamily="34" charset="-122"/>
                <a:ea typeface="微软雅黑" panose="020B0503020204020204" pitchFamily="34" charset="-122"/>
              </a:rPr>
              <a:t>EGFR</a:t>
            </a:r>
            <a:r>
              <a:rPr lang="zh-CN" altLang="en-US" sz="2400" b="1" dirty="0">
                <a:latin typeface="微软雅黑" panose="020B0503020204020204" pitchFamily="34" charset="-122"/>
                <a:ea typeface="微软雅黑" panose="020B0503020204020204" pitchFamily="34" charset="-122"/>
              </a:rPr>
              <a:t>常见突变患者中头对头比较两个</a:t>
            </a:r>
            <a:r>
              <a:rPr lang="en-US" altLang="zh-CN" sz="2400" b="1" dirty="0">
                <a:latin typeface="微软雅黑" panose="020B0503020204020204" pitchFamily="34" charset="-122"/>
                <a:ea typeface="微软雅黑" panose="020B0503020204020204" pitchFamily="34" charset="-122"/>
              </a:rPr>
              <a:t>TKI </a:t>
            </a:r>
            <a:r>
              <a:rPr lang="zh-CN" altLang="en-US" sz="2400" b="1" dirty="0">
                <a:latin typeface="微软雅黑" panose="020B0503020204020204" pitchFamily="34" charset="-122"/>
                <a:ea typeface="微软雅黑" panose="020B0503020204020204" pitchFamily="34" charset="-122"/>
              </a:rPr>
              <a:t>一线治疗的全球性临床研究</a:t>
            </a:r>
          </a:p>
        </p:txBody>
      </p:sp>
      <p:sp>
        <p:nvSpPr>
          <p:cNvPr id="19" name="AutoShape 20"/>
          <p:cNvSpPr>
            <a:spLocks noChangeArrowheads="1"/>
          </p:cNvSpPr>
          <p:nvPr/>
        </p:nvSpPr>
        <p:spPr bwMode="blackWhite">
          <a:xfrm>
            <a:off x="6888161" y="3815918"/>
            <a:ext cx="1932310" cy="1935005"/>
          </a:xfrm>
          <a:prstGeom prst="roundRect">
            <a:avLst>
              <a:gd name="adj" fmla="val 16667"/>
            </a:avLst>
          </a:prstGeom>
          <a:solidFill>
            <a:srgbClr val="1CBECA"/>
          </a:solidFill>
          <a:ln w="28575">
            <a:noFill/>
          </a:ln>
          <a:effectLst/>
        </p:spPr>
        <p:style>
          <a:lnRef idx="1">
            <a:schemeClr val="accent1"/>
          </a:lnRef>
          <a:fillRef idx="3">
            <a:schemeClr val="accent1"/>
          </a:fillRef>
          <a:effectRef idx="2">
            <a:schemeClr val="accent1"/>
          </a:effectRef>
          <a:fontRef idx="minor">
            <a:schemeClr val="lt1"/>
          </a:fontRef>
        </p:style>
        <p:txBody>
          <a:bodyPr wrap="none"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次要终点：</a:t>
            </a:r>
            <a:r>
              <a:rPr kumimoji="0" lang="en-US"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ORR</a:t>
            </a:r>
            <a:r>
              <a:rPr kumimoji="0" lang="zh-CN" altLang="en-US"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a:t>
            </a:r>
            <a:endParaRPr kumimoji="0" lang="en-US"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endParaRP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zh-CN" altLang="en-US" sz="1400" b="1"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Arial"/>
              </a:rPr>
              <a:t>至缓解的时间</a:t>
            </a:r>
            <a:endParaRPr kumimoji="0" lang="en-US"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endParaRP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和持续时间、</a:t>
            </a:r>
            <a:endParaRPr kumimoji="0" lang="en-US"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endParaRP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疾病控制持续时间、</a:t>
            </a:r>
            <a:endParaRPr kumimoji="0" lang="en-US"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endParaRP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肿瘤缩小体积、</a:t>
            </a:r>
            <a:endParaRPr kumimoji="0" lang="en-US"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endParaRP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err="1">
                <a:ln>
                  <a:noFill/>
                </a:ln>
                <a:solidFill>
                  <a:prstClr val="white"/>
                </a:solidFill>
                <a:effectLst/>
                <a:uLnTx/>
                <a:uFillTx/>
                <a:latin typeface="微软雅黑" panose="020B0503020204020204" pitchFamily="34" charset="-122"/>
                <a:ea typeface="微软雅黑" panose="020B0503020204020204" pitchFamily="34" charset="-122"/>
                <a:cs typeface="Arial"/>
              </a:rPr>
              <a:t>HRQoL</a:t>
            </a:r>
            <a:r>
              <a:rPr kumimoji="0" lang="zh-CN" altLang="en-US"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安全性</a:t>
            </a:r>
            <a:endParaRPr kumimoji="0" lang="en-GB"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endParaRPr>
          </a:p>
        </p:txBody>
      </p:sp>
      <p:sp>
        <p:nvSpPr>
          <p:cNvPr id="23" name="TextBox 22"/>
          <p:cNvSpPr txBox="1"/>
          <p:nvPr/>
        </p:nvSpPr>
        <p:spPr>
          <a:xfrm>
            <a:off x="4260472" y="3364589"/>
            <a:ext cx="457176" cy="307777"/>
          </a:xfrm>
          <a:prstGeom prst="rect">
            <a:avLst/>
          </a:prstGeom>
          <a:no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lumMod val="50000"/>
                  </a:prstClr>
                </a:solidFill>
                <a:effectLst/>
                <a:uLnTx/>
                <a:uFillTx/>
                <a:latin typeface="微软雅黑" panose="020B0503020204020204" pitchFamily="34" charset="-122"/>
                <a:ea typeface="微软雅黑" panose="020B0503020204020204" pitchFamily="34" charset="-122"/>
                <a:cs typeface="+mn-cs"/>
              </a:rPr>
              <a:t>1:1</a:t>
            </a:r>
          </a:p>
        </p:txBody>
      </p:sp>
      <p:sp>
        <p:nvSpPr>
          <p:cNvPr id="65545" name="AutoShape 20"/>
          <p:cNvSpPr>
            <a:spLocks noChangeArrowheads="1"/>
          </p:cNvSpPr>
          <p:nvPr/>
        </p:nvSpPr>
        <p:spPr bwMode="blackWhite">
          <a:xfrm>
            <a:off x="4817084" y="2219322"/>
            <a:ext cx="1459225" cy="1155889"/>
          </a:xfrm>
          <a:prstGeom prst="roundRect">
            <a:avLst>
              <a:gd name="adj" fmla="val 16667"/>
            </a:avLst>
          </a:prstGeom>
          <a:solidFill>
            <a:srgbClr val="1CBECA"/>
          </a:solidFill>
          <a:ln w="28575">
            <a:noFill/>
          </a:ln>
          <a:effectLst/>
          <a:extLst/>
        </p:spPr>
        <p:style>
          <a:lnRef idx="1">
            <a:schemeClr val="accent1"/>
          </a:lnRef>
          <a:fillRef idx="3">
            <a:schemeClr val="accent1"/>
          </a:fillRef>
          <a:effectRef idx="2">
            <a:schemeClr val="accent1"/>
          </a:effectRef>
          <a:fontRef idx="minor">
            <a:schemeClr val="lt1"/>
          </a:fontRef>
        </p:style>
        <p:txBody>
          <a:bodyPr wrap="none"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吉泰瑞</a:t>
            </a:r>
            <a:r>
              <a:rPr kumimoji="0" lang="en-US" altLang="zh-CN" sz="1400" b="1" i="0" u="none" strike="noStrike" kern="1200" cap="none" spc="0" normalizeH="0" baseline="3000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a:t>
            </a:r>
            <a:endParaRPr kumimoji="0" lang="zh-CN" altLang="en-US" sz="1400" b="1" i="0" u="none" strike="noStrike" kern="1200" cap="none" spc="0" normalizeH="0" baseline="3000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 </a:t>
            </a:r>
            <a:r>
              <a:rPr kumimoji="0" lang="en-US"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40</a:t>
            </a:r>
            <a:r>
              <a:rPr kumimoji="0" lang="en-GB"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mg</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 </a:t>
            </a:r>
            <a:r>
              <a:rPr kumimoji="0" lang="zh-CN" altLang="en-US"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每日一次</a:t>
            </a:r>
            <a:endParaRPr kumimoji="0" lang="en-US"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endParaRP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n=160)</a:t>
            </a:r>
          </a:p>
        </p:txBody>
      </p:sp>
      <p:sp>
        <p:nvSpPr>
          <p:cNvPr id="65546" name="AutoShape 21"/>
          <p:cNvSpPr>
            <a:spLocks noChangeArrowheads="1"/>
          </p:cNvSpPr>
          <p:nvPr/>
        </p:nvSpPr>
        <p:spPr bwMode="ltGray">
          <a:xfrm>
            <a:off x="4817084" y="3856494"/>
            <a:ext cx="1557208" cy="1052351"/>
          </a:xfrm>
          <a:prstGeom prst="roundRect">
            <a:avLst>
              <a:gd name="adj" fmla="val 16667"/>
            </a:avLst>
          </a:prstGeom>
          <a:solidFill>
            <a:srgbClr val="1CBECA"/>
          </a:solidFill>
          <a:ln w="28575">
            <a:noFill/>
          </a:ln>
          <a:effectLst/>
          <a:extLst/>
        </p:spPr>
        <p:style>
          <a:lnRef idx="1">
            <a:schemeClr val="accent1"/>
          </a:lnRef>
          <a:fillRef idx="3">
            <a:schemeClr val="accent1"/>
          </a:fillRef>
          <a:effectRef idx="2">
            <a:schemeClr val="accent1"/>
          </a:effectRef>
          <a:fontRef idx="minor">
            <a:schemeClr val="lt1"/>
          </a:fontRef>
        </p:style>
        <p:txBody>
          <a:bodyPr wrap="none"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吉非替尼 </a:t>
            </a:r>
            <a:endParaRPr kumimoji="0" lang="en-US"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endParaRP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250 </a:t>
            </a:r>
            <a:r>
              <a:rPr kumimoji="0" lang="en-GB"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mg</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 </a:t>
            </a:r>
            <a:r>
              <a:rPr kumimoji="0" lang="zh-CN" altLang="en-US"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每天一次</a:t>
            </a:r>
            <a:endParaRPr kumimoji="0" lang="en-US"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endParaRP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n=159)</a:t>
            </a:r>
          </a:p>
        </p:txBody>
      </p:sp>
      <p:sp>
        <p:nvSpPr>
          <p:cNvPr id="12" name="AutoShape 17"/>
          <p:cNvSpPr>
            <a:spLocks noChangeArrowheads="1"/>
          </p:cNvSpPr>
          <p:nvPr/>
        </p:nvSpPr>
        <p:spPr bwMode="blackWhite">
          <a:xfrm>
            <a:off x="329599" y="3590614"/>
            <a:ext cx="2191001" cy="2489329"/>
          </a:xfrm>
          <a:prstGeom prst="roundRect">
            <a:avLst>
              <a:gd name="adj" fmla="val 11509"/>
            </a:avLst>
          </a:prstGeom>
          <a:solidFill>
            <a:schemeClr val="bg1">
              <a:lumMod val="9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zh-CN" sz="1600" b="0" i="0" u="none" strike="noStrike" kern="1200" cap="none" spc="0" normalizeH="0" baseline="0" noProof="0" dirty="0" err="1">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IIIb</a:t>
            </a:r>
            <a:r>
              <a:rPr kumimoji="0" lang="zh-CN" altLang="en-US" sz="16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期</a:t>
            </a:r>
            <a:r>
              <a:rPr kumimoji="0" lang="en-US" altLang="zh-CN" sz="16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a:t>
            </a:r>
            <a:r>
              <a:rPr kumimoji="0" lang="en-GB" altLang="zh-CN" sz="16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IV</a:t>
            </a:r>
            <a:r>
              <a:rPr kumimoji="0" lang="zh-CN" altLang="en-US" sz="16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期肺腺癌</a:t>
            </a:r>
            <a:r>
              <a:rPr kumimoji="0" lang="en-GB" altLang="zh-CN" sz="16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 (n=571)</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zh-CN" altLang="en-US" sz="16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肿瘤组织中有</a:t>
            </a:r>
            <a:r>
              <a:rPr kumimoji="0" lang="en-US" altLang="zh-CN" sz="16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EGFR</a:t>
            </a:r>
            <a:r>
              <a:rPr kumimoji="0" lang="zh-CN" altLang="en-US" sz="16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突变</a:t>
            </a:r>
            <a:r>
              <a:rPr kumimoji="0" lang="en-US" altLang="zh-CN" sz="16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Del19</a:t>
            </a:r>
            <a:r>
              <a:rPr kumimoji="0" lang="zh-CN" altLang="en-US" sz="16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突变和</a:t>
            </a:r>
            <a:r>
              <a:rPr kumimoji="0" lang="en-US" altLang="zh-CN" sz="16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a:t>
            </a:r>
            <a:r>
              <a:rPr kumimoji="0" lang="zh-CN" altLang="en-US" sz="16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或</a:t>
            </a:r>
            <a:r>
              <a:rPr kumimoji="0" lang="en-US" altLang="zh-CN" sz="16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L858R)#</a:t>
            </a:r>
            <a:r>
              <a:rPr kumimoji="0" lang="en-GB" altLang="zh-CN" sz="16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  </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zh-CN" altLang="en-US" sz="16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之前没有对晚期</a:t>
            </a:r>
            <a:r>
              <a:rPr kumimoji="0" lang="en-US" altLang="zh-CN" sz="16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a:t>
            </a:r>
            <a:r>
              <a:rPr kumimoji="0" lang="zh-CN" altLang="en-US" sz="16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转移性肿瘤进行治疗</a:t>
            </a:r>
            <a:endParaRPr kumimoji="0" lang="en-GB" altLang="zh-CN" sz="16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endParaRP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altLang="zh-CN" sz="16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ECOG PS</a:t>
            </a:r>
            <a:r>
              <a:rPr kumimoji="0" lang="zh-CN" altLang="en-US" sz="16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评分</a:t>
            </a:r>
            <a:r>
              <a:rPr kumimoji="0" lang="en-US" altLang="zh-CN" sz="16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0-1</a:t>
            </a:r>
            <a:endParaRPr kumimoji="0" lang="en-GB" altLang="zh-CN" sz="16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endParaRPr>
          </a:p>
        </p:txBody>
      </p:sp>
      <p:sp>
        <p:nvSpPr>
          <p:cNvPr id="15" name="AutoShape 20"/>
          <p:cNvSpPr>
            <a:spLocks noChangeArrowheads="1"/>
          </p:cNvSpPr>
          <p:nvPr/>
        </p:nvSpPr>
        <p:spPr bwMode="blackWhite">
          <a:xfrm>
            <a:off x="6888162" y="1556792"/>
            <a:ext cx="1932310" cy="1633538"/>
          </a:xfrm>
          <a:prstGeom prst="roundRect">
            <a:avLst>
              <a:gd name="adj" fmla="val 16667"/>
            </a:avLst>
          </a:prstGeom>
          <a:solidFill>
            <a:schemeClr val="bg1">
              <a:lumMod val="65000"/>
            </a:schemeClr>
          </a:solidFill>
          <a:ln w="28575">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marL="0" marR="0" lvl="0" indent="0" algn="ctr" defTabSz="914400" rtl="0" eaLnBrk="0" fontAlgn="auto" latinLnBrk="0" hangingPunct="0">
              <a:lnSpc>
                <a:spcPct val="95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主要终点：</a:t>
            </a:r>
            <a:endParaRPr kumimoji="0" lang="en-US"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endParaRPr>
          </a:p>
          <a:p>
            <a:pPr marL="0" marR="0" lvl="0" indent="0" algn="ctr" defTabSz="914400" rtl="0" eaLnBrk="0" fontAlgn="auto" latinLnBrk="0" hangingPunct="0">
              <a:lnSpc>
                <a:spcPct val="95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PFS (</a:t>
            </a:r>
            <a:r>
              <a:rPr kumimoji="0" lang="zh-CN" altLang="en-US"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独立评审</a:t>
            </a:r>
            <a:r>
              <a:rPr kumimoji="0" lang="en-US"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 </a:t>
            </a:r>
          </a:p>
          <a:p>
            <a:pPr marL="0" marR="0" lvl="0" indent="0" algn="ctr" defTabSz="914400" rtl="0" eaLnBrk="0" fontAlgn="auto" latinLnBrk="0" hangingPunct="0">
              <a:lnSpc>
                <a:spcPct val="95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TTF, OS</a:t>
            </a:r>
            <a:endParaRPr kumimoji="0" lang="en-GB"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endParaRPr>
          </a:p>
        </p:txBody>
      </p:sp>
      <p:sp>
        <p:nvSpPr>
          <p:cNvPr id="26" name="Rounded Rectangle 9"/>
          <p:cNvSpPr/>
          <p:nvPr/>
        </p:nvSpPr>
        <p:spPr>
          <a:xfrm>
            <a:off x="467544" y="1903861"/>
            <a:ext cx="1439443" cy="59742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endParaRPr>
          </a:p>
        </p:txBody>
      </p:sp>
      <p:sp>
        <p:nvSpPr>
          <p:cNvPr id="31" name="TextBox 23"/>
          <p:cNvSpPr txBox="1"/>
          <p:nvPr/>
        </p:nvSpPr>
        <p:spPr>
          <a:xfrm>
            <a:off x="3222323" y="2111378"/>
            <a:ext cx="837744" cy="2757775"/>
          </a:xfrm>
          <a:prstGeom prst="roundRect">
            <a:avLst/>
          </a:prstGeom>
          <a:solidFill>
            <a:srgbClr val="1CBECA"/>
          </a:solidFill>
          <a:ln w="28575">
            <a:noFill/>
          </a:ln>
          <a:effectLst/>
        </p:spPr>
        <p:style>
          <a:lnRef idx="1">
            <a:schemeClr val="accent1"/>
          </a:lnRef>
          <a:fillRef idx="3">
            <a:schemeClr val="accent1"/>
          </a:fillRef>
          <a:effectRef idx="2">
            <a:schemeClr val="accent1"/>
          </a:effectRef>
          <a:fontRef idx="minor">
            <a:schemeClr val="lt1"/>
          </a:fontRef>
        </p:style>
        <p:txBody>
          <a:bodyPr wrap="none" anchor="ctr"/>
          <a:lstStyle>
            <a:defPPr>
              <a:defRPr lang="zh-CN"/>
            </a:defPPr>
            <a:lvl1pPr algn="ctr" eaLnBrk="0" hangingPunct="0">
              <a:defRPr sz="1600" b="1">
                <a:solidFill>
                  <a:schemeClr val="bg1"/>
                </a:solidFill>
                <a:latin typeface="微软雅黑" panose="020B0503020204020204" pitchFamily="34" charset="-122"/>
                <a:ea typeface="微软雅黑" panose="020B0503020204020204" pitchFamily="34" charset="-122"/>
                <a:cs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随机</a:t>
            </a:r>
            <a:endParaRPr kumimoji="0" lang="en-US"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endParaRP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分组</a:t>
            </a:r>
            <a:endParaRPr kumimoji="0" lang="en-US"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endParaRP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GB"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n=319)</a:t>
            </a:r>
          </a:p>
        </p:txBody>
      </p:sp>
      <p:sp>
        <p:nvSpPr>
          <p:cNvPr id="32" name="TextBox 28"/>
          <p:cNvSpPr txBox="1"/>
          <p:nvPr/>
        </p:nvSpPr>
        <p:spPr>
          <a:xfrm>
            <a:off x="3042125" y="5165579"/>
            <a:ext cx="3437909" cy="755013"/>
          </a:xfrm>
          <a:prstGeom prst="rect">
            <a:avLst/>
          </a:prstGeom>
          <a:solidFill>
            <a:srgbClr val="1CBECA"/>
          </a:solidFill>
          <a:ln w="28575">
            <a:noFill/>
          </a:ln>
          <a:effectLst/>
        </p:spPr>
        <p:style>
          <a:lnRef idx="1">
            <a:schemeClr val="accent1"/>
          </a:lnRef>
          <a:fillRef idx="3">
            <a:schemeClr val="accent1"/>
          </a:fillRef>
          <a:effectRef idx="2">
            <a:schemeClr val="accent1"/>
          </a:effectRef>
          <a:fontRef idx="minor">
            <a:schemeClr val="lt1"/>
          </a:fontRef>
        </p:style>
        <p:txBody>
          <a:bodyPr wrap="none" anchor="ctr"/>
          <a:lstStyle>
            <a:defPPr>
              <a:defRPr lang="zh-CN"/>
            </a:defPPr>
            <a:lvl1pPr algn="ctr" eaLnBrk="0" hangingPunct="0">
              <a:defRPr sz="1400" b="1">
                <a:solidFill>
                  <a:schemeClr val="bg1"/>
                </a:solidFill>
                <a:latin typeface="微软雅黑" panose="020B0503020204020204" pitchFamily="34" charset="-122"/>
                <a:ea typeface="微软雅黑" panose="020B0503020204020204" pitchFamily="34" charset="-122"/>
                <a:cs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US"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endParaRP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根据突变类型</a:t>
            </a:r>
            <a:r>
              <a:rPr kumimoji="0" lang="en-US"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Del19 vs L858R)</a:t>
            </a:r>
            <a:r>
              <a:rPr kumimoji="0" lang="zh-CN" altLang="en-US"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a:t>
            </a:r>
            <a:endParaRPr kumimoji="0" lang="en-US"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endParaRPr>
          </a:p>
          <a:p>
            <a:pPr marL="0" marR="0" lvl="0" indent="0" algn="l" defTabSz="914400" rtl="0" eaLnBrk="0" fontAlgn="auto" latinLnBrk="0" hangingPunct="0">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和是否存在脑转移</a:t>
            </a:r>
            <a:r>
              <a:rPr kumimoji="0" lang="en-US"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a:t>
            </a:r>
            <a:r>
              <a:rPr kumimoji="0" lang="zh-CN" altLang="en-US"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是 </a:t>
            </a:r>
            <a:r>
              <a:rPr kumimoji="0" lang="en-US"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vs </a:t>
            </a:r>
            <a:r>
              <a:rPr kumimoji="0" lang="zh-CN" altLang="en-US"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否</a:t>
            </a:r>
            <a:r>
              <a:rPr kumimoji="0" lang="en-US"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a:t>
            </a:r>
            <a:r>
              <a:rPr kumimoji="0" lang="zh-CN" altLang="en-US"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rPr>
              <a:t>进行分层</a:t>
            </a:r>
            <a:endParaRPr kumimoji="0" lang="en-GB"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endParaRPr>
          </a:p>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Arial"/>
            </a:endParaRPr>
          </a:p>
        </p:txBody>
      </p:sp>
      <p:sp>
        <p:nvSpPr>
          <p:cNvPr id="24" name="燕尾形 23"/>
          <p:cNvSpPr/>
          <p:nvPr/>
        </p:nvSpPr>
        <p:spPr>
          <a:xfrm>
            <a:off x="4283361" y="2402603"/>
            <a:ext cx="349738" cy="434873"/>
          </a:xfrm>
          <a:prstGeom prst="chevron">
            <a:avLst/>
          </a:prstGeom>
          <a:solidFill>
            <a:schemeClr val="bg1"/>
          </a:solidFill>
          <a:ln w="19050" cap="rnd">
            <a:solidFill>
              <a:schemeClr val="bg1">
                <a:lumMod val="95000"/>
              </a:schemeClr>
            </a:solidFill>
          </a:ln>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1" i="0" u="none" strike="noStrike" kern="1200" cap="none" spc="0" normalizeH="0" baseline="0" noProof="0">
              <a:ln>
                <a:noFill/>
              </a:ln>
              <a:solidFill>
                <a:prstClr val="white"/>
              </a:solidFill>
              <a:effectLst/>
              <a:uLnTx/>
              <a:uFillTx/>
              <a:latin typeface="Arial"/>
              <a:ea typeface="黑体" panose="02010609060101010101" pitchFamily="49" charset="-122"/>
              <a:cs typeface="+mn-cs"/>
            </a:endParaRPr>
          </a:p>
        </p:txBody>
      </p:sp>
      <p:sp>
        <p:nvSpPr>
          <p:cNvPr id="27" name="燕尾形 26"/>
          <p:cNvSpPr/>
          <p:nvPr/>
        </p:nvSpPr>
        <p:spPr>
          <a:xfrm>
            <a:off x="4295246" y="3947797"/>
            <a:ext cx="349738" cy="434873"/>
          </a:xfrm>
          <a:prstGeom prst="chevron">
            <a:avLst/>
          </a:prstGeom>
          <a:solidFill>
            <a:schemeClr val="bg1"/>
          </a:solidFill>
          <a:ln w="19050" cap="rnd">
            <a:solidFill>
              <a:schemeClr val="bg1">
                <a:lumMod val="95000"/>
              </a:schemeClr>
            </a:solidFill>
          </a:ln>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1" i="0" u="none" strike="noStrike" kern="1200" cap="none" spc="0" normalizeH="0" baseline="0" noProof="0">
              <a:ln>
                <a:noFill/>
              </a:ln>
              <a:solidFill>
                <a:prstClr val="white"/>
              </a:solidFill>
              <a:effectLst/>
              <a:uLnTx/>
              <a:uFillTx/>
              <a:latin typeface="Arial"/>
              <a:ea typeface="黑体" panose="02010609060101010101" pitchFamily="49" charset="-122"/>
              <a:cs typeface="+mn-cs"/>
            </a:endParaRPr>
          </a:p>
        </p:txBody>
      </p:sp>
      <p:sp>
        <p:nvSpPr>
          <p:cNvPr id="30" name="燕尾形 29"/>
          <p:cNvSpPr/>
          <p:nvPr/>
        </p:nvSpPr>
        <p:spPr>
          <a:xfrm>
            <a:off x="2759851" y="3255868"/>
            <a:ext cx="349738" cy="434873"/>
          </a:xfrm>
          <a:prstGeom prst="chevron">
            <a:avLst/>
          </a:prstGeom>
          <a:solidFill>
            <a:schemeClr val="bg1"/>
          </a:solidFill>
          <a:ln w="19050" cap="rnd">
            <a:solidFill>
              <a:schemeClr val="bg1">
                <a:lumMod val="95000"/>
              </a:schemeClr>
            </a:solidFill>
          </a:ln>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1" i="0" u="none" strike="noStrike" kern="1200" cap="none" spc="0" normalizeH="0" baseline="0" noProof="0">
              <a:ln>
                <a:noFill/>
              </a:ln>
              <a:solidFill>
                <a:prstClr val="white"/>
              </a:solidFill>
              <a:effectLst/>
              <a:uLnTx/>
              <a:uFillTx/>
              <a:latin typeface="Arial"/>
              <a:ea typeface="黑体" panose="02010609060101010101" pitchFamily="49" charset="-122"/>
              <a:cs typeface="+mn-cs"/>
            </a:endParaRPr>
          </a:p>
        </p:txBody>
      </p:sp>
      <p:sp>
        <p:nvSpPr>
          <p:cNvPr id="33" name="燕尾形 32"/>
          <p:cNvSpPr/>
          <p:nvPr/>
        </p:nvSpPr>
        <p:spPr>
          <a:xfrm>
            <a:off x="6474181" y="2283844"/>
            <a:ext cx="349738" cy="434873"/>
          </a:xfrm>
          <a:prstGeom prst="chevron">
            <a:avLst/>
          </a:prstGeom>
          <a:solidFill>
            <a:schemeClr val="bg1"/>
          </a:solidFill>
          <a:ln w="19050" cap="rnd">
            <a:solidFill>
              <a:schemeClr val="bg1">
                <a:lumMod val="95000"/>
              </a:schemeClr>
            </a:solidFill>
          </a:ln>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1" i="0" u="none" strike="noStrike" kern="1200" cap="none" spc="0" normalizeH="0" baseline="0" noProof="0">
              <a:ln>
                <a:noFill/>
              </a:ln>
              <a:solidFill>
                <a:prstClr val="white"/>
              </a:solidFill>
              <a:effectLst/>
              <a:uLnTx/>
              <a:uFillTx/>
              <a:latin typeface="Arial"/>
              <a:ea typeface="黑体" panose="02010609060101010101" pitchFamily="49" charset="-122"/>
              <a:cs typeface="+mn-cs"/>
            </a:endParaRPr>
          </a:p>
        </p:txBody>
      </p:sp>
      <p:sp>
        <p:nvSpPr>
          <p:cNvPr id="34" name="燕尾形 33"/>
          <p:cNvSpPr/>
          <p:nvPr/>
        </p:nvSpPr>
        <p:spPr>
          <a:xfrm rot="5400000">
            <a:off x="7679446" y="3332644"/>
            <a:ext cx="349738" cy="434873"/>
          </a:xfrm>
          <a:prstGeom prst="chevron">
            <a:avLst/>
          </a:prstGeom>
          <a:solidFill>
            <a:schemeClr val="bg1"/>
          </a:solidFill>
          <a:ln w="19050" cap="rnd">
            <a:solidFill>
              <a:schemeClr val="bg1">
                <a:lumMod val="95000"/>
              </a:schemeClr>
            </a:solidFill>
          </a:ln>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1" i="0" u="none" strike="noStrike" kern="1200" cap="none" spc="0" normalizeH="0" baseline="0" noProof="0">
              <a:ln>
                <a:noFill/>
              </a:ln>
              <a:solidFill>
                <a:prstClr val="white"/>
              </a:solidFill>
              <a:effectLst/>
              <a:uLnTx/>
              <a:uFillTx/>
              <a:latin typeface="Arial"/>
              <a:ea typeface="黑体" panose="02010609060101010101" pitchFamily="49" charset="-122"/>
              <a:cs typeface="+mn-cs"/>
            </a:endParaRPr>
          </a:p>
        </p:txBody>
      </p:sp>
      <p:sp>
        <p:nvSpPr>
          <p:cNvPr id="35" name="TextBox 249"/>
          <p:cNvSpPr txBox="1"/>
          <p:nvPr/>
        </p:nvSpPr>
        <p:spPr>
          <a:xfrm>
            <a:off x="107846" y="6528716"/>
            <a:ext cx="835102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Park et al. </a:t>
            </a:r>
            <a:r>
              <a:rPr kumimoji="0" lang="en-US" altLang="zh-CN" sz="1100" b="0" i="1"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Lancet Oncology 2016</a:t>
            </a:r>
            <a:r>
              <a:rPr kumimoji="0" lang="zh-CN" altLang="en-US" sz="1100" b="0" i="1"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a:t>
            </a:r>
            <a:r>
              <a:rPr kumimoji="0" lang="en-US" altLang="zh-CN" sz="1100" b="0" i="1"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17</a:t>
            </a:r>
            <a:r>
              <a:rPr kumimoji="0" lang="zh-CN" altLang="en-US" sz="1100" b="0" i="1"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a:t>
            </a:r>
            <a:r>
              <a:rPr kumimoji="0" lang="en-US" altLang="zh-CN" sz="1100" b="0" i="1"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rPr>
              <a:t>577-89</a:t>
            </a:r>
            <a:endParaRPr kumimoji="0" lang="es-ES" sz="1100" b="0" i="0" u="none" strike="noStrike" kern="1200" cap="none" spc="0" normalizeH="0" baseline="0" noProof="0" dirty="0">
              <a:ln>
                <a:noFill/>
              </a:ln>
              <a:solidFill>
                <a:prstClr val="black">
                  <a:lumMod val="65000"/>
                  <a:lumOff val="35000"/>
                </a:prstClr>
              </a:solidFill>
              <a:effectLst/>
              <a:uLnTx/>
              <a:uFillTx/>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1990728374"/>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H" val="20160719204753"/>
  <p:tag name="MH_LIBRARY" val="GRAPHIC"/>
  <p:tag name="MH_TYPE" val="Other"/>
  <p:tag name="MH_ORDER" val="11"/>
</p:tagLst>
</file>

<file path=ppt/tags/tag11.xml><?xml version="1.0" encoding="utf-8"?>
<p:tagLst xmlns:a="http://schemas.openxmlformats.org/drawingml/2006/main" xmlns:r="http://schemas.openxmlformats.org/officeDocument/2006/relationships" xmlns:p="http://schemas.openxmlformats.org/presentationml/2006/main">
  <p:tag name="MH" val="20160719204753"/>
  <p:tag name="MH_LIBRARY" val="GRAPHIC"/>
  <p:tag name="MH_TYPE" val="Other"/>
  <p:tag name="MH_ORDER" val="10"/>
</p:tagLst>
</file>

<file path=ppt/tags/tag12.xml><?xml version="1.0" encoding="utf-8"?>
<p:tagLst xmlns:a="http://schemas.openxmlformats.org/drawingml/2006/main" xmlns:r="http://schemas.openxmlformats.org/officeDocument/2006/relationships" xmlns:p="http://schemas.openxmlformats.org/presentationml/2006/main">
  <p:tag name="MH" val="20160719204753"/>
  <p:tag name="MH_LIBRARY" val="GRAPHIC"/>
  <p:tag name="MH_TYPE" val="Other"/>
  <p:tag name="MH_ORDER" val="1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BjtxAzdS8GcFr55VrqEw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MOgpM.7eTTO7ZZunAz35cg"/>
</p:tagLst>
</file>

<file path=ppt/tags/tag17.xml><?xml version="1.0" encoding="utf-8"?>
<p:tagLst xmlns:a="http://schemas.openxmlformats.org/drawingml/2006/main" xmlns:r="http://schemas.openxmlformats.org/officeDocument/2006/relationships" xmlns:p="http://schemas.openxmlformats.org/presentationml/2006/main">
  <p:tag name="MH" val="20160719204753"/>
  <p:tag name="MH_LIBRARY" val="GRAPHIC"/>
  <p:tag name="MH_TYPE" val="Other"/>
  <p:tag name="MH_ORDER" val="10"/>
</p:tagLst>
</file>

<file path=ppt/tags/tag18.xml><?xml version="1.0" encoding="utf-8"?>
<p:tagLst xmlns:a="http://schemas.openxmlformats.org/drawingml/2006/main" xmlns:r="http://schemas.openxmlformats.org/officeDocument/2006/relationships" xmlns:p="http://schemas.openxmlformats.org/presentationml/2006/main">
  <p:tag name="MH" val="20160719204753"/>
  <p:tag name="MH_LIBRARY" val="GRAPHIC"/>
  <p:tag name="MH_TYPE" val="Other"/>
  <p:tag name="MH_ORDER" val="11"/>
</p:tagLst>
</file>

<file path=ppt/tags/tag19.xml><?xml version="1.0" encoding="utf-8"?>
<p:tagLst xmlns:a="http://schemas.openxmlformats.org/drawingml/2006/main" xmlns:r="http://schemas.openxmlformats.org/officeDocument/2006/relationships" xmlns:p="http://schemas.openxmlformats.org/presentationml/2006/main">
  <p:tag name="MH" val="20160719204753"/>
  <p:tag name="MH_LIBRARY" val="GRAPHIC"/>
  <p:tag name="MH_TYPE" val="Other"/>
  <p:tag name="MH_ORDER" val="1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f0_iM5YTqSvJBuZ7zpJaQ"/>
</p:tagLst>
</file>

<file path=ppt/tags/tag20.xml><?xml version="1.0" encoding="utf-8"?>
<p:tagLst xmlns:a="http://schemas.openxmlformats.org/drawingml/2006/main" xmlns:r="http://schemas.openxmlformats.org/officeDocument/2006/relationships" xmlns:p="http://schemas.openxmlformats.org/presentationml/2006/main">
  <p:tag name="MH" val="20160719204753"/>
  <p:tag name="MH_LIBRARY" val="GRAPHIC"/>
  <p:tag name="MH_TYPE" val="Other"/>
  <p:tag name="MH_ORDER" val="1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p2jFp41Sry8bNfAl2ZKPA"/>
</p:tagLst>
</file>

<file path=ppt/tags/tag3.xml><?xml version="1.0" encoding="utf-8"?>
<p:tagLst xmlns:a="http://schemas.openxmlformats.org/drawingml/2006/main" xmlns:r="http://schemas.openxmlformats.org/officeDocument/2006/relationships" xmlns:p="http://schemas.openxmlformats.org/presentationml/2006/main">
  <p:tag name="MH" val="20160719204753"/>
  <p:tag name="MH_LIBRARY" val="GRAPHIC"/>
  <p:tag name="MH_TYPE" val="Other"/>
  <p:tag name="MH_ORDER" val="10"/>
</p:tagLst>
</file>

<file path=ppt/tags/tag4.xml><?xml version="1.0" encoding="utf-8"?>
<p:tagLst xmlns:a="http://schemas.openxmlformats.org/drawingml/2006/main" xmlns:r="http://schemas.openxmlformats.org/officeDocument/2006/relationships" xmlns:p="http://schemas.openxmlformats.org/presentationml/2006/main">
  <p:tag name="MH" val="20160719204753"/>
  <p:tag name="MH_LIBRARY" val="GRAPHIC"/>
  <p:tag name="MH_TYPE" val="Other"/>
  <p:tag name="MH_ORDER" val="11"/>
</p:tagLst>
</file>

<file path=ppt/tags/tag5.xml><?xml version="1.0" encoding="utf-8"?>
<p:tagLst xmlns:a="http://schemas.openxmlformats.org/drawingml/2006/main" xmlns:r="http://schemas.openxmlformats.org/officeDocument/2006/relationships" xmlns:p="http://schemas.openxmlformats.org/presentationml/2006/main">
  <p:tag name="MH" val="20160719204753"/>
  <p:tag name="MH_LIBRARY" val="GRAPHIC"/>
  <p:tag name="MH_TYPE" val="Other"/>
  <p:tag name="MH_ORDER" val="10"/>
</p:tagLst>
</file>

<file path=ppt/tags/tag6.xml><?xml version="1.0" encoding="utf-8"?>
<p:tagLst xmlns:a="http://schemas.openxmlformats.org/drawingml/2006/main" xmlns:r="http://schemas.openxmlformats.org/officeDocument/2006/relationships" xmlns:p="http://schemas.openxmlformats.org/presentationml/2006/main">
  <p:tag name="MH" val="20160719204753"/>
  <p:tag name="MH_LIBRARY" val="GRAPHIC"/>
  <p:tag name="MH_TYPE" val="Other"/>
  <p:tag name="MH_ORDER" val="1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jHjmMq58RcuThMJrqQm8DQ"/>
</p:tagLst>
</file>

<file path=ppt/tags/tag9.xml><?xml version="1.0" encoding="utf-8"?>
<p:tagLst xmlns:a="http://schemas.openxmlformats.org/drawingml/2006/main" xmlns:r="http://schemas.openxmlformats.org/officeDocument/2006/relationships" xmlns:p="http://schemas.openxmlformats.org/presentationml/2006/main">
  <p:tag name="MH" val="20160719204753"/>
  <p:tag name="MH_LIBRARY" val="GRAPHIC"/>
  <p:tag name="MH_TYPE" val="Other"/>
  <p:tag name="MH_ORDER" val="10"/>
</p:tagLst>
</file>

<file path=ppt/theme/theme1.xml><?xml version="1.0" encoding="utf-8"?>
<a:theme xmlns:a="http://schemas.openxmlformats.org/drawingml/2006/main" name="14_Thème Office">
  <a:themeElements>
    <a:clrScheme name="Giotrif">
      <a:dk1>
        <a:sysClr val="windowText" lastClr="000000"/>
      </a:dk1>
      <a:lt1>
        <a:sysClr val="window" lastClr="FFFFFF"/>
      </a:lt1>
      <a:dk2>
        <a:srgbClr val="1F497D"/>
      </a:dk2>
      <a:lt2>
        <a:srgbClr val="EEECE1"/>
      </a:lt2>
      <a:accent1>
        <a:srgbClr val="1CBECA"/>
      </a:accent1>
      <a:accent2>
        <a:srgbClr val="C3B600"/>
      </a:accent2>
      <a:accent3>
        <a:srgbClr val="A0A1CC"/>
      </a:accent3>
      <a:accent4>
        <a:srgbClr val="FFC000"/>
      </a:accent4>
      <a:accent5>
        <a:srgbClr val="7030A0"/>
      </a:accent5>
      <a:accent6>
        <a:srgbClr val="F79646"/>
      </a:accent6>
      <a:hlink>
        <a:srgbClr val="0000FF"/>
      </a:hlink>
      <a:folHlink>
        <a:srgbClr val="80008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9050" cap="rnd">
          <a:solidFill>
            <a:schemeClr val="accent2"/>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659</TotalTime>
  <Words>5945</Words>
  <Application>Microsoft Office PowerPoint</Application>
  <PresentationFormat>On-screen Show (4:3)</PresentationFormat>
  <Paragraphs>500</Paragraphs>
  <Slides>24</Slides>
  <Notes>24</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40" baseType="lpstr">
      <vt:lpstr>微軟正黑體</vt:lpstr>
      <vt:lpstr>Microsoft YaHei UI</vt:lpstr>
      <vt:lpstr>SimSun-ExtB</vt:lpstr>
      <vt:lpstr>宋体</vt:lpstr>
      <vt:lpstr>Microsoft YaHei</vt:lpstr>
      <vt:lpstr>Microsoft YaHei</vt:lpstr>
      <vt:lpstr>等线</vt:lpstr>
      <vt:lpstr>黑体</vt:lpstr>
      <vt:lpstr>Arial</vt:lpstr>
      <vt:lpstr>Calibri</vt:lpstr>
      <vt:lpstr>Helvetica</vt:lpstr>
      <vt:lpstr>Symbol</vt:lpstr>
      <vt:lpstr>Times New Roman</vt:lpstr>
      <vt:lpstr>Wingdings</vt:lpstr>
      <vt:lpstr>14_Thème Office</vt:lpstr>
      <vt:lpstr>think-cell Slide</vt:lpstr>
      <vt:lpstr>阿法替尼治疗EGFR(+)患者的总生存</vt:lpstr>
      <vt:lpstr>主要内容</vt:lpstr>
      <vt:lpstr>主要内容</vt:lpstr>
      <vt:lpstr>LUX-Lung 3&amp;6: 吉泰瑞®vs化疗用于EGFR突变阳性患者一线治疗的全球及亚洲研究</vt:lpstr>
      <vt:lpstr>PowerPoint Presentation</vt:lpstr>
      <vt:lpstr>LUX-Lung 3&amp;6 合并分析: 对比化疗 吉泰瑞®能显著延长EGFR常见突变患者的OS </vt:lpstr>
      <vt:lpstr>在此之前，一代EGFR-TKI对比化疗从未获得OS获益</vt:lpstr>
      <vt:lpstr>主要内容</vt:lpstr>
      <vt:lpstr>LUX-Lung 7: 首个在EGFR常见突变患者中头对头比较两个TKI 一线治疗的全球性临床研究</vt:lpstr>
      <vt:lpstr>LUX-Lung 7：与吉非替尼相比 吉泰瑞®治疗组PFS风险比下降27%，2年PFS率提高一倍</vt:lpstr>
      <vt:lpstr>LUX-Lung 7：与吉非替尼相比 吉泰瑞®一线治疗EGFR常见突变患者ORR显著提高，DoR更长</vt:lpstr>
      <vt:lpstr>PowerPoint Presentation</vt:lpstr>
      <vt:lpstr>吉泰瑞®是首个不可逆的ErbB家族受体阻断剂</vt:lpstr>
      <vt:lpstr>主要内容</vt:lpstr>
      <vt:lpstr>一线突变患者使用吉泰瑞，有更多有效的后续治疗机会</vt:lpstr>
      <vt:lpstr>一线使用吉泰瑞®，不影响二线使用奥希替尼的治疗时间</vt:lpstr>
      <vt:lpstr>FLAURA研究显示：亚裔人群接受一线奥希替尼治疗 vs  一代TKI治疗无生存获益</vt:lpstr>
      <vt:lpstr>且亚洲/中国亚组的PFS就显示出不及全球数据的趋势</vt:lpstr>
      <vt:lpstr>FLAURA的日本亚组数据1L吉非替尼组中位OS更优 排除日本亚组的亚洲数据HR: 0.89(0.64,1.24)，临床获益不明显</vt:lpstr>
      <vt:lpstr>一线突变患者使用奥希替尼，耐药机制复杂不明， 后续使用有效靶向药物机会小</vt:lpstr>
      <vt:lpstr>LUX-LUNG7研究中：一线使用吉泰瑞®的患者，后线接受奥希替尼治疗较一代TKI更能延长OS</vt:lpstr>
      <vt:lpstr>主要内容</vt:lpstr>
      <vt:lpstr>不同治疗模式的费用</vt:lpstr>
      <vt:lpstr>总  结</vt:lpstr>
    </vt:vector>
  </TitlesOfParts>
  <Company>Boehringer Ingelhei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吉泰瑞®最大化EGFR+患者的生存获益</dc:title>
  <dc:creator>Hong,Grace (HP ComSales) BII-CN-S</dc:creator>
  <cp:lastModifiedBy>Yang XN</cp:lastModifiedBy>
  <cp:revision>87</cp:revision>
  <dcterms:created xsi:type="dcterms:W3CDTF">2019-10-11T15:24:50Z</dcterms:created>
  <dcterms:modified xsi:type="dcterms:W3CDTF">2020-05-12T08:54:10Z</dcterms:modified>
</cp:coreProperties>
</file>